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FFFF875_C1654E09.xml" ContentType="application/vnd.ms-powerpoint.comment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notesSlides/notesSlide12.xml" ContentType="application/vnd.openxmlformats-officedocument.presentationml.notesSlide+xml"/>
  <Override PartName="/ppt/comments/modernComment_7FFFD1E8_7750D5FE.xml" ContentType="application/vnd.ms-powerpoint.comment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7FFFF876_F052F291.xml" ContentType="application/vnd.ms-powerpoint.comment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0.xml" ContentType="application/vnd.openxmlformats-officedocument.presentationml.tags+xml"/>
  <Override PartName="/ppt/notesSlides/notesSlide2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1.xml" ContentType="application/vnd.openxmlformats-officedocument.presentationml.tags+xml"/>
  <Override PartName="/ppt/notesSlides/notesSlide2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2.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3.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4.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5.xml" ContentType="application/vnd.openxmlformats-officedocument.themeOverr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79" r:id="rId4"/>
    <p:sldMasterId id="2147484136" r:id="rId5"/>
    <p:sldMasterId id="2147484201" r:id="rId6"/>
    <p:sldMasterId id="2147484306" r:id="rId7"/>
  </p:sldMasterIdLst>
  <p:notesMasterIdLst>
    <p:notesMasterId r:id="rId40"/>
  </p:notesMasterIdLst>
  <p:handoutMasterIdLst>
    <p:handoutMasterId r:id="rId41"/>
  </p:handoutMasterIdLst>
  <p:sldIdLst>
    <p:sldId id="802" r:id="rId8"/>
    <p:sldId id="2147471868" r:id="rId9"/>
    <p:sldId id="2147481717" r:id="rId10"/>
    <p:sldId id="856" r:id="rId11"/>
    <p:sldId id="857" r:id="rId12"/>
    <p:sldId id="859" r:id="rId13"/>
    <p:sldId id="2147474221" r:id="rId14"/>
    <p:sldId id="858" r:id="rId15"/>
    <p:sldId id="2147471819" r:id="rId16"/>
    <p:sldId id="2147474220" r:id="rId17"/>
    <p:sldId id="2147471831" r:id="rId18"/>
    <p:sldId id="2147471848" r:id="rId19"/>
    <p:sldId id="2147481714" r:id="rId20"/>
    <p:sldId id="2147471855" r:id="rId21"/>
    <p:sldId id="2147481718" r:id="rId22"/>
    <p:sldId id="2147474217" r:id="rId23"/>
    <p:sldId id="2147474232" r:id="rId24"/>
    <p:sldId id="2147481715" r:id="rId25"/>
    <p:sldId id="2147481726" r:id="rId26"/>
    <p:sldId id="2147471846" r:id="rId27"/>
    <p:sldId id="2147471870" r:id="rId28"/>
    <p:sldId id="2147481724" r:id="rId29"/>
    <p:sldId id="2147481725" r:id="rId30"/>
    <p:sldId id="2147481722" r:id="rId31"/>
    <p:sldId id="2147474205" r:id="rId32"/>
    <p:sldId id="2147474206" r:id="rId33"/>
    <p:sldId id="2147474207" r:id="rId34"/>
    <p:sldId id="2147474208" r:id="rId35"/>
    <p:sldId id="2147474209" r:id="rId36"/>
    <p:sldId id="2147474227" r:id="rId37"/>
    <p:sldId id="2147474211" r:id="rId38"/>
    <p:sldId id="2147471845" r:id="rId39"/>
  </p:sldIdLst>
  <p:sldSz cx="11520488" cy="6480175"/>
  <p:notesSz cx="6797675" cy="9926638"/>
  <p:defaultTextStyle>
    <a:defPPr>
      <a:defRPr lang="en-GB"/>
    </a:defPPr>
    <a:lvl1pPr algn="ctr" rtl="0" fontAlgn="base">
      <a:spcBef>
        <a:spcPct val="0"/>
      </a:spcBef>
      <a:spcAft>
        <a:spcPct val="30000"/>
      </a:spcAft>
      <a:defRPr sz="1300" kern="1200">
        <a:solidFill>
          <a:schemeClr val="tx1"/>
        </a:solidFill>
        <a:latin typeface="Arial" charset="0"/>
        <a:ea typeface="+mn-ea"/>
        <a:cs typeface="Arial" charset="0"/>
      </a:defRPr>
    </a:lvl1pPr>
    <a:lvl2pPr marL="457200" algn="ctr" rtl="0" fontAlgn="base">
      <a:spcBef>
        <a:spcPct val="0"/>
      </a:spcBef>
      <a:spcAft>
        <a:spcPct val="30000"/>
      </a:spcAft>
      <a:defRPr sz="1300" kern="1200">
        <a:solidFill>
          <a:schemeClr val="tx1"/>
        </a:solidFill>
        <a:latin typeface="Arial" charset="0"/>
        <a:ea typeface="+mn-ea"/>
        <a:cs typeface="Arial" charset="0"/>
      </a:defRPr>
    </a:lvl2pPr>
    <a:lvl3pPr marL="914400" algn="ctr" rtl="0" fontAlgn="base">
      <a:spcBef>
        <a:spcPct val="0"/>
      </a:spcBef>
      <a:spcAft>
        <a:spcPct val="30000"/>
      </a:spcAft>
      <a:defRPr sz="1300" kern="1200">
        <a:solidFill>
          <a:schemeClr val="tx1"/>
        </a:solidFill>
        <a:latin typeface="Arial" charset="0"/>
        <a:ea typeface="+mn-ea"/>
        <a:cs typeface="Arial" charset="0"/>
      </a:defRPr>
    </a:lvl3pPr>
    <a:lvl4pPr marL="1371600" algn="ctr" rtl="0" fontAlgn="base">
      <a:spcBef>
        <a:spcPct val="0"/>
      </a:spcBef>
      <a:spcAft>
        <a:spcPct val="30000"/>
      </a:spcAft>
      <a:defRPr sz="1300" kern="1200">
        <a:solidFill>
          <a:schemeClr val="tx1"/>
        </a:solidFill>
        <a:latin typeface="Arial" charset="0"/>
        <a:ea typeface="+mn-ea"/>
        <a:cs typeface="Arial" charset="0"/>
      </a:defRPr>
    </a:lvl4pPr>
    <a:lvl5pPr marL="1828800" algn="ctr" rtl="0" fontAlgn="base">
      <a:spcBef>
        <a:spcPct val="0"/>
      </a:spcBef>
      <a:spcAft>
        <a:spcPct val="30000"/>
      </a:spcAft>
      <a:defRPr sz="1300" kern="1200">
        <a:solidFill>
          <a:schemeClr val="tx1"/>
        </a:solidFill>
        <a:latin typeface="Arial" charset="0"/>
        <a:ea typeface="+mn-ea"/>
        <a:cs typeface="Arial" charset="0"/>
      </a:defRPr>
    </a:lvl5pPr>
    <a:lvl6pPr marL="2286000" algn="l" defTabSz="914400" rtl="0" eaLnBrk="1" latinLnBrk="0" hangingPunct="1">
      <a:defRPr sz="1300" kern="1200">
        <a:solidFill>
          <a:schemeClr val="tx1"/>
        </a:solidFill>
        <a:latin typeface="Arial" charset="0"/>
        <a:ea typeface="+mn-ea"/>
        <a:cs typeface="Arial" charset="0"/>
      </a:defRPr>
    </a:lvl6pPr>
    <a:lvl7pPr marL="2743200" algn="l" defTabSz="914400" rtl="0" eaLnBrk="1" latinLnBrk="0" hangingPunct="1">
      <a:defRPr sz="1300" kern="1200">
        <a:solidFill>
          <a:schemeClr val="tx1"/>
        </a:solidFill>
        <a:latin typeface="Arial" charset="0"/>
        <a:ea typeface="+mn-ea"/>
        <a:cs typeface="Arial" charset="0"/>
      </a:defRPr>
    </a:lvl7pPr>
    <a:lvl8pPr marL="3200400" algn="l" defTabSz="914400" rtl="0" eaLnBrk="1" latinLnBrk="0" hangingPunct="1">
      <a:defRPr sz="1300" kern="1200">
        <a:solidFill>
          <a:schemeClr val="tx1"/>
        </a:solidFill>
        <a:latin typeface="Arial" charset="0"/>
        <a:ea typeface="+mn-ea"/>
        <a:cs typeface="Arial" charset="0"/>
      </a:defRPr>
    </a:lvl8pPr>
    <a:lvl9pPr marL="3657600" algn="l" defTabSz="914400" rtl="0" eaLnBrk="1" latinLnBrk="0" hangingPunct="1">
      <a:defRPr sz="13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4" orient="horz" pos="1701" userDrawn="1">
          <p15:clr>
            <a:srgbClr val="A4A3A4"/>
          </p15:clr>
        </p15:guide>
        <p15:guide id="5" pos="3629" userDrawn="1">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guide id="3" orient="horz" pos="3127" userDrawn="1">
          <p15:clr>
            <a:srgbClr val="A4A3A4"/>
          </p15:clr>
        </p15:guide>
        <p15:guide id="4"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6EBF3D-30ED-BCF1-3E64-308462614EB1}" name="Hacking, Charlie" initials="HC" userId="S::charlie.hacking@bnymellon.com::22159b1f-8209-4f6e-a790-2e3eed4599ed" providerId="AD"/>
  <p188:author id="{D61DAF5E-F7FE-816A-D86D-C58149197283}" name="Parkin, Richard" initials="PR" userId="S::richard.parkin@bnymellon.com::f08b93bc-796f-4f5c-9524-f201d3000433" providerId="AD"/>
  <p188:author id="{3E10EF6C-70DB-B973-85F2-1ACD11548AC8}" name="Duncan-Jones, Karen" initials="DJK" userId="S::Karen.Duncan-Jones@bnymellon.com::d41d39ae-cd2e-43d3-be14-8a561fd6eb3b" providerId="AD"/>
  <p188:author id="{CAC3EC84-F958-1BEF-4D68-788A88E4D1CE}" name="Cleland, Heather" initials="CH" userId="S::XBBN1VT@eur.bnymellon.net::1c8635a0-2e98-46b0-af2f-169d117c39ed" providerId="AD"/>
  <p188:author id="{B4FB289D-D69A-13EE-4960-47A40B92AFD9}" name="Hone, Penelope Jocelyne" initials="HJ" userId="S::penelope.hone@bnymellon.com::8ae614ec-46d8-4bc1-b092-d94710e391e6" providerId="AD"/>
  <p188:author id="{1C0452AF-D44C-3C1B-6CD9-482234B8A530}" name="Hone, Penelope Jocelyne" initials="HPJ" userId="S::Penelope.Hone@bnymellon.com::8ae614ec-46d8-4bc1-b092-d94710e391e6" providerId="AD"/>
  <p188:author id="{D9B318B1-6072-74B2-8A08-F9A77C01E3FC}" name="Parkin, Richard" initials="RP" userId="S::richard.parkin@bny.com::f08b93bc-796f-4f5c-9524-f201d300043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87F"/>
    <a:srgbClr val="2D9BAD"/>
    <a:srgbClr val="6ABDC6"/>
    <a:srgbClr val="353535"/>
    <a:srgbClr val="808183"/>
    <a:srgbClr val="EDE9DB"/>
    <a:srgbClr val="FF00FF"/>
    <a:srgbClr val="9E8D50"/>
    <a:srgbClr val="F4EDE1"/>
    <a:srgbClr val="C4B8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50A6EA-BB6D-411D-A8FD-49DFCEEA5CDC}" v="12" dt="2024-10-25T12:55:23.593"/>
  </p1510:revLst>
</p1510:revInfo>
</file>

<file path=ppt/tableStyles.xml><?xml version="1.0" encoding="utf-8"?>
<a:tblStyleLst xmlns:a="http://schemas.openxmlformats.org/drawingml/2006/main" def="{9DCAF9ED-07DC-4A11-8D7F-57B35C2568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783" autoAdjust="0"/>
    <p:restoredTop sz="79856" autoAdjust="0"/>
  </p:normalViewPr>
  <p:slideViewPr>
    <p:cSldViewPr snapToGrid="0" showGuides="1">
      <p:cViewPr varScale="1">
        <p:scale>
          <a:sx n="97" d="100"/>
          <a:sy n="97" d="100"/>
        </p:scale>
        <p:origin x="516" y="546"/>
      </p:cViewPr>
      <p:guideLst>
        <p:guide orient="horz" pos="1701"/>
        <p:guide pos="3629"/>
      </p:guideLst>
    </p:cSldViewPr>
  </p:slideViewPr>
  <p:outlineViewPr>
    <p:cViewPr>
      <p:scale>
        <a:sx n="33" d="100"/>
        <a:sy n="33" d="100"/>
      </p:scale>
      <p:origin x="0" y="-19746"/>
    </p:cViewPr>
  </p:outlineViewPr>
  <p:notesTextViewPr>
    <p:cViewPr>
      <p:scale>
        <a:sx n="3" d="2"/>
        <a:sy n="3" d="2"/>
      </p:scale>
      <p:origin x="0" y="0"/>
    </p:cViewPr>
  </p:notesTextViewPr>
  <p:sorterViewPr>
    <p:cViewPr varScale="1">
      <p:scale>
        <a:sx n="1" d="1"/>
        <a:sy n="1" d="1"/>
      </p:scale>
      <p:origin x="0" y="-2676"/>
    </p:cViewPr>
  </p:sorterViewPr>
  <p:notesViewPr>
    <p:cSldViewPr snapToGrid="0" showGuides="1">
      <p:cViewPr varScale="1">
        <p:scale>
          <a:sx n="76" d="100"/>
          <a:sy n="76" d="100"/>
        </p:scale>
        <p:origin x="-4002" y="-96"/>
      </p:cViewPr>
      <p:guideLst>
        <p:guide orient="horz" pos="2141"/>
        <p:guide pos="3127"/>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 Lucy Anika" userId="183e9fad-cada-4d85-a1f3-cf5ce47eee86" providerId="ADAL" clId="{0050A6EA-BB6D-411D-A8FD-49DFCEEA5CDC}"/>
    <pc:docChg chg="undo custSel addSld delSld modSld">
      <pc:chgData name="Silva, Lucy Anika" userId="183e9fad-cada-4d85-a1f3-cf5ce47eee86" providerId="ADAL" clId="{0050A6EA-BB6D-411D-A8FD-49DFCEEA5CDC}" dt="2024-10-25T12:55:23.593" v="209" actId="478"/>
      <pc:docMkLst>
        <pc:docMk/>
      </pc:docMkLst>
      <pc:sldChg chg="modSp mod">
        <pc:chgData name="Silva, Lucy Anika" userId="183e9fad-cada-4d85-a1f3-cf5ce47eee86" providerId="ADAL" clId="{0050A6EA-BB6D-411D-A8FD-49DFCEEA5CDC}" dt="2024-10-25T12:39:57.894" v="60" actId="20577"/>
        <pc:sldMkLst>
          <pc:docMk/>
          <pc:sldMk cId="2378228449" sldId="802"/>
        </pc:sldMkLst>
        <pc:spChg chg="mod">
          <ac:chgData name="Silva, Lucy Anika" userId="183e9fad-cada-4d85-a1f3-cf5ce47eee86" providerId="ADAL" clId="{0050A6EA-BB6D-411D-A8FD-49DFCEEA5CDC}" dt="2024-10-25T12:39:57.894" v="60" actId="20577"/>
          <ac:spMkLst>
            <pc:docMk/>
            <pc:sldMk cId="2378228449" sldId="802"/>
            <ac:spMk id="15" creationId="{36A04079-B263-95FB-2082-8AABC442A788}"/>
          </ac:spMkLst>
        </pc:spChg>
      </pc:sldChg>
      <pc:sldChg chg="delSp">
        <pc:chgData name="Silva, Lucy Anika" userId="183e9fad-cada-4d85-a1f3-cf5ce47eee86" providerId="ADAL" clId="{0050A6EA-BB6D-411D-A8FD-49DFCEEA5CDC}" dt="2024-10-25T12:55:23.593" v="209" actId="478"/>
        <pc:sldMkLst>
          <pc:docMk/>
          <pc:sldMk cId="165649882" sldId="856"/>
        </pc:sldMkLst>
        <pc:spChg chg="del">
          <ac:chgData name="Silva, Lucy Anika" userId="183e9fad-cada-4d85-a1f3-cf5ce47eee86" providerId="ADAL" clId="{0050A6EA-BB6D-411D-A8FD-49DFCEEA5CDC}" dt="2024-10-25T12:55:23.593" v="209" actId="478"/>
          <ac:spMkLst>
            <pc:docMk/>
            <pc:sldMk cId="165649882" sldId="856"/>
            <ac:spMk id="2" creationId="{E6BBD103-7BF2-410D-3F37-EEA72F8FE632}"/>
          </ac:spMkLst>
        </pc:spChg>
      </pc:sldChg>
      <pc:sldChg chg="addSp delSp modSp mod">
        <pc:chgData name="Silva, Lucy Anika" userId="183e9fad-cada-4d85-a1f3-cf5ce47eee86" providerId="ADAL" clId="{0050A6EA-BB6D-411D-A8FD-49DFCEEA5CDC}" dt="2024-10-25T12:51:08.653" v="146" actId="1076"/>
        <pc:sldMkLst>
          <pc:docMk/>
          <pc:sldMk cId="1204382491" sldId="2147474205"/>
        </pc:sldMkLst>
        <pc:picChg chg="del mod">
          <ac:chgData name="Silva, Lucy Anika" userId="183e9fad-cada-4d85-a1f3-cf5ce47eee86" providerId="ADAL" clId="{0050A6EA-BB6D-411D-A8FD-49DFCEEA5CDC}" dt="2024-10-25T12:50:46.361" v="142" actId="478"/>
          <ac:picMkLst>
            <pc:docMk/>
            <pc:sldMk cId="1204382491" sldId="2147474205"/>
            <ac:picMk id="4" creationId="{A159CE7C-D96B-F81C-E053-F771D2619A37}"/>
          </ac:picMkLst>
        </pc:picChg>
        <pc:picChg chg="add mod">
          <ac:chgData name="Silva, Lucy Anika" userId="183e9fad-cada-4d85-a1f3-cf5ce47eee86" providerId="ADAL" clId="{0050A6EA-BB6D-411D-A8FD-49DFCEEA5CDC}" dt="2024-10-25T12:51:08.653" v="146" actId="1076"/>
          <ac:picMkLst>
            <pc:docMk/>
            <pc:sldMk cId="1204382491" sldId="2147474205"/>
            <ac:picMk id="5" creationId="{7FD8A944-47D7-B271-D226-29BD7EE62F53}"/>
          </ac:picMkLst>
        </pc:picChg>
      </pc:sldChg>
      <pc:sldChg chg="addSp delSp modSp mod">
        <pc:chgData name="Silva, Lucy Anika" userId="183e9fad-cada-4d85-a1f3-cf5ce47eee86" providerId="ADAL" clId="{0050A6EA-BB6D-411D-A8FD-49DFCEEA5CDC}" dt="2024-10-25T12:52:06.280" v="165" actId="1038"/>
        <pc:sldMkLst>
          <pc:docMk/>
          <pc:sldMk cId="616270972" sldId="2147474206"/>
        </pc:sldMkLst>
        <pc:picChg chg="add mod">
          <ac:chgData name="Silva, Lucy Anika" userId="183e9fad-cada-4d85-a1f3-cf5ce47eee86" providerId="ADAL" clId="{0050A6EA-BB6D-411D-A8FD-49DFCEEA5CDC}" dt="2024-10-25T12:52:06.280" v="165" actId="1038"/>
          <ac:picMkLst>
            <pc:docMk/>
            <pc:sldMk cId="616270972" sldId="2147474206"/>
            <ac:picMk id="3" creationId="{85B09E8A-6F9B-280A-364F-65071B0BC1C4}"/>
          </ac:picMkLst>
        </pc:picChg>
        <pc:picChg chg="del mod">
          <ac:chgData name="Silva, Lucy Anika" userId="183e9fad-cada-4d85-a1f3-cf5ce47eee86" providerId="ADAL" clId="{0050A6EA-BB6D-411D-A8FD-49DFCEEA5CDC}" dt="2024-10-25T12:51:12.296" v="148" actId="478"/>
          <ac:picMkLst>
            <pc:docMk/>
            <pc:sldMk cId="616270972" sldId="2147474206"/>
            <ac:picMk id="8" creationId="{3AF4B859-F753-C892-76C4-F566093FACF1}"/>
          </ac:picMkLst>
        </pc:picChg>
      </pc:sldChg>
      <pc:sldChg chg="addSp delSp modSp add del mod">
        <pc:chgData name="Silva, Lucy Anika" userId="183e9fad-cada-4d85-a1f3-cf5ce47eee86" providerId="ADAL" clId="{0050A6EA-BB6D-411D-A8FD-49DFCEEA5CDC}" dt="2024-10-25T12:52:30.637" v="167" actId="1076"/>
        <pc:sldMkLst>
          <pc:docMk/>
          <pc:sldMk cId="2840664196" sldId="2147474207"/>
        </pc:sldMkLst>
        <pc:picChg chg="add mod">
          <ac:chgData name="Silva, Lucy Anika" userId="183e9fad-cada-4d85-a1f3-cf5ce47eee86" providerId="ADAL" clId="{0050A6EA-BB6D-411D-A8FD-49DFCEEA5CDC}" dt="2024-10-25T12:52:30.637" v="167" actId="1076"/>
          <ac:picMkLst>
            <pc:docMk/>
            <pc:sldMk cId="2840664196" sldId="2147474207"/>
            <ac:picMk id="3" creationId="{077EC286-14D3-4E83-C8AD-05DED6132C1E}"/>
          </ac:picMkLst>
        </pc:picChg>
        <pc:picChg chg="del">
          <ac:chgData name="Silva, Lucy Anika" userId="183e9fad-cada-4d85-a1f3-cf5ce47eee86" providerId="ADAL" clId="{0050A6EA-BB6D-411D-A8FD-49DFCEEA5CDC}" dt="2024-10-25T12:51:30.684" v="155" actId="478"/>
          <ac:picMkLst>
            <pc:docMk/>
            <pc:sldMk cId="2840664196" sldId="2147474207"/>
            <ac:picMk id="4" creationId="{A3F6410C-A044-958C-0B37-552FAE02448A}"/>
          </ac:picMkLst>
        </pc:picChg>
      </pc:sldChg>
      <pc:sldChg chg="addSp delSp modSp add del mod">
        <pc:chgData name="Silva, Lucy Anika" userId="183e9fad-cada-4d85-a1f3-cf5ce47eee86" providerId="ADAL" clId="{0050A6EA-BB6D-411D-A8FD-49DFCEEA5CDC}" dt="2024-10-25T12:53:01.189" v="175" actId="1035"/>
        <pc:sldMkLst>
          <pc:docMk/>
          <pc:sldMk cId="704363164" sldId="2147474208"/>
        </pc:sldMkLst>
        <pc:picChg chg="add mod">
          <ac:chgData name="Silva, Lucy Anika" userId="183e9fad-cada-4d85-a1f3-cf5ce47eee86" providerId="ADAL" clId="{0050A6EA-BB6D-411D-A8FD-49DFCEEA5CDC}" dt="2024-10-25T12:53:01.189" v="175" actId="1035"/>
          <ac:picMkLst>
            <pc:docMk/>
            <pc:sldMk cId="704363164" sldId="2147474208"/>
            <ac:picMk id="3" creationId="{3386A4B7-938A-6EB4-356F-AC4B1D67C5EF}"/>
          </ac:picMkLst>
        </pc:picChg>
        <pc:picChg chg="del">
          <ac:chgData name="Silva, Lucy Anika" userId="183e9fad-cada-4d85-a1f3-cf5ce47eee86" providerId="ADAL" clId="{0050A6EA-BB6D-411D-A8FD-49DFCEEA5CDC}" dt="2024-10-25T12:51:32.109" v="156" actId="478"/>
          <ac:picMkLst>
            <pc:docMk/>
            <pc:sldMk cId="704363164" sldId="2147474208"/>
            <ac:picMk id="4" creationId="{775A9E18-9415-6085-05EB-399983951866}"/>
          </ac:picMkLst>
        </pc:picChg>
      </pc:sldChg>
      <pc:sldChg chg="addSp delSp modSp add del mod">
        <pc:chgData name="Silva, Lucy Anika" userId="183e9fad-cada-4d85-a1f3-cf5ce47eee86" providerId="ADAL" clId="{0050A6EA-BB6D-411D-A8FD-49DFCEEA5CDC}" dt="2024-10-25T12:53:26.579" v="177" actId="1076"/>
        <pc:sldMkLst>
          <pc:docMk/>
          <pc:sldMk cId="1543222146" sldId="2147474209"/>
        </pc:sldMkLst>
        <pc:picChg chg="add mod">
          <ac:chgData name="Silva, Lucy Anika" userId="183e9fad-cada-4d85-a1f3-cf5ce47eee86" providerId="ADAL" clId="{0050A6EA-BB6D-411D-A8FD-49DFCEEA5CDC}" dt="2024-10-25T12:53:26.579" v="177" actId="1076"/>
          <ac:picMkLst>
            <pc:docMk/>
            <pc:sldMk cId="1543222146" sldId="2147474209"/>
            <ac:picMk id="3" creationId="{77ACEF66-5594-3976-3BF7-82D7643C1768}"/>
          </ac:picMkLst>
        </pc:picChg>
        <pc:picChg chg="del">
          <ac:chgData name="Silva, Lucy Anika" userId="183e9fad-cada-4d85-a1f3-cf5ce47eee86" providerId="ADAL" clId="{0050A6EA-BB6D-411D-A8FD-49DFCEEA5CDC}" dt="2024-10-25T12:51:34.269" v="157" actId="478"/>
          <ac:picMkLst>
            <pc:docMk/>
            <pc:sldMk cId="1543222146" sldId="2147474209"/>
            <ac:picMk id="4" creationId="{685A614D-F05A-C787-7B20-755F661C0629}"/>
          </ac:picMkLst>
        </pc:picChg>
      </pc:sldChg>
      <pc:sldChg chg="modSp mod">
        <pc:chgData name="Silva, Lucy Anika" userId="183e9fad-cada-4d85-a1f3-cf5ce47eee86" providerId="ADAL" clId="{0050A6EA-BB6D-411D-A8FD-49DFCEEA5CDC}" dt="2024-10-25T12:55:03.201" v="208" actId="20577"/>
        <pc:sldMkLst>
          <pc:docMk/>
          <pc:sldMk cId="335304221" sldId="2147474211"/>
        </pc:sldMkLst>
        <pc:spChg chg="mod">
          <ac:chgData name="Silva, Lucy Anika" userId="183e9fad-cada-4d85-a1f3-cf5ce47eee86" providerId="ADAL" clId="{0050A6EA-BB6D-411D-A8FD-49DFCEEA5CDC}" dt="2024-10-25T12:55:03.201" v="208" actId="20577"/>
          <ac:spMkLst>
            <pc:docMk/>
            <pc:sldMk cId="335304221" sldId="2147474211"/>
            <ac:spMk id="13" creationId="{51E6C8F7-1435-4EAF-FF19-769B0E0C22EB}"/>
          </ac:spMkLst>
        </pc:spChg>
      </pc:sldChg>
      <pc:sldChg chg="addSp delSp modSp mod">
        <pc:chgData name="Silva, Lucy Anika" userId="183e9fad-cada-4d85-a1f3-cf5ce47eee86" providerId="ADAL" clId="{0050A6EA-BB6D-411D-A8FD-49DFCEEA5CDC}" dt="2024-10-25T12:53:50.906" v="179" actId="1076"/>
        <pc:sldMkLst>
          <pc:docMk/>
          <pc:sldMk cId="42198570" sldId="2147474227"/>
        </pc:sldMkLst>
        <pc:picChg chg="del">
          <ac:chgData name="Silva, Lucy Anika" userId="183e9fad-cada-4d85-a1f3-cf5ce47eee86" providerId="ADAL" clId="{0050A6EA-BB6D-411D-A8FD-49DFCEEA5CDC}" dt="2024-10-25T12:51:35.973" v="158" actId="478"/>
          <ac:picMkLst>
            <pc:docMk/>
            <pc:sldMk cId="42198570" sldId="2147474227"/>
            <ac:picMk id="3" creationId="{D85AE30E-3F28-F0CC-B5FB-09F54DDD4A70}"/>
          </ac:picMkLst>
        </pc:picChg>
        <pc:picChg chg="add mod">
          <ac:chgData name="Silva, Lucy Anika" userId="183e9fad-cada-4d85-a1f3-cf5ce47eee86" providerId="ADAL" clId="{0050A6EA-BB6D-411D-A8FD-49DFCEEA5CDC}" dt="2024-10-25T12:53:50.906" v="179" actId="1076"/>
          <ac:picMkLst>
            <pc:docMk/>
            <pc:sldMk cId="42198570" sldId="2147474227"/>
            <ac:picMk id="4" creationId="{DF54D333-B616-7EEA-8D77-6DF45E9077FF}"/>
          </ac:picMkLst>
        </pc:picChg>
      </pc:sldChg>
      <pc:sldChg chg="modSp mod">
        <pc:chgData name="Silva, Lucy Anika" userId="183e9fad-cada-4d85-a1f3-cf5ce47eee86" providerId="ADAL" clId="{0050A6EA-BB6D-411D-A8FD-49DFCEEA5CDC}" dt="2024-10-25T12:44:37.955" v="84" actId="114"/>
        <pc:sldMkLst>
          <pc:docMk/>
          <pc:sldMk cId="4031967889" sldId="2147481718"/>
        </pc:sldMkLst>
        <pc:spChg chg="mod">
          <ac:chgData name="Silva, Lucy Anika" userId="183e9fad-cada-4d85-a1f3-cf5ce47eee86" providerId="ADAL" clId="{0050A6EA-BB6D-411D-A8FD-49DFCEEA5CDC}" dt="2024-10-25T12:44:37.955" v="84" actId="114"/>
          <ac:spMkLst>
            <pc:docMk/>
            <pc:sldMk cId="4031967889" sldId="2147481718"/>
            <ac:spMk id="8" creationId="{F92144B4-3A1E-B4AA-9C9D-C1EEEBA0716F}"/>
          </ac:spMkLst>
        </pc:spChg>
      </pc:sldChg>
      <pc:sldChg chg="addSp delSp modSp mod">
        <pc:chgData name="Silva, Lucy Anika" userId="183e9fad-cada-4d85-a1f3-cf5ce47eee86" providerId="ADAL" clId="{0050A6EA-BB6D-411D-A8FD-49DFCEEA5CDC}" dt="2024-10-25T12:47:11.714" v="114" actId="1076"/>
        <pc:sldMkLst>
          <pc:docMk/>
          <pc:sldMk cId="2329656449" sldId="2147481724"/>
        </pc:sldMkLst>
        <pc:spChg chg="add del mod">
          <ac:chgData name="Silva, Lucy Anika" userId="183e9fad-cada-4d85-a1f3-cf5ce47eee86" providerId="ADAL" clId="{0050A6EA-BB6D-411D-A8FD-49DFCEEA5CDC}" dt="2024-10-25T12:46:06.546" v="102"/>
          <ac:spMkLst>
            <pc:docMk/>
            <pc:sldMk cId="2329656449" sldId="2147481724"/>
            <ac:spMk id="4" creationId="{18B885F5-1319-1535-33EC-8343C41DDD93}"/>
          </ac:spMkLst>
        </pc:spChg>
        <pc:spChg chg="add mod">
          <ac:chgData name="Silva, Lucy Anika" userId="183e9fad-cada-4d85-a1f3-cf5ce47eee86" providerId="ADAL" clId="{0050A6EA-BB6D-411D-A8FD-49DFCEEA5CDC}" dt="2024-10-25T12:46:06.044" v="101"/>
          <ac:spMkLst>
            <pc:docMk/>
            <pc:sldMk cId="2329656449" sldId="2147481724"/>
            <ac:spMk id="5" creationId="{F72B1D91-A88D-1837-9FF0-0D5B41A9FEBA}"/>
          </ac:spMkLst>
        </pc:spChg>
        <pc:spChg chg="add mod">
          <ac:chgData name="Silva, Lucy Anika" userId="183e9fad-cada-4d85-a1f3-cf5ce47eee86" providerId="ADAL" clId="{0050A6EA-BB6D-411D-A8FD-49DFCEEA5CDC}" dt="2024-10-25T12:47:02.729" v="113" actId="1076"/>
          <ac:spMkLst>
            <pc:docMk/>
            <pc:sldMk cId="2329656449" sldId="2147481724"/>
            <ac:spMk id="6" creationId="{CF97B875-9444-122F-FFD1-BD11BCDBEEDC}"/>
          </ac:spMkLst>
        </pc:spChg>
        <pc:spChg chg="mod">
          <ac:chgData name="Silva, Lucy Anika" userId="183e9fad-cada-4d85-a1f3-cf5ce47eee86" providerId="ADAL" clId="{0050A6EA-BB6D-411D-A8FD-49DFCEEA5CDC}" dt="2024-10-25T12:46:23.203" v="105" actId="21"/>
          <ac:spMkLst>
            <pc:docMk/>
            <pc:sldMk cId="2329656449" sldId="2147481724"/>
            <ac:spMk id="37" creationId="{98798FDF-E302-0676-1FB7-EAAB5435F5AA}"/>
          </ac:spMkLst>
        </pc:spChg>
        <pc:spChg chg="mod">
          <ac:chgData name="Silva, Lucy Anika" userId="183e9fad-cada-4d85-a1f3-cf5ce47eee86" providerId="ADAL" clId="{0050A6EA-BB6D-411D-A8FD-49DFCEEA5CDC}" dt="2024-10-25T12:45:20.208" v="90" actId="20577"/>
          <ac:spMkLst>
            <pc:docMk/>
            <pc:sldMk cId="2329656449" sldId="2147481724"/>
            <ac:spMk id="38" creationId="{8D5D93C8-5A33-E4E7-88D1-D7123D3BE28E}"/>
          </ac:spMkLst>
        </pc:spChg>
        <pc:graphicFrameChg chg="mod">
          <ac:chgData name="Silva, Lucy Anika" userId="183e9fad-cada-4d85-a1f3-cf5ce47eee86" providerId="ADAL" clId="{0050A6EA-BB6D-411D-A8FD-49DFCEEA5CDC}" dt="2024-10-25T12:47:11.714" v="114" actId="1076"/>
          <ac:graphicFrameMkLst>
            <pc:docMk/>
            <pc:sldMk cId="2329656449" sldId="2147481724"/>
            <ac:graphicFrameMk id="41" creationId="{E446CB56-6414-4C19-A100-94C9483671EE}"/>
          </ac:graphicFrameMkLst>
        </pc:graphicFrameChg>
      </pc:sldChg>
      <pc:sldChg chg="addSp delSp modSp mod">
        <pc:chgData name="Silva, Lucy Anika" userId="183e9fad-cada-4d85-a1f3-cf5ce47eee86" providerId="ADAL" clId="{0050A6EA-BB6D-411D-A8FD-49DFCEEA5CDC}" dt="2024-10-25T12:48:51.284" v="140" actId="478"/>
        <pc:sldMkLst>
          <pc:docMk/>
          <pc:sldMk cId="2557316694" sldId="2147481725"/>
        </pc:sldMkLst>
        <pc:spChg chg="add del mod">
          <ac:chgData name="Silva, Lucy Anika" userId="183e9fad-cada-4d85-a1f3-cf5ce47eee86" providerId="ADAL" clId="{0050A6EA-BB6D-411D-A8FD-49DFCEEA5CDC}" dt="2024-10-25T12:48:51.284" v="140" actId="478"/>
          <ac:spMkLst>
            <pc:docMk/>
            <pc:sldMk cId="2557316694" sldId="2147481725"/>
            <ac:spMk id="5" creationId="{93458198-6E42-21B4-F2E0-5FB23369C000}"/>
          </ac:spMkLst>
        </pc:spChg>
        <pc:spChg chg="mod">
          <ac:chgData name="Silva, Lucy Anika" userId="183e9fad-cada-4d85-a1f3-cf5ce47eee86" providerId="ADAL" clId="{0050A6EA-BB6D-411D-A8FD-49DFCEEA5CDC}" dt="2024-10-25T12:48:47.979" v="139" actId="20577"/>
          <ac:spMkLst>
            <pc:docMk/>
            <pc:sldMk cId="2557316694" sldId="2147481725"/>
            <ac:spMk id="37" creationId="{7958A1D9-3FA2-65F2-96E8-5AB748B9FF85}"/>
          </ac:spMkLst>
        </pc:spChg>
        <pc:graphicFrameChg chg="mod">
          <ac:chgData name="Silva, Lucy Anika" userId="183e9fad-cada-4d85-a1f3-cf5ce47eee86" providerId="ADAL" clId="{0050A6EA-BB6D-411D-A8FD-49DFCEEA5CDC}" dt="2024-10-25T12:47:41.448" v="119" actId="1076"/>
          <ac:graphicFrameMkLst>
            <pc:docMk/>
            <pc:sldMk cId="2557316694" sldId="2147481725"/>
            <ac:graphicFrameMk id="4" creationId="{6324B0A1-B943-9F01-C88D-4217B618DB7B}"/>
          </ac:graphicFrameMkLst>
        </pc:graphicFrameChg>
        <pc:graphicFrameChg chg="mod">
          <ac:chgData name="Silva, Lucy Anika" userId="183e9fad-cada-4d85-a1f3-cf5ce47eee86" providerId="ADAL" clId="{0050A6EA-BB6D-411D-A8FD-49DFCEEA5CDC}" dt="2024-10-25T12:47:37.284" v="118" actId="1076"/>
          <ac:graphicFrameMkLst>
            <pc:docMk/>
            <pc:sldMk cId="2557316694" sldId="2147481725"/>
            <ac:graphicFrameMk id="41" creationId="{E7A4485A-C0D0-BA9E-67C5-D5AB9E174428}"/>
          </ac:graphicFrameMkLst>
        </pc:graphicFrameChg>
      </pc:sldChg>
      <pc:sldChg chg="addSp delSp modSp mod setBg">
        <pc:chgData name="Silva, Lucy Anika" userId="183e9fad-cada-4d85-a1f3-cf5ce47eee86" providerId="ADAL" clId="{0050A6EA-BB6D-411D-A8FD-49DFCEEA5CDC}" dt="2024-10-25T12:43:44.624" v="78" actId="113"/>
        <pc:sldMkLst>
          <pc:docMk/>
          <pc:sldMk cId="856298615" sldId="2147481726"/>
        </pc:sldMkLst>
        <pc:spChg chg="mod">
          <ac:chgData name="Silva, Lucy Anika" userId="183e9fad-cada-4d85-a1f3-cf5ce47eee86" providerId="ADAL" clId="{0050A6EA-BB6D-411D-A8FD-49DFCEEA5CDC}" dt="2024-10-25T12:40:48.283" v="66" actId="20577"/>
          <ac:spMkLst>
            <pc:docMk/>
            <pc:sldMk cId="856298615" sldId="2147481726"/>
            <ac:spMk id="2" creationId="{794F1208-FEB5-8052-F8DE-6D97327EE354}"/>
          </ac:spMkLst>
        </pc:spChg>
        <pc:spChg chg="add del mod">
          <ac:chgData name="Silva, Lucy Anika" userId="183e9fad-cada-4d85-a1f3-cf5ce47eee86" providerId="ADAL" clId="{0050A6EA-BB6D-411D-A8FD-49DFCEEA5CDC}" dt="2024-10-25T12:42:12.024" v="70" actId="478"/>
          <ac:spMkLst>
            <pc:docMk/>
            <pc:sldMk cId="856298615" sldId="2147481726"/>
            <ac:spMk id="5" creationId="{5CFC3F6C-0E04-AA31-1048-DF6071370FFD}"/>
          </ac:spMkLst>
        </pc:spChg>
        <pc:spChg chg="mod">
          <ac:chgData name="Silva, Lucy Anika" userId="183e9fad-cada-4d85-a1f3-cf5ce47eee86" providerId="ADAL" clId="{0050A6EA-BB6D-411D-A8FD-49DFCEEA5CDC}" dt="2024-10-25T12:43:44.624" v="78" actId="113"/>
          <ac:spMkLst>
            <pc:docMk/>
            <pc:sldMk cId="856298615" sldId="2147481726"/>
            <ac:spMk id="8" creationId="{2F2DE4BA-ABE0-FA48-0A88-84BD1D760BAD}"/>
          </ac:spMkLst>
        </pc:spChg>
        <pc:graphicFrameChg chg="add mod">
          <ac:chgData name="Silva, Lucy Anika" userId="183e9fad-cada-4d85-a1f3-cf5ce47eee86" providerId="ADAL" clId="{0050A6EA-BB6D-411D-A8FD-49DFCEEA5CDC}" dt="2024-10-25T12:42:09.876" v="69"/>
          <ac:graphicFrameMkLst>
            <pc:docMk/>
            <pc:sldMk cId="856298615" sldId="2147481726"/>
            <ac:graphicFrameMk id="7" creationId="{3F3916D9-5084-AAE3-FFC2-EA9FB53F268B}"/>
          </ac:graphicFrameMkLst>
        </pc:graphicFrameChg>
        <pc:graphicFrameChg chg="add del mod">
          <ac:chgData name="Silva, Lucy Anika" userId="183e9fad-cada-4d85-a1f3-cf5ce47eee86" providerId="ADAL" clId="{0050A6EA-BB6D-411D-A8FD-49DFCEEA5CDC}" dt="2024-10-25T12:42:58.760" v="71"/>
          <ac:graphicFrameMkLst>
            <pc:docMk/>
            <pc:sldMk cId="856298615" sldId="2147481726"/>
            <ac:graphicFrameMk id="12" creationId="{428C4E81-28E6-5AAF-5364-EBBCDBD0B684}"/>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bnymellon-my.sharepoint.com/personal/richard_parkin_bny_com/Documents/Documents/Investment%20positioning/Sequencing%20risk/Smoothing%20models%20v2%20charts%20onl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3.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4.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5.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6.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bnymellon-my.sharepoint.com/personal/richard_parkin_bny_com/Documents/Documents/Investment%20positioning/Sequencing%20risk/Smoothing%20models%20v2%20charts%20only.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bnymellon-my.sharepoint.com/personal/richard_parkin_bny_com/Documents/Documents/Retirement%20research/Retirement%20income%20data/retirement-income-underlying-data-2023-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bnymellon-my.sharepoint.com/personal/richard_parkin_bnymellon_com/Documents/Documents/Investment%20positioning/Newton/MAIF/MAIF%20Inst%20W%20Inc%20Income%20graph%20to%20end%20Jul%2024.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913154238073181E-2"/>
          <c:y val="2.6594134670261286E-2"/>
          <c:w val="0.92587115948741705"/>
          <c:h val="0.67995624702816204"/>
        </c:manualLayout>
      </c:layout>
      <c:lineChart>
        <c:grouping val="standard"/>
        <c:varyColors val="0"/>
        <c:ser>
          <c:idx val="0"/>
          <c:order val="0"/>
          <c:tx>
            <c:strRef>
              <c:f>Data!$C$8</c:f>
              <c:strCache>
                <c:ptCount val="1"/>
                <c:pt idx="0">
                  <c:v>Balanced Portfolio</c:v>
                </c:pt>
              </c:strCache>
            </c:strRef>
          </c:tx>
          <c:spPr>
            <a:ln w="28575" cap="rnd">
              <a:solidFill>
                <a:schemeClr val="accent2"/>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C$9:$C$4758</c:f>
              <c:numCache>
                <c:formatCode>General</c:formatCode>
                <c:ptCount val="4750"/>
                <c:pt idx="0">
                  <c:v>100</c:v>
                </c:pt>
                <c:pt idx="1">
                  <c:v>100.44682555999999</c:v>
                </c:pt>
                <c:pt idx="2">
                  <c:v>99.203800412908492</c:v>
                </c:pt>
                <c:pt idx="3">
                  <c:v>99.203800412908492</c:v>
                </c:pt>
                <c:pt idx="4">
                  <c:v>99.203800412908492</c:v>
                </c:pt>
                <c:pt idx="5">
                  <c:v>97.687992433198758</c:v>
                </c:pt>
                <c:pt idx="6">
                  <c:v>97.932641069192542</c:v>
                </c:pt>
                <c:pt idx="7">
                  <c:v>99.500746744334307</c:v>
                </c:pt>
                <c:pt idx="8">
                  <c:v>99.460227493040904</c:v>
                </c:pt>
                <c:pt idx="9">
                  <c:v>98.240622511987084</c:v>
                </c:pt>
                <c:pt idx="10">
                  <c:v>98.240622511987084</c:v>
                </c:pt>
                <c:pt idx="11">
                  <c:v>98.240622511987084</c:v>
                </c:pt>
                <c:pt idx="12">
                  <c:v>97.012618660212155</c:v>
                </c:pt>
                <c:pt idx="13">
                  <c:v>97.344505095663891</c:v>
                </c:pt>
                <c:pt idx="14">
                  <c:v>97.720311403552813</c:v>
                </c:pt>
                <c:pt idx="15">
                  <c:v>98.591677459399293</c:v>
                </c:pt>
                <c:pt idx="16">
                  <c:v>99.065916185742068</c:v>
                </c:pt>
                <c:pt idx="17">
                  <c:v>99.065916185742068</c:v>
                </c:pt>
                <c:pt idx="18">
                  <c:v>99.065916185742068</c:v>
                </c:pt>
                <c:pt idx="19">
                  <c:v>98.276248532619121</c:v>
                </c:pt>
                <c:pt idx="20">
                  <c:v>99.100856888947618</c:v>
                </c:pt>
                <c:pt idx="21">
                  <c:v>98.471352885356211</c:v>
                </c:pt>
                <c:pt idx="22">
                  <c:v>96.05892093586138</c:v>
                </c:pt>
                <c:pt idx="23">
                  <c:v>95.530623824847353</c:v>
                </c:pt>
                <c:pt idx="24">
                  <c:v>95.530623824847353</c:v>
                </c:pt>
                <c:pt idx="25">
                  <c:v>95.530623824847353</c:v>
                </c:pt>
                <c:pt idx="26">
                  <c:v>95.251896817677192</c:v>
                </c:pt>
                <c:pt idx="27">
                  <c:v>96.951452504368902</c:v>
                </c:pt>
                <c:pt idx="28">
                  <c:v>96.368604251055388</c:v>
                </c:pt>
                <c:pt idx="29">
                  <c:v>96.283132411087692</c:v>
                </c:pt>
                <c:pt idx="30">
                  <c:v>95.631896122561471</c:v>
                </c:pt>
                <c:pt idx="31">
                  <c:v>95.631896122561471</c:v>
                </c:pt>
                <c:pt idx="32">
                  <c:v>95.631896122561471</c:v>
                </c:pt>
                <c:pt idx="33">
                  <c:v>94.799673030652229</c:v>
                </c:pt>
                <c:pt idx="34">
                  <c:v>93.900339058105146</c:v>
                </c:pt>
                <c:pt idx="35">
                  <c:v>95.141101986788399</c:v>
                </c:pt>
                <c:pt idx="36">
                  <c:v>97.223322278712658</c:v>
                </c:pt>
                <c:pt idx="37">
                  <c:v>96.636953702438745</c:v>
                </c:pt>
                <c:pt idx="38">
                  <c:v>96.636953702438745</c:v>
                </c:pt>
                <c:pt idx="39">
                  <c:v>96.636953702438745</c:v>
                </c:pt>
                <c:pt idx="40">
                  <c:v>97.82950821436873</c:v>
                </c:pt>
                <c:pt idx="41">
                  <c:v>98.134837533538558</c:v>
                </c:pt>
                <c:pt idx="42">
                  <c:v>98.663353594042391</c:v>
                </c:pt>
                <c:pt idx="43">
                  <c:v>98.305840223186337</c:v>
                </c:pt>
                <c:pt idx="44">
                  <c:v>99.074227670593629</c:v>
                </c:pt>
                <c:pt idx="45">
                  <c:v>99.074227670593629</c:v>
                </c:pt>
                <c:pt idx="46">
                  <c:v>99.074227670593629</c:v>
                </c:pt>
                <c:pt idx="47">
                  <c:v>98.685718093280386</c:v>
                </c:pt>
                <c:pt idx="48">
                  <c:v>98.83652500891607</c:v>
                </c:pt>
                <c:pt idx="49">
                  <c:v>98.419845371117759</c:v>
                </c:pt>
                <c:pt idx="50">
                  <c:v>97.843948928997222</c:v>
                </c:pt>
                <c:pt idx="51">
                  <c:v>98.496933672053203</c:v>
                </c:pt>
                <c:pt idx="52">
                  <c:v>98.496933672053203</c:v>
                </c:pt>
                <c:pt idx="53">
                  <c:v>98.496933672053203</c:v>
                </c:pt>
                <c:pt idx="54">
                  <c:v>99.240827232752437</c:v>
                </c:pt>
                <c:pt idx="55">
                  <c:v>99.115549333984831</c:v>
                </c:pt>
                <c:pt idx="56">
                  <c:v>99.531605228337085</c:v>
                </c:pt>
                <c:pt idx="57">
                  <c:v>101.50629655007367</c:v>
                </c:pt>
                <c:pt idx="58">
                  <c:v>101.34545836149941</c:v>
                </c:pt>
                <c:pt idx="59">
                  <c:v>101.34545836149941</c:v>
                </c:pt>
                <c:pt idx="60">
                  <c:v>101.34545836149941</c:v>
                </c:pt>
                <c:pt idx="61">
                  <c:v>99.645059532818323</c:v>
                </c:pt>
                <c:pt idx="62">
                  <c:v>98.12741216531677</c:v>
                </c:pt>
                <c:pt idx="63">
                  <c:v>99.001596505741915</c:v>
                </c:pt>
                <c:pt idx="64">
                  <c:v>100.05500319304196</c:v>
                </c:pt>
                <c:pt idx="65">
                  <c:v>99.754681237184826</c:v>
                </c:pt>
                <c:pt idx="66">
                  <c:v>99.754681237184826</c:v>
                </c:pt>
                <c:pt idx="67">
                  <c:v>99.754681237184826</c:v>
                </c:pt>
                <c:pt idx="68">
                  <c:v>99.835884600205134</c:v>
                </c:pt>
                <c:pt idx="69">
                  <c:v>100.24759447018938</c:v>
                </c:pt>
                <c:pt idx="70">
                  <c:v>99.229727712803665</c:v>
                </c:pt>
                <c:pt idx="71">
                  <c:v>99.303508915086425</c:v>
                </c:pt>
                <c:pt idx="72">
                  <c:v>100.04088766670471</c:v>
                </c:pt>
                <c:pt idx="73">
                  <c:v>100.04088766670471</c:v>
                </c:pt>
                <c:pt idx="74">
                  <c:v>100.04088766670471</c:v>
                </c:pt>
                <c:pt idx="75">
                  <c:v>100.083407855112</c:v>
                </c:pt>
                <c:pt idx="76">
                  <c:v>100.10048406614355</c:v>
                </c:pt>
                <c:pt idx="77">
                  <c:v>99.844554706069786</c:v>
                </c:pt>
                <c:pt idx="78">
                  <c:v>98.947645250207614</c:v>
                </c:pt>
                <c:pt idx="79">
                  <c:v>98.317869966579906</c:v>
                </c:pt>
                <c:pt idx="80">
                  <c:v>98.317869966579906</c:v>
                </c:pt>
                <c:pt idx="81">
                  <c:v>98.317869966579906</c:v>
                </c:pt>
                <c:pt idx="82">
                  <c:v>97.325871170799402</c:v>
                </c:pt>
                <c:pt idx="83">
                  <c:v>97.284825356927897</c:v>
                </c:pt>
                <c:pt idx="84">
                  <c:v>96.603085832872139</c:v>
                </c:pt>
                <c:pt idx="85">
                  <c:v>96.260074667042659</c:v>
                </c:pt>
                <c:pt idx="86">
                  <c:v>96.264635623396501</c:v>
                </c:pt>
                <c:pt idx="87">
                  <c:v>96.264635623396501</c:v>
                </c:pt>
                <c:pt idx="88">
                  <c:v>96.264635623396501</c:v>
                </c:pt>
                <c:pt idx="89">
                  <c:v>97.879600030005292</c:v>
                </c:pt>
                <c:pt idx="90">
                  <c:v>98.064118032064727</c:v>
                </c:pt>
                <c:pt idx="91">
                  <c:v>99.988034139235197</c:v>
                </c:pt>
                <c:pt idx="92">
                  <c:v>100.12190299875687</c:v>
                </c:pt>
                <c:pt idx="93">
                  <c:v>100.29851196825935</c:v>
                </c:pt>
                <c:pt idx="94">
                  <c:v>100.29851196825935</c:v>
                </c:pt>
                <c:pt idx="95">
                  <c:v>100.29851196825935</c:v>
                </c:pt>
                <c:pt idx="96">
                  <c:v>100.31809003719852</c:v>
                </c:pt>
                <c:pt idx="97">
                  <c:v>100.34512100738607</c:v>
                </c:pt>
                <c:pt idx="98">
                  <c:v>100.11003657203992</c:v>
                </c:pt>
                <c:pt idx="99">
                  <c:v>99.357667300655564</c:v>
                </c:pt>
                <c:pt idx="100">
                  <c:v>99.851125029050195</c:v>
                </c:pt>
                <c:pt idx="101">
                  <c:v>99.851125029050195</c:v>
                </c:pt>
                <c:pt idx="102">
                  <c:v>99.851125029050195</c:v>
                </c:pt>
                <c:pt idx="103">
                  <c:v>98.589314050594723</c:v>
                </c:pt>
                <c:pt idx="104">
                  <c:v>98.671176376278751</c:v>
                </c:pt>
                <c:pt idx="105">
                  <c:v>97.741808491518441</c:v>
                </c:pt>
                <c:pt idx="106">
                  <c:v>97.784286583005624</c:v>
                </c:pt>
                <c:pt idx="107">
                  <c:v>97.739014873589582</c:v>
                </c:pt>
                <c:pt idx="108">
                  <c:v>97.739014873589582</c:v>
                </c:pt>
                <c:pt idx="109">
                  <c:v>97.739014873589582</c:v>
                </c:pt>
                <c:pt idx="110">
                  <c:v>97.460763861499885</c:v>
                </c:pt>
                <c:pt idx="111">
                  <c:v>97.943569184329832</c:v>
                </c:pt>
                <c:pt idx="112">
                  <c:v>97.855856927709127</c:v>
                </c:pt>
                <c:pt idx="113">
                  <c:v>98.047512594579572</c:v>
                </c:pt>
                <c:pt idx="114">
                  <c:v>98.638661932132464</c:v>
                </c:pt>
                <c:pt idx="115">
                  <c:v>98.638661932132464</c:v>
                </c:pt>
                <c:pt idx="116">
                  <c:v>98.638661932132464</c:v>
                </c:pt>
                <c:pt idx="117">
                  <c:v>98.665017166622505</c:v>
                </c:pt>
                <c:pt idx="118">
                  <c:v>98.643753987170953</c:v>
                </c:pt>
                <c:pt idx="119">
                  <c:v>98.667036941475175</c:v>
                </c:pt>
                <c:pt idx="120">
                  <c:v>99.297978898589278</c:v>
                </c:pt>
                <c:pt idx="121">
                  <c:v>99.256677036263369</c:v>
                </c:pt>
                <c:pt idx="122">
                  <c:v>99.258102004821566</c:v>
                </c:pt>
                <c:pt idx="123">
                  <c:v>99.258102004821566</c:v>
                </c:pt>
                <c:pt idx="124">
                  <c:v>99.406009629249169</c:v>
                </c:pt>
                <c:pt idx="125">
                  <c:v>100.39341767418929</c:v>
                </c:pt>
                <c:pt idx="126">
                  <c:v>100.20077264462087</c:v>
                </c:pt>
                <c:pt idx="127">
                  <c:v>100.08477239450703</c:v>
                </c:pt>
                <c:pt idx="128">
                  <c:v>100.34855281808682</c:v>
                </c:pt>
                <c:pt idx="129">
                  <c:v>100.34855281808682</c:v>
                </c:pt>
                <c:pt idx="130">
                  <c:v>100.34855281808682</c:v>
                </c:pt>
                <c:pt idx="131">
                  <c:v>100.14335650480619</c:v>
                </c:pt>
                <c:pt idx="132">
                  <c:v>100.8697584185026</c:v>
                </c:pt>
                <c:pt idx="133">
                  <c:v>101.14990813421841</c:v>
                </c:pt>
                <c:pt idx="134">
                  <c:v>101.3541851783161</c:v>
                </c:pt>
                <c:pt idx="135">
                  <c:v>100.91458921169357</c:v>
                </c:pt>
                <c:pt idx="136">
                  <c:v>100.91458921169357</c:v>
                </c:pt>
                <c:pt idx="137">
                  <c:v>100.91458921169357</c:v>
                </c:pt>
                <c:pt idx="138">
                  <c:v>101.08321910489973</c:v>
                </c:pt>
                <c:pt idx="139">
                  <c:v>101.43564109848087</c:v>
                </c:pt>
                <c:pt idx="140">
                  <c:v>101.59293967000848</c:v>
                </c:pt>
                <c:pt idx="141">
                  <c:v>101.5815803500788</c:v>
                </c:pt>
                <c:pt idx="142">
                  <c:v>101.22824213001807</c:v>
                </c:pt>
                <c:pt idx="143">
                  <c:v>101.22824213001807</c:v>
                </c:pt>
                <c:pt idx="144">
                  <c:v>101.22824213001807</c:v>
                </c:pt>
                <c:pt idx="145">
                  <c:v>101.49445992537775</c:v>
                </c:pt>
                <c:pt idx="146">
                  <c:v>101.13369154446815</c:v>
                </c:pt>
                <c:pt idx="147">
                  <c:v>101.21983928605304</c:v>
                </c:pt>
                <c:pt idx="148">
                  <c:v>101.74895577271712</c:v>
                </c:pt>
                <c:pt idx="149">
                  <c:v>101.72161831097551</c:v>
                </c:pt>
                <c:pt idx="150">
                  <c:v>101.72161831097551</c:v>
                </c:pt>
                <c:pt idx="151">
                  <c:v>101.72161831097551</c:v>
                </c:pt>
                <c:pt idx="152">
                  <c:v>101.29006457925092</c:v>
                </c:pt>
                <c:pt idx="153">
                  <c:v>101.02131661411596</c:v>
                </c:pt>
                <c:pt idx="154">
                  <c:v>101.67688287124039</c:v>
                </c:pt>
                <c:pt idx="155">
                  <c:v>101.85869954132997</c:v>
                </c:pt>
                <c:pt idx="156">
                  <c:v>102.39525521439275</c:v>
                </c:pt>
                <c:pt idx="157">
                  <c:v>102.39525521439275</c:v>
                </c:pt>
                <c:pt idx="158">
                  <c:v>102.39525521439275</c:v>
                </c:pt>
                <c:pt idx="159">
                  <c:v>102.22845796167451</c:v>
                </c:pt>
                <c:pt idx="160">
                  <c:v>102.26547583702708</c:v>
                </c:pt>
                <c:pt idx="161">
                  <c:v>102.33545653165736</c:v>
                </c:pt>
                <c:pt idx="162">
                  <c:v>102.52293576343736</c:v>
                </c:pt>
                <c:pt idx="163">
                  <c:v>102.17961747500597</c:v>
                </c:pt>
                <c:pt idx="164">
                  <c:v>102.17961747500597</c:v>
                </c:pt>
                <c:pt idx="165">
                  <c:v>102.17961747500597</c:v>
                </c:pt>
                <c:pt idx="166">
                  <c:v>102.6326835133281</c:v>
                </c:pt>
                <c:pt idx="167">
                  <c:v>102.74719377467173</c:v>
                </c:pt>
                <c:pt idx="168">
                  <c:v>102.73052847780833</c:v>
                </c:pt>
                <c:pt idx="169">
                  <c:v>102.69756716173907</c:v>
                </c:pt>
                <c:pt idx="170">
                  <c:v>102.78916044148411</c:v>
                </c:pt>
                <c:pt idx="171">
                  <c:v>102.78916044148411</c:v>
                </c:pt>
                <c:pt idx="172">
                  <c:v>102.78916044148411</c:v>
                </c:pt>
                <c:pt idx="173">
                  <c:v>103.08661764490424</c:v>
                </c:pt>
                <c:pt idx="174">
                  <c:v>103.28244407638103</c:v>
                </c:pt>
                <c:pt idx="175">
                  <c:v>103.81128210432732</c:v>
                </c:pt>
                <c:pt idx="176">
                  <c:v>104.12313379105078</c:v>
                </c:pt>
                <c:pt idx="177">
                  <c:v>103.72634429948452</c:v>
                </c:pt>
                <c:pt idx="178">
                  <c:v>103.72634429948452</c:v>
                </c:pt>
                <c:pt idx="179">
                  <c:v>103.72634429948452</c:v>
                </c:pt>
                <c:pt idx="180">
                  <c:v>103.61663101580895</c:v>
                </c:pt>
                <c:pt idx="181">
                  <c:v>103.87228031955064</c:v>
                </c:pt>
                <c:pt idx="182">
                  <c:v>103.052405504399</c:v>
                </c:pt>
                <c:pt idx="183">
                  <c:v>103.24852185795187</c:v>
                </c:pt>
                <c:pt idx="184">
                  <c:v>103.17309569462928</c:v>
                </c:pt>
                <c:pt idx="185">
                  <c:v>103.17309569462928</c:v>
                </c:pt>
                <c:pt idx="186">
                  <c:v>103.17309569462928</c:v>
                </c:pt>
                <c:pt idx="187">
                  <c:v>102.93611699843591</c:v>
                </c:pt>
                <c:pt idx="188">
                  <c:v>101.82294153629121</c:v>
                </c:pt>
                <c:pt idx="189">
                  <c:v>102.21436562251913</c:v>
                </c:pt>
                <c:pt idx="190">
                  <c:v>102.8855813582276</c:v>
                </c:pt>
                <c:pt idx="191">
                  <c:v>103.35786624030723</c:v>
                </c:pt>
                <c:pt idx="192">
                  <c:v>103.35786624030723</c:v>
                </c:pt>
                <c:pt idx="193">
                  <c:v>103.35786624030723</c:v>
                </c:pt>
                <c:pt idx="194">
                  <c:v>103.61059389745991</c:v>
                </c:pt>
                <c:pt idx="195">
                  <c:v>103.799103892687</c:v>
                </c:pt>
                <c:pt idx="196">
                  <c:v>103.32467768435255</c:v>
                </c:pt>
                <c:pt idx="197">
                  <c:v>103.41699674432581</c:v>
                </c:pt>
                <c:pt idx="198">
                  <c:v>103.107169712071</c:v>
                </c:pt>
                <c:pt idx="199">
                  <c:v>103.107169712071</c:v>
                </c:pt>
                <c:pt idx="200">
                  <c:v>103.107169712071</c:v>
                </c:pt>
                <c:pt idx="201">
                  <c:v>102.94524462434656</c:v>
                </c:pt>
                <c:pt idx="202">
                  <c:v>102.66817907978015</c:v>
                </c:pt>
                <c:pt idx="203">
                  <c:v>102.65776765374194</c:v>
                </c:pt>
                <c:pt idx="204">
                  <c:v>102.46944967831372</c:v>
                </c:pt>
                <c:pt idx="205">
                  <c:v>102.5814127995414</c:v>
                </c:pt>
                <c:pt idx="206">
                  <c:v>102.5814127995414</c:v>
                </c:pt>
                <c:pt idx="207">
                  <c:v>102.5814127995414</c:v>
                </c:pt>
                <c:pt idx="208">
                  <c:v>103.08147261869078</c:v>
                </c:pt>
                <c:pt idx="209">
                  <c:v>102.72141944606243</c:v>
                </c:pt>
                <c:pt idx="210">
                  <c:v>102.68056780523796</c:v>
                </c:pt>
                <c:pt idx="211">
                  <c:v>102.03082771055104</c:v>
                </c:pt>
                <c:pt idx="212">
                  <c:v>102.24030236666233</c:v>
                </c:pt>
                <c:pt idx="213">
                  <c:v>102.24179461499553</c:v>
                </c:pt>
                <c:pt idx="214">
                  <c:v>102.24179461499553</c:v>
                </c:pt>
                <c:pt idx="215">
                  <c:v>102.87867633924101</c:v>
                </c:pt>
                <c:pt idx="216">
                  <c:v>102.6803130107733</c:v>
                </c:pt>
                <c:pt idx="217">
                  <c:v>101.23481889076753</c:v>
                </c:pt>
                <c:pt idx="218">
                  <c:v>101.20479028471324</c:v>
                </c:pt>
                <c:pt idx="219">
                  <c:v>101.20585968537075</c:v>
                </c:pt>
                <c:pt idx="220">
                  <c:v>101.20585968537075</c:v>
                </c:pt>
                <c:pt idx="221">
                  <c:v>101.20585968537075</c:v>
                </c:pt>
                <c:pt idx="222">
                  <c:v>101.01400793720838</c:v>
                </c:pt>
                <c:pt idx="223">
                  <c:v>100.51380513627798</c:v>
                </c:pt>
                <c:pt idx="224">
                  <c:v>100.57443543543728</c:v>
                </c:pt>
                <c:pt idx="225">
                  <c:v>101.12028186198279</c:v>
                </c:pt>
                <c:pt idx="226">
                  <c:v>100.79042580372827</c:v>
                </c:pt>
                <c:pt idx="227">
                  <c:v>100.79042580372827</c:v>
                </c:pt>
                <c:pt idx="228">
                  <c:v>100.79042580372827</c:v>
                </c:pt>
                <c:pt idx="229">
                  <c:v>100.94427017291805</c:v>
                </c:pt>
                <c:pt idx="230">
                  <c:v>101.661752468636</c:v>
                </c:pt>
                <c:pt idx="231">
                  <c:v>101.09390402686415</c:v>
                </c:pt>
                <c:pt idx="232">
                  <c:v>100.94448111042186</c:v>
                </c:pt>
                <c:pt idx="233">
                  <c:v>101.11129650890297</c:v>
                </c:pt>
                <c:pt idx="234">
                  <c:v>101.11129650890297</c:v>
                </c:pt>
                <c:pt idx="235">
                  <c:v>101.11129650890297</c:v>
                </c:pt>
                <c:pt idx="236">
                  <c:v>100.19089265169382</c:v>
                </c:pt>
                <c:pt idx="237">
                  <c:v>100.37015784377472</c:v>
                </c:pt>
                <c:pt idx="238">
                  <c:v>100.70146379603595</c:v>
                </c:pt>
                <c:pt idx="239">
                  <c:v>100.76242758611534</c:v>
                </c:pt>
                <c:pt idx="240">
                  <c:v>100.93493991551269</c:v>
                </c:pt>
                <c:pt idx="241">
                  <c:v>100.93493991551269</c:v>
                </c:pt>
                <c:pt idx="242">
                  <c:v>100.93493991551269</c:v>
                </c:pt>
                <c:pt idx="243">
                  <c:v>100.88510705380266</c:v>
                </c:pt>
                <c:pt idx="244">
                  <c:v>101.23730681900244</c:v>
                </c:pt>
                <c:pt idx="245">
                  <c:v>100.98574738826682</c:v>
                </c:pt>
                <c:pt idx="246">
                  <c:v>100.96435043722302</c:v>
                </c:pt>
                <c:pt idx="247">
                  <c:v>100.18421562109103</c:v>
                </c:pt>
                <c:pt idx="248">
                  <c:v>100.18421562109103</c:v>
                </c:pt>
                <c:pt idx="249">
                  <c:v>100.18421562109103</c:v>
                </c:pt>
                <c:pt idx="250">
                  <c:v>99.992182125870073</c:v>
                </c:pt>
                <c:pt idx="251">
                  <c:v>99.294997335160929</c:v>
                </c:pt>
                <c:pt idx="252">
                  <c:v>99.214751983769517</c:v>
                </c:pt>
                <c:pt idx="253">
                  <c:v>99.203695829138596</c:v>
                </c:pt>
                <c:pt idx="254">
                  <c:v>99.652888338504923</c:v>
                </c:pt>
                <c:pt idx="255">
                  <c:v>99.652888338504923</c:v>
                </c:pt>
                <c:pt idx="256">
                  <c:v>99.652888338504923</c:v>
                </c:pt>
                <c:pt idx="257">
                  <c:v>98.572157348506707</c:v>
                </c:pt>
                <c:pt idx="258">
                  <c:v>98.181295383018593</c:v>
                </c:pt>
                <c:pt idx="259">
                  <c:v>98.297811132046462</c:v>
                </c:pt>
                <c:pt idx="260">
                  <c:v>98.38543632714331</c:v>
                </c:pt>
                <c:pt idx="261">
                  <c:v>98.078430741851321</c:v>
                </c:pt>
                <c:pt idx="262">
                  <c:v>98.078430741851321</c:v>
                </c:pt>
                <c:pt idx="263">
                  <c:v>98.078430741851321</c:v>
                </c:pt>
                <c:pt idx="264">
                  <c:v>98.586422873800345</c:v>
                </c:pt>
                <c:pt idx="265">
                  <c:v>99.092881439733318</c:v>
                </c:pt>
                <c:pt idx="266">
                  <c:v>98.177191432346874</c:v>
                </c:pt>
                <c:pt idx="267">
                  <c:v>98.854695687564757</c:v>
                </c:pt>
                <c:pt idx="268">
                  <c:v>99.058139540982026</c:v>
                </c:pt>
                <c:pt idx="269">
                  <c:v>99.058139540982026</c:v>
                </c:pt>
                <c:pt idx="270">
                  <c:v>99.058139540982026</c:v>
                </c:pt>
                <c:pt idx="271">
                  <c:v>98.997176715172458</c:v>
                </c:pt>
                <c:pt idx="272">
                  <c:v>99.437159331777792</c:v>
                </c:pt>
                <c:pt idx="273">
                  <c:v>98.965385755220026</c:v>
                </c:pt>
                <c:pt idx="274">
                  <c:v>99.559460645617293</c:v>
                </c:pt>
                <c:pt idx="275">
                  <c:v>99.211710500682287</c:v>
                </c:pt>
                <c:pt idx="276">
                  <c:v>99.211710500682287</c:v>
                </c:pt>
                <c:pt idx="277">
                  <c:v>99.211710500682287</c:v>
                </c:pt>
                <c:pt idx="278">
                  <c:v>99.268617921136283</c:v>
                </c:pt>
                <c:pt idx="279">
                  <c:v>99.369567325515476</c:v>
                </c:pt>
                <c:pt idx="280">
                  <c:v>100.04804216171367</c:v>
                </c:pt>
                <c:pt idx="281">
                  <c:v>99.932400571671806</c:v>
                </c:pt>
                <c:pt idx="282">
                  <c:v>100.35177108783166</c:v>
                </c:pt>
                <c:pt idx="283">
                  <c:v>100.35177108783166</c:v>
                </c:pt>
                <c:pt idx="284">
                  <c:v>100.35177108783166</c:v>
                </c:pt>
                <c:pt idx="285">
                  <c:v>100.10484139543516</c:v>
                </c:pt>
                <c:pt idx="286">
                  <c:v>100.37866810851486</c:v>
                </c:pt>
                <c:pt idx="287">
                  <c:v>100.48918331566497</c:v>
                </c:pt>
                <c:pt idx="288">
                  <c:v>100.75254921603438</c:v>
                </c:pt>
                <c:pt idx="289">
                  <c:v>100.72011529794942</c:v>
                </c:pt>
                <c:pt idx="290">
                  <c:v>100.72011529794942</c:v>
                </c:pt>
                <c:pt idx="291">
                  <c:v>100.72011529794942</c:v>
                </c:pt>
                <c:pt idx="292">
                  <c:v>100.88992311733456</c:v>
                </c:pt>
                <c:pt idx="293">
                  <c:v>101.78879411882437</c:v>
                </c:pt>
                <c:pt idx="294">
                  <c:v>101.74930081994334</c:v>
                </c:pt>
                <c:pt idx="295">
                  <c:v>101.06073857621469</c:v>
                </c:pt>
                <c:pt idx="296">
                  <c:v>100.8461943189396</c:v>
                </c:pt>
                <c:pt idx="297">
                  <c:v>100.8461943189396</c:v>
                </c:pt>
                <c:pt idx="298">
                  <c:v>100.8461943189396</c:v>
                </c:pt>
                <c:pt idx="299">
                  <c:v>100.25114247489559</c:v>
                </c:pt>
                <c:pt idx="300">
                  <c:v>100.16116291410195</c:v>
                </c:pt>
                <c:pt idx="301">
                  <c:v>100.7944970715434</c:v>
                </c:pt>
                <c:pt idx="302">
                  <c:v>100.83993543241225</c:v>
                </c:pt>
                <c:pt idx="303">
                  <c:v>101.87330023375104</c:v>
                </c:pt>
                <c:pt idx="304">
                  <c:v>101.87586096177502</c:v>
                </c:pt>
                <c:pt idx="305">
                  <c:v>101.87586096177502</c:v>
                </c:pt>
                <c:pt idx="306">
                  <c:v>102.36404899743212</c:v>
                </c:pt>
                <c:pt idx="307">
                  <c:v>103.07985137264349</c:v>
                </c:pt>
                <c:pt idx="308">
                  <c:v>103.36100448134232</c:v>
                </c:pt>
                <c:pt idx="309">
                  <c:v>103.4008968263995</c:v>
                </c:pt>
                <c:pt idx="310">
                  <c:v>102.87802361756633</c:v>
                </c:pt>
                <c:pt idx="311">
                  <c:v>102.87802361756633</c:v>
                </c:pt>
                <c:pt idx="312">
                  <c:v>102.87802361756633</c:v>
                </c:pt>
                <c:pt idx="313">
                  <c:v>102.62010215737325</c:v>
                </c:pt>
                <c:pt idx="314">
                  <c:v>102.7127700696653</c:v>
                </c:pt>
                <c:pt idx="315">
                  <c:v>102.39571335342903</c:v>
                </c:pt>
                <c:pt idx="316">
                  <c:v>102.32404236471001</c:v>
                </c:pt>
                <c:pt idx="317">
                  <c:v>102.75681470851138</c:v>
                </c:pt>
                <c:pt idx="318">
                  <c:v>102.75681470851138</c:v>
                </c:pt>
                <c:pt idx="319">
                  <c:v>102.75681470851138</c:v>
                </c:pt>
                <c:pt idx="320">
                  <c:v>102.66968573589759</c:v>
                </c:pt>
                <c:pt idx="321">
                  <c:v>102.81237051070335</c:v>
                </c:pt>
                <c:pt idx="322">
                  <c:v>103.17869527410885</c:v>
                </c:pt>
                <c:pt idx="323">
                  <c:v>103.46194052040282</c:v>
                </c:pt>
                <c:pt idx="324">
                  <c:v>103.22295135263913</c:v>
                </c:pt>
                <c:pt idx="325">
                  <c:v>103.22295135263913</c:v>
                </c:pt>
                <c:pt idx="326">
                  <c:v>103.22295135263913</c:v>
                </c:pt>
                <c:pt idx="327">
                  <c:v>102.58817319417963</c:v>
                </c:pt>
                <c:pt idx="328">
                  <c:v>102.12719067322726</c:v>
                </c:pt>
                <c:pt idx="329">
                  <c:v>102.4765207323109</c:v>
                </c:pt>
                <c:pt idx="330">
                  <c:v>102.95734495358198</c:v>
                </c:pt>
                <c:pt idx="331">
                  <c:v>103.62298889846969</c:v>
                </c:pt>
                <c:pt idx="332">
                  <c:v>103.62298889846969</c:v>
                </c:pt>
                <c:pt idx="333">
                  <c:v>103.62298889846969</c:v>
                </c:pt>
                <c:pt idx="334">
                  <c:v>103.92928943845354</c:v>
                </c:pt>
                <c:pt idx="335">
                  <c:v>103.93392595269982</c:v>
                </c:pt>
                <c:pt idx="336">
                  <c:v>104.38735867853474</c:v>
                </c:pt>
                <c:pt idx="337">
                  <c:v>103.96095114133786</c:v>
                </c:pt>
                <c:pt idx="338">
                  <c:v>104.93817025525993</c:v>
                </c:pt>
                <c:pt idx="339">
                  <c:v>104.93817025525993</c:v>
                </c:pt>
                <c:pt idx="340">
                  <c:v>104.93817025525993</c:v>
                </c:pt>
                <c:pt idx="341">
                  <c:v>105.14173319013958</c:v>
                </c:pt>
                <c:pt idx="342">
                  <c:v>105.34265687634624</c:v>
                </c:pt>
                <c:pt idx="343">
                  <c:v>105.55613611964741</c:v>
                </c:pt>
                <c:pt idx="344">
                  <c:v>105.74629344052229</c:v>
                </c:pt>
                <c:pt idx="345">
                  <c:v>105.60303927518656</c:v>
                </c:pt>
                <c:pt idx="346">
                  <c:v>105.60303927518656</c:v>
                </c:pt>
                <c:pt idx="347">
                  <c:v>105.60303927518656</c:v>
                </c:pt>
                <c:pt idx="348">
                  <c:v>105.53624083303492</c:v>
                </c:pt>
                <c:pt idx="349">
                  <c:v>105.84044070987312</c:v>
                </c:pt>
                <c:pt idx="350">
                  <c:v>105.65799202678156</c:v>
                </c:pt>
                <c:pt idx="351">
                  <c:v>105.846601611756</c:v>
                </c:pt>
                <c:pt idx="352">
                  <c:v>106.03538715474959</c:v>
                </c:pt>
                <c:pt idx="353">
                  <c:v>106.03538715474959</c:v>
                </c:pt>
                <c:pt idx="354">
                  <c:v>106.03538715474959</c:v>
                </c:pt>
                <c:pt idx="355">
                  <c:v>105.94090454569965</c:v>
                </c:pt>
                <c:pt idx="356">
                  <c:v>105.9313098593622</c:v>
                </c:pt>
                <c:pt idx="357">
                  <c:v>105.56665530810425</c:v>
                </c:pt>
                <c:pt idx="358">
                  <c:v>105.49936224483139</c:v>
                </c:pt>
                <c:pt idx="359">
                  <c:v>106.00754592080557</c:v>
                </c:pt>
                <c:pt idx="360">
                  <c:v>106.00754592080557</c:v>
                </c:pt>
                <c:pt idx="361">
                  <c:v>106.00754592080557</c:v>
                </c:pt>
                <c:pt idx="362">
                  <c:v>106.20292723080694</c:v>
                </c:pt>
                <c:pt idx="363">
                  <c:v>105.90868086960663</c:v>
                </c:pt>
                <c:pt idx="364">
                  <c:v>105.73591584062568</c:v>
                </c:pt>
                <c:pt idx="365">
                  <c:v>105.39180633845197</c:v>
                </c:pt>
                <c:pt idx="366">
                  <c:v>105.41104941734326</c:v>
                </c:pt>
                <c:pt idx="367">
                  <c:v>105.41104941734326</c:v>
                </c:pt>
                <c:pt idx="368">
                  <c:v>105.41104941734326</c:v>
                </c:pt>
                <c:pt idx="369">
                  <c:v>105.71806012125846</c:v>
                </c:pt>
                <c:pt idx="370">
                  <c:v>105.15371845709358</c:v>
                </c:pt>
                <c:pt idx="371">
                  <c:v>105.16749849437473</c:v>
                </c:pt>
                <c:pt idx="372">
                  <c:v>106.37320232345083</c:v>
                </c:pt>
                <c:pt idx="373">
                  <c:v>106.41275674133003</c:v>
                </c:pt>
                <c:pt idx="374">
                  <c:v>106.41275674133003</c:v>
                </c:pt>
                <c:pt idx="375">
                  <c:v>106.41275674133003</c:v>
                </c:pt>
                <c:pt idx="376">
                  <c:v>106.33951989603074</c:v>
                </c:pt>
                <c:pt idx="377">
                  <c:v>106.36312516392518</c:v>
                </c:pt>
                <c:pt idx="378">
                  <c:v>106.18004533729327</c:v>
                </c:pt>
                <c:pt idx="379">
                  <c:v>106.64720712681238</c:v>
                </c:pt>
                <c:pt idx="380">
                  <c:v>107.2023577770973</c:v>
                </c:pt>
                <c:pt idx="381">
                  <c:v>107.2023577770973</c:v>
                </c:pt>
                <c:pt idx="382">
                  <c:v>107.2023577770973</c:v>
                </c:pt>
                <c:pt idx="383">
                  <c:v>106.98903001642934</c:v>
                </c:pt>
                <c:pt idx="384">
                  <c:v>106.90378081494735</c:v>
                </c:pt>
                <c:pt idx="385">
                  <c:v>107.4972619006694</c:v>
                </c:pt>
                <c:pt idx="386">
                  <c:v>107.31549354430305</c:v>
                </c:pt>
                <c:pt idx="387">
                  <c:v>107.33967772393468</c:v>
                </c:pt>
                <c:pt idx="388">
                  <c:v>107.33967772393468</c:v>
                </c:pt>
                <c:pt idx="389">
                  <c:v>107.33967772393468</c:v>
                </c:pt>
                <c:pt idx="390">
                  <c:v>107.27059567845623</c:v>
                </c:pt>
                <c:pt idx="391">
                  <c:v>107.27382749478167</c:v>
                </c:pt>
                <c:pt idx="392">
                  <c:v>106.82570601293901</c:v>
                </c:pt>
                <c:pt idx="393">
                  <c:v>107.17716589731846</c:v>
                </c:pt>
                <c:pt idx="394">
                  <c:v>107.05881092469365</c:v>
                </c:pt>
                <c:pt idx="395">
                  <c:v>107.05881092469365</c:v>
                </c:pt>
                <c:pt idx="396">
                  <c:v>107.06456852613341</c:v>
                </c:pt>
                <c:pt idx="397">
                  <c:v>107.55219072024533</c:v>
                </c:pt>
                <c:pt idx="398">
                  <c:v>107.59813410145667</c:v>
                </c:pt>
                <c:pt idx="399">
                  <c:v>107.69604117289437</c:v>
                </c:pt>
                <c:pt idx="400">
                  <c:v>107.53764689725121</c:v>
                </c:pt>
                <c:pt idx="401">
                  <c:v>107.8929369800927</c:v>
                </c:pt>
                <c:pt idx="402">
                  <c:v>107.8929369800927</c:v>
                </c:pt>
                <c:pt idx="403">
                  <c:v>107.8929369800927</c:v>
                </c:pt>
                <c:pt idx="404">
                  <c:v>107.88525171224514</c:v>
                </c:pt>
                <c:pt idx="405">
                  <c:v>107.40126150271391</c:v>
                </c:pt>
                <c:pt idx="406">
                  <c:v>106.93506216187754</c:v>
                </c:pt>
                <c:pt idx="407">
                  <c:v>107.36169103442401</c:v>
                </c:pt>
                <c:pt idx="408">
                  <c:v>106.95993870161625</c:v>
                </c:pt>
                <c:pt idx="409">
                  <c:v>106.95993870161625</c:v>
                </c:pt>
                <c:pt idx="410">
                  <c:v>106.95993870161625</c:v>
                </c:pt>
                <c:pt idx="411">
                  <c:v>107.17092717076348</c:v>
                </c:pt>
                <c:pt idx="412">
                  <c:v>107.72005889127171</c:v>
                </c:pt>
                <c:pt idx="413">
                  <c:v>107.61931420170592</c:v>
                </c:pt>
                <c:pt idx="414">
                  <c:v>107.60806402298108</c:v>
                </c:pt>
                <c:pt idx="415">
                  <c:v>107.381668202622</c:v>
                </c:pt>
                <c:pt idx="416">
                  <c:v>107.381668202622</c:v>
                </c:pt>
                <c:pt idx="417">
                  <c:v>107.381668202622</c:v>
                </c:pt>
                <c:pt idx="418">
                  <c:v>107.15096248979972</c:v>
                </c:pt>
                <c:pt idx="419">
                  <c:v>106.29054861878171</c:v>
                </c:pt>
                <c:pt idx="420">
                  <c:v>105.86057528891391</c:v>
                </c:pt>
                <c:pt idx="421">
                  <c:v>105.55178471217781</c:v>
                </c:pt>
                <c:pt idx="422">
                  <c:v>105.79000191741046</c:v>
                </c:pt>
                <c:pt idx="423">
                  <c:v>105.79000191741046</c:v>
                </c:pt>
                <c:pt idx="424">
                  <c:v>105.79000191741046</c:v>
                </c:pt>
                <c:pt idx="425">
                  <c:v>105.92859586496742</c:v>
                </c:pt>
                <c:pt idx="426">
                  <c:v>106.22224200856505</c:v>
                </c:pt>
                <c:pt idx="427">
                  <c:v>105.88695532566572</c:v>
                </c:pt>
                <c:pt idx="428">
                  <c:v>106.13839504039422</c:v>
                </c:pt>
                <c:pt idx="429">
                  <c:v>105.97587418923868</c:v>
                </c:pt>
                <c:pt idx="430">
                  <c:v>105.97587418923868</c:v>
                </c:pt>
                <c:pt idx="431">
                  <c:v>105.97587418923868</c:v>
                </c:pt>
                <c:pt idx="432">
                  <c:v>106.02651680605439</c:v>
                </c:pt>
                <c:pt idx="433">
                  <c:v>106.33009245910606</c:v>
                </c:pt>
                <c:pt idx="434">
                  <c:v>105.60284626057867</c:v>
                </c:pt>
                <c:pt idx="435">
                  <c:v>105.34753827443051</c:v>
                </c:pt>
                <c:pt idx="436">
                  <c:v>105.49611781925907</c:v>
                </c:pt>
                <c:pt idx="437">
                  <c:v>105.49611781925907</c:v>
                </c:pt>
                <c:pt idx="438">
                  <c:v>105.49611781925907</c:v>
                </c:pt>
                <c:pt idx="439">
                  <c:v>105.5203418905808</c:v>
                </c:pt>
                <c:pt idx="440">
                  <c:v>105.28254043558954</c:v>
                </c:pt>
                <c:pt idx="441">
                  <c:v>104.83118934174531</c:v>
                </c:pt>
                <c:pt idx="442">
                  <c:v>104.18875962890371</c:v>
                </c:pt>
                <c:pt idx="443">
                  <c:v>103.88889380353262</c:v>
                </c:pt>
                <c:pt idx="444">
                  <c:v>103.88889380353262</c:v>
                </c:pt>
                <c:pt idx="445">
                  <c:v>103.88889380353262</c:v>
                </c:pt>
                <c:pt idx="446">
                  <c:v>105.09746665348402</c:v>
                </c:pt>
                <c:pt idx="447">
                  <c:v>105.05711397669458</c:v>
                </c:pt>
                <c:pt idx="448">
                  <c:v>105.24606730659086</c:v>
                </c:pt>
                <c:pt idx="449">
                  <c:v>105.56448783083123</c:v>
                </c:pt>
                <c:pt idx="450">
                  <c:v>106.02174628981246</c:v>
                </c:pt>
                <c:pt idx="451">
                  <c:v>106.02174628981246</c:v>
                </c:pt>
                <c:pt idx="452">
                  <c:v>106.02174628981246</c:v>
                </c:pt>
                <c:pt idx="453">
                  <c:v>105.84376846429625</c:v>
                </c:pt>
                <c:pt idx="454">
                  <c:v>105.66965707399777</c:v>
                </c:pt>
                <c:pt idx="455">
                  <c:v>106.00209402649189</c:v>
                </c:pt>
                <c:pt idx="456">
                  <c:v>106.56512356590207</c:v>
                </c:pt>
                <c:pt idx="457">
                  <c:v>106.47091770551965</c:v>
                </c:pt>
                <c:pt idx="458">
                  <c:v>106.47091770551965</c:v>
                </c:pt>
                <c:pt idx="459">
                  <c:v>106.47091770551965</c:v>
                </c:pt>
                <c:pt idx="460">
                  <c:v>106.15437466304802</c:v>
                </c:pt>
                <c:pt idx="461">
                  <c:v>106.09981368171377</c:v>
                </c:pt>
                <c:pt idx="462">
                  <c:v>106.18931816889797</c:v>
                </c:pt>
                <c:pt idx="463">
                  <c:v>106.52383533423635</c:v>
                </c:pt>
                <c:pt idx="464">
                  <c:v>106.76305265161707</c:v>
                </c:pt>
                <c:pt idx="465">
                  <c:v>106.76305265161707</c:v>
                </c:pt>
                <c:pt idx="466">
                  <c:v>106.76305265161707</c:v>
                </c:pt>
                <c:pt idx="467">
                  <c:v>106.87402546752148</c:v>
                </c:pt>
                <c:pt idx="468">
                  <c:v>107.01266537101884</c:v>
                </c:pt>
                <c:pt idx="469">
                  <c:v>107.2003798829717</c:v>
                </c:pt>
                <c:pt idx="470">
                  <c:v>106.69609542427305</c:v>
                </c:pt>
                <c:pt idx="471">
                  <c:v>106.6463056700041</c:v>
                </c:pt>
                <c:pt idx="472">
                  <c:v>106.6463056700041</c:v>
                </c:pt>
                <c:pt idx="473">
                  <c:v>106.6463056700041</c:v>
                </c:pt>
                <c:pt idx="474">
                  <c:v>106.5979232698767</c:v>
                </c:pt>
                <c:pt idx="475">
                  <c:v>106.88814709556505</c:v>
                </c:pt>
                <c:pt idx="476">
                  <c:v>106.72750271877692</c:v>
                </c:pt>
                <c:pt idx="477">
                  <c:v>106.75750832369178</c:v>
                </c:pt>
                <c:pt idx="478">
                  <c:v>106.69632369538782</c:v>
                </c:pt>
                <c:pt idx="479">
                  <c:v>106.69632369538782</c:v>
                </c:pt>
                <c:pt idx="480">
                  <c:v>106.69632369538782</c:v>
                </c:pt>
                <c:pt idx="481">
                  <c:v>106.85201827851016</c:v>
                </c:pt>
                <c:pt idx="482">
                  <c:v>106.88727980783892</c:v>
                </c:pt>
                <c:pt idx="483">
                  <c:v>106.78122997917966</c:v>
                </c:pt>
                <c:pt idx="484">
                  <c:v>106.80140412492524</c:v>
                </c:pt>
                <c:pt idx="485">
                  <c:v>106.22109585469511</c:v>
                </c:pt>
                <c:pt idx="486">
                  <c:v>106.22109585469511</c:v>
                </c:pt>
                <c:pt idx="487">
                  <c:v>106.22109585469511</c:v>
                </c:pt>
                <c:pt idx="488">
                  <c:v>106.25168051970893</c:v>
                </c:pt>
                <c:pt idx="489">
                  <c:v>106.25370534735943</c:v>
                </c:pt>
                <c:pt idx="490">
                  <c:v>107.67356096772525</c:v>
                </c:pt>
                <c:pt idx="491">
                  <c:v>107.98562005142767</c:v>
                </c:pt>
                <c:pt idx="492">
                  <c:v>108.65326053081442</c:v>
                </c:pt>
                <c:pt idx="493">
                  <c:v>108.65326053081442</c:v>
                </c:pt>
                <c:pt idx="494">
                  <c:v>108.65326053081442</c:v>
                </c:pt>
                <c:pt idx="495">
                  <c:v>108.16778050862497</c:v>
                </c:pt>
                <c:pt idx="496">
                  <c:v>108.18992322128632</c:v>
                </c:pt>
                <c:pt idx="497">
                  <c:v>108.53930075642195</c:v>
                </c:pt>
                <c:pt idx="498">
                  <c:v>108.6605620463054</c:v>
                </c:pt>
                <c:pt idx="499">
                  <c:v>108.76450311069613</c:v>
                </c:pt>
                <c:pt idx="500">
                  <c:v>108.76450311069613</c:v>
                </c:pt>
                <c:pt idx="501">
                  <c:v>108.76450311069613</c:v>
                </c:pt>
                <c:pt idx="502">
                  <c:v>108.75779575605959</c:v>
                </c:pt>
                <c:pt idx="503">
                  <c:v>108.78532183212802</c:v>
                </c:pt>
                <c:pt idx="504">
                  <c:v>109.03316979149963</c:v>
                </c:pt>
                <c:pt idx="505">
                  <c:v>109.68451439818671</c:v>
                </c:pt>
                <c:pt idx="506">
                  <c:v>109.96281564422885</c:v>
                </c:pt>
                <c:pt idx="507">
                  <c:v>109.96281564422885</c:v>
                </c:pt>
                <c:pt idx="508">
                  <c:v>109.96281564422885</c:v>
                </c:pt>
                <c:pt idx="509">
                  <c:v>110.37439295975145</c:v>
                </c:pt>
                <c:pt idx="510">
                  <c:v>110.32367563921301</c:v>
                </c:pt>
                <c:pt idx="511">
                  <c:v>110.61310693383692</c:v>
                </c:pt>
                <c:pt idx="512">
                  <c:v>111.18994485119886</c:v>
                </c:pt>
                <c:pt idx="513">
                  <c:v>111.47103247583296</c:v>
                </c:pt>
                <c:pt idx="514">
                  <c:v>111.47103247583296</c:v>
                </c:pt>
                <c:pt idx="515">
                  <c:v>111.47103247583296</c:v>
                </c:pt>
                <c:pt idx="516">
                  <c:v>111.63815026016353</c:v>
                </c:pt>
                <c:pt idx="517">
                  <c:v>111.8354825243923</c:v>
                </c:pt>
                <c:pt idx="518">
                  <c:v>111.72543170131449</c:v>
                </c:pt>
                <c:pt idx="519">
                  <c:v>111.31717211439548</c:v>
                </c:pt>
                <c:pt idx="520">
                  <c:v>112.5828473594816</c:v>
                </c:pt>
                <c:pt idx="521">
                  <c:v>112.5828473594816</c:v>
                </c:pt>
                <c:pt idx="522">
                  <c:v>112.5828473594816</c:v>
                </c:pt>
                <c:pt idx="523">
                  <c:v>111.5664118783989</c:v>
                </c:pt>
                <c:pt idx="524">
                  <c:v>112.06546152547109</c:v>
                </c:pt>
                <c:pt idx="525">
                  <c:v>112.07288084176447</c:v>
                </c:pt>
                <c:pt idx="526">
                  <c:v>111.39515013040597</c:v>
                </c:pt>
                <c:pt idx="527">
                  <c:v>111.35405994619106</c:v>
                </c:pt>
                <c:pt idx="528">
                  <c:v>111.35405994619106</c:v>
                </c:pt>
                <c:pt idx="529">
                  <c:v>111.35405994619106</c:v>
                </c:pt>
                <c:pt idx="530">
                  <c:v>111.82750172010606</c:v>
                </c:pt>
                <c:pt idx="531">
                  <c:v>112.25290977400259</c:v>
                </c:pt>
                <c:pt idx="532">
                  <c:v>112.69781508940615</c:v>
                </c:pt>
                <c:pt idx="533">
                  <c:v>112.58212195797796</c:v>
                </c:pt>
                <c:pt idx="534">
                  <c:v>112.386080558694</c:v>
                </c:pt>
                <c:pt idx="535">
                  <c:v>112.386080558694</c:v>
                </c:pt>
                <c:pt idx="536">
                  <c:v>112.386080558694</c:v>
                </c:pt>
                <c:pt idx="537">
                  <c:v>112.41791270224259</c:v>
                </c:pt>
                <c:pt idx="538">
                  <c:v>113.25628269767655</c:v>
                </c:pt>
                <c:pt idx="539">
                  <c:v>113.75243582091855</c:v>
                </c:pt>
                <c:pt idx="540">
                  <c:v>112.76643619111168</c:v>
                </c:pt>
                <c:pt idx="541">
                  <c:v>113.31675015722954</c:v>
                </c:pt>
                <c:pt idx="542">
                  <c:v>113.31675015722954</c:v>
                </c:pt>
                <c:pt idx="543">
                  <c:v>113.31675015722954</c:v>
                </c:pt>
                <c:pt idx="544">
                  <c:v>113.91732542024359</c:v>
                </c:pt>
                <c:pt idx="545">
                  <c:v>113.32214908866392</c:v>
                </c:pt>
                <c:pt idx="546">
                  <c:v>113.90852049717672</c:v>
                </c:pt>
                <c:pt idx="547">
                  <c:v>114.104922718694</c:v>
                </c:pt>
                <c:pt idx="548">
                  <c:v>114.72976647868605</c:v>
                </c:pt>
                <c:pt idx="549">
                  <c:v>114.72976647868605</c:v>
                </c:pt>
                <c:pt idx="550">
                  <c:v>114.72976647868605</c:v>
                </c:pt>
                <c:pt idx="551">
                  <c:v>114.68391320160694</c:v>
                </c:pt>
                <c:pt idx="552">
                  <c:v>115.50458337128764</c:v>
                </c:pt>
                <c:pt idx="553">
                  <c:v>115.99817990708672</c:v>
                </c:pt>
                <c:pt idx="554">
                  <c:v>116.1192286129475</c:v>
                </c:pt>
                <c:pt idx="555">
                  <c:v>116.73781145470029</c:v>
                </c:pt>
                <c:pt idx="556">
                  <c:v>116.73781145470029</c:v>
                </c:pt>
                <c:pt idx="557">
                  <c:v>116.73781145470029</c:v>
                </c:pt>
                <c:pt idx="558">
                  <c:v>117.0268990564866</c:v>
                </c:pt>
                <c:pt idx="559">
                  <c:v>117.24112944581728</c:v>
                </c:pt>
                <c:pt idx="560">
                  <c:v>117.0429125530851</c:v>
                </c:pt>
                <c:pt idx="561">
                  <c:v>117.08552570054752</c:v>
                </c:pt>
                <c:pt idx="562">
                  <c:v>116.8802760502267</c:v>
                </c:pt>
                <c:pt idx="563">
                  <c:v>116.8802760502267</c:v>
                </c:pt>
                <c:pt idx="564">
                  <c:v>116.8802760502267</c:v>
                </c:pt>
                <c:pt idx="565">
                  <c:v>116.63815598702257</c:v>
                </c:pt>
                <c:pt idx="566">
                  <c:v>116.72160821987671</c:v>
                </c:pt>
                <c:pt idx="567">
                  <c:v>117.059254815465</c:v>
                </c:pt>
                <c:pt idx="568">
                  <c:v>116.54739119323261</c:v>
                </c:pt>
                <c:pt idx="569">
                  <c:v>116.40016200202342</c:v>
                </c:pt>
                <c:pt idx="570">
                  <c:v>116.40016200202342</c:v>
                </c:pt>
                <c:pt idx="571">
                  <c:v>116.40016200202342</c:v>
                </c:pt>
                <c:pt idx="572">
                  <c:v>116.3706677723743</c:v>
                </c:pt>
                <c:pt idx="573">
                  <c:v>116.81450323003011</c:v>
                </c:pt>
                <c:pt idx="574">
                  <c:v>116.96387443761272</c:v>
                </c:pt>
                <c:pt idx="575">
                  <c:v>117.24586158981948</c:v>
                </c:pt>
                <c:pt idx="576">
                  <c:v>117.25465116032528</c:v>
                </c:pt>
                <c:pt idx="577">
                  <c:v>117.25465116032528</c:v>
                </c:pt>
                <c:pt idx="578">
                  <c:v>117.25465116032528</c:v>
                </c:pt>
                <c:pt idx="579">
                  <c:v>116.94873714065648</c:v>
                </c:pt>
                <c:pt idx="580">
                  <c:v>117.82587828098482</c:v>
                </c:pt>
                <c:pt idx="581">
                  <c:v>117.3500078368187</c:v>
                </c:pt>
                <c:pt idx="582">
                  <c:v>116.69296907416562</c:v>
                </c:pt>
                <c:pt idx="583">
                  <c:v>115.68183488281223</c:v>
                </c:pt>
                <c:pt idx="584">
                  <c:v>115.68183488281223</c:v>
                </c:pt>
                <c:pt idx="585">
                  <c:v>115.68183488281223</c:v>
                </c:pt>
                <c:pt idx="586">
                  <c:v>116.44996596825281</c:v>
                </c:pt>
                <c:pt idx="587">
                  <c:v>116.81986594303694</c:v>
                </c:pt>
                <c:pt idx="588">
                  <c:v>117.3794017347701</c:v>
                </c:pt>
                <c:pt idx="589">
                  <c:v>117.51990572377832</c:v>
                </c:pt>
                <c:pt idx="590">
                  <c:v>116.93839040046259</c:v>
                </c:pt>
                <c:pt idx="591">
                  <c:v>116.93839040046259</c:v>
                </c:pt>
                <c:pt idx="592">
                  <c:v>116.93839040046259</c:v>
                </c:pt>
                <c:pt idx="593">
                  <c:v>116.52154514855286</c:v>
                </c:pt>
                <c:pt idx="594">
                  <c:v>116.26247121498248</c:v>
                </c:pt>
                <c:pt idx="595">
                  <c:v>115.46145423730972</c:v>
                </c:pt>
                <c:pt idx="596">
                  <c:v>115.29482168673033</c:v>
                </c:pt>
                <c:pt idx="597">
                  <c:v>115.69475451948011</c:v>
                </c:pt>
                <c:pt idx="598">
                  <c:v>115.69475451948011</c:v>
                </c:pt>
                <c:pt idx="599">
                  <c:v>115.69475451948011</c:v>
                </c:pt>
                <c:pt idx="600">
                  <c:v>115.90093167721101</c:v>
                </c:pt>
                <c:pt idx="601">
                  <c:v>116.92024393205917</c:v>
                </c:pt>
                <c:pt idx="602">
                  <c:v>117.62444981430006</c:v>
                </c:pt>
                <c:pt idx="603">
                  <c:v>117.57924936126166</c:v>
                </c:pt>
                <c:pt idx="604">
                  <c:v>117.49880444899274</c:v>
                </c:pt>
                <c:pt idx="605">
                  <c:v>117.49880444899274</c:v>
                </c:pt>
                <c:pt idx="606">
                  <c:v>117.49880444899274</c:v>
                </c:pt>
                <c:pt idx="607">
                  <c:v>118.13673542054146</c:v>
                </c:pt>
                <c:pt idx="608">
                  <c:v>117.98226502332192</c:v>
                </c:pt>
                <c:pt idx="609">
                  <c:v>117.78659393800476</c:v>
                </c:pt>
                <c:pt idx="610">
                  <c:v>118.06241340336892</c:v>
                </c:pt>
                <c:pt idx="611">
                  <c:v>118.45748842000108</c:v>
                </c:pt>
                <c:pt idx="612">
                  <c:v>118.45748842000108</c:v>
                </c:pt>
                <c:pt idx="613">
                  <c:v>118.45748842000108</c:v>
                </c:pt>
                <c:pt idx="614">
                  <c:v>118.4227617188396</c:v>
                </c:pt>
                <c:pt idx="615">
                  <c:v>118.86747711990442</c:v>
                </c:pt>
                <c:pt idx="616">
                  <c:v>119.62740658883135</c:v>
                </c:pt>
                <c:pt idx="617">
                  <c:v>119.72826951556569</c:v>
                </c:pt>
                <c:pt idx="618">
                  <c:v>120.16913851694042</c:v>
                </c:pt>
                <c:pt idx="619">
                  <c:v>120.16913851694042</c:v>
                </c:pt>
                <c:pt idx="620">
                  <c:v>120.16913851694042</c:v>
                </c:pt>
                <c:pt idx="621">
                  <c:v>120.09336986828087</c:v>
                </c:pt>
                <c:pt idx="622">
                  <c:v>120.96115711316013</c:v>
                </c:pt>
                <c:pt idx="623">
                  <c:v>121.12042449143019</c:v>
                </c:pt>
                <c:pt idx="624">
                  <c:v>120.72439894106122</c:v>
                </c:pt>
                <c:pt idx="625">
                  <c:v>121.15829894595319</c:v>
                </c:pt>
                <c:pt idx="626">
                  <c:v>121.15829894595319</c:v>
                </c:pt>
                <c:pt idx="627">
                  <c:v>121.15829894595319</c:v>
                </c:pt>
                <c:pt idx="628">
                  <c:v>121.489611863471</c:v>
                </c:pt>
                <c:pt idx="629">
                  <c:v>122.23109583976273</c:v>
                </c:pt>
                <c:pt idx="630">
                  <c:v>122.43276469254967</c:v>
                </c:pt>
                <c:pt idx="631">
                  <c:v>120.99077019978105</c:v>
                </c:pt>
                <c:pt idx="632">
                  <c:v>120.97149682985315</c:v>
                </c:pt>
                <c:pt idx="633">
                  <c:v>120.97149682985315</c:v>
                </c:pt>
                <c:pt idx="634">
                  <c:v>120.97149682985315</c:v>
                </c:pt>
                <c:pt idx="635">
                  <c:v>121.07186181206717</c:v>
                </c:pt>
                <c:pt idx="636">
                  <c:v>121.7942425601242</c:v>
                </c:pt>
                <c:pt idx="637">
                  <c:v>120.53395300715026</c:v>
                </c:pt>
                <c:pt idx="638">
                  <c:v>120.48933648454681</c:v>
                </c:pt>
                <c:pt idx="639">
                  <c:v>119.84385884293867</c:v>
                </c:pt>
                <c:pt idx="640">
                  <c:v>119.84385884293867</c:v>
                </c:pt>
                <c:pt idx="641">
                  <c:v>119.84385884293867</c:v>
                </c:pt>
                <c:pt idx="642">
                  <c:v>118.99355108474639</c:v>
                </c:pt>
                <c:pt idx="643">
                  <c:v>118.80261607936488</c:v>
                </c:pt>
                <c:pt idx="644">
                  <c:v>117.24876316132514</c:v>
                </c:pt>
                <c:pt idx="645">
                  <c:v>116.49619939550138</c:v>
                </c:pt>
                <c:pt idx="646">
                  <c:v>116.99758419608381</c:v>
                </c:pt>
                <c:pt idx="647">
                  <c:v>116.99758419608381</c:v>
                </c:pt>
                <c:pt idx="648">
                  <c:v>116.99758419608381</c:v>
                </c:pt>
                <c:pt idx="649">
                  <c:v>117.26869953900663</c:v>
                </c:pt>
                <c:pt idx="650">
                  <c:v>116.32011033125552</c:v>
                </c:pt>
                <c:pt idx="651">
                  <c:v>116.05493174654592</c:v>
                </c:pt>
                <c:pt idx="652">
                  <c:v>115.85952131902791</c:v>
                </c:pt>
                <c:pt idx="653">
                  <c:v>115.95333043307758</c:v>
                </c:pt>
                <c:pt idx="654">
                  <c:v>115.95333043307758</c:v>
                </c:pt>
                <c:pt idx="655">
                  <c:v>115.95333043307758</c:v>
                </c:pt>
                <c:pt idx="656">
                  <c:v>116.48744688519946</c:v>
                </c:pt>
                <c:pt idx="657">
                  <c:v>116.87405257625129</c:v>
                </c:pt>
                <c:pt idx="658">
                  <c:v>116.36413480145598</c:v>
                </c:pt>
                <c:pt idx="659">
                  <c:v>113.77177856272972</c:v>
                </c:pt>
                <c:pt idx="660">
                  <c:v>113.44467389104291</c:v>
                </c:pt>
                <c:pt idx="661">
                  <c:v>113.44467389104291</c:v>
                </c:pt>
                <c:pt idx="662">
                  <c:v>113.44467389104291</c:v>
                </c:pt>
                <c:pt idx="663">
                  <c:v>111.92586207607137</c:v>
                </c:pt>
                <c:pt idx="664">
                  <c:v>112.41897160810268</c:v>
                </c:pt>
                <c:pt idx="665">
                  <c:v>113.46874063949296</c:v>
                </c:pt>
                <c:pt idx="666">
                  <c:v>114.98426692456466</c:v>
                </c:pt>
                <c:pt idx="667">
                  <c:v>115.09448244898708</c:v>
                </c:pt>
                <c:pt idx="668">
                  <c:v>115.09448244898708</c:v>
                </c:pt>
                <c:pt idx="669">
                  <c:v>115.09970362961724</c:v>
                </c:pt>
                <c:pt idx="670">
                  <c:v>115.8127966267031</c:v>
                </c:pt>
                <c:pt idx="671">
                  <c:v>116.05177757173922</c:v>
                </c:pt>
                <c:pt idx="672">
                  <c:v>115.29297813036462</c:v>
                </c:pt>
                <c:pt idx="673">
                  <c:v>117.22622081814367</c:v>
                </c:pt>
                <c:pt idx="674">
                  <c:v>117.06508355407183</c:v>
                </c:pt>
                <c:pt idx="675">
                  <c:v>117.06508355407183</c:v>
                </c:pt>
                <c:pt idx="676">
                  <c:v>117.06508355407183</c:v>
                </c:pt>
                <c:pt idx="677">
                  <c:v>117.45619530572905</c:v>
                </c:pt>
                <c:pt idx="678">
                  <c:v>118.4593460332364</c:v>
                </c:pt>
                <c:pt idx="679">
                  <c:v>118.55766113055799</c:v>
                </c:pt>
                <c:pt idx="680">
                  <c:v>119.23367185191229</c:v>
                </c:pt>
                <c:pt idx="681">
                  <c:v>119.43189445705318</c:v>
                </c:pt>
                <c:pt idx="682">
                  <c:v>119.43189445705318</c:v>
                </c:pt>
                <c:pt idx="683">
                  <c:v>119.43189445705318</c:v>
                </c:pt>
                <c:pt idx="684">
                  <c:v>119.77730723694665</c:v>
                </c:pt>
                <c:pt idx="685">
                  <c:v>119.66338163807703</c:v>
                </c:pt>
                <c:pt idx="686">
                  <c:v>119.5647876513034</c:v>
                </c:pt>
                <c:pt idx="687">
                  <c:v>119.84590059636147</c:v>
                </c:pt>
                <c:pt idx="688">
                  <c:v>119.62147227319198</c:v>
                </c:pt>
                <c:pt idx="689">
                  <c:v>119.62147227319198</c:v>
                </c:pt>
                <c:pt idx="690">
                  <c:v>119.62147227319198</c:v>
                </c:pt>
                <c:pt idx="691">
                  <c:v>119.80771828813251</c:v>
                </c:pt>
                <c:pt idx="692">
                  <c:v>119.7082973866499</c:v>
                </c:pt>
                <c:pt idx="693">
                  <c:v>119.72426395964703</c:v>
                </c:pt>
                <c:pt idx="694">
                  <c:v>119.56995357072833</c:v>
                </c:pt>
                <c:pt idx="695">
                  <c:v>119.34999720388386</c:v>
                </c:pt>
                <c:pt idx="696">
                  <c:v>119.34999720388386</c:v>
                </c:pt>
                <c:pt idx="697">
                  <c:v>119.34999720388386</c:v>
                </c:pt>
                <c:pt idx="698">
                  <c:v>119.14237278597305</c:v>
                </c:pt>
                <c:pt idx="699">
                  <c:v>119.62458171453345</c:v>
                </c:pt>
                <c:pt idx="700">
                  <c:v>120.12469165757329</c:v>
                </c:pt>
                <c:pt idx="701">
                  <c:v>120.61284528609217</c:v>
                </c:pt>
                <c:pt idx="702">
                  <c:v>120.4145638714518</c:v>
                </c:pt>
                <c:pt idx="703">
                  <c:v>120.4145638714518</c:v>
                </c:pt>
                <c:pt idx="704">
                  <c:v>120.4145638714518</c:v>
                </c:pt>
                <c:pt idx="705">
                  <c:v>120.13441370503746</c:v>
                </c:pt>
                <c:pt idx="706">
                  <c:v>119.70783486663025</c:v>
                </c:pt>
                <c:pt idx="707">
                  <c:v>118.72040132799722</c:v>
                </c:pt>
                <c:pt idx="708">
                  <c:v>119.05721357594909</c:v>
                </c:pt>
                <c:pt idx="709">
                  <c:v>119.49362247126022</c:v>
                </c:pt>
                <c:pt idx="710">
                  <c:v>119.49362247126022</c:v>
                </c:pt>
                <c:pt idx="711">
                  <c:v>119.49362247126022</c:v>
                </c:pt>
                <c:pt idx="712">
                  <c:v>119.56152744668411</c:v>
                </c:pt>
                <c:pt idx="713">
                  <c:v>119.69060919227141</c:v>
                </c:pt>
                <c:pt idx="714">
                  <c:v>119.64486996457632</c:v>
                </c:pt>
                <c:pt idx="715">
                  <c:v>118.45897214778837</c:v>
                </c:pt>
                <c:pt idx="716">
                  <c:v>118.40764094922012</c:v>
                </c:pt>
                <c:pt idx="717">
                  <c:v>118.40764094922012</c:v>
                </c:pt>
                <c:pt idx="718">
                  <c:v>118.40764094922012</c:v>
                </c:pt>
                <c:pt idx="719">
                  <c:v>117.94459529439672</c:v>
                </c:pt>
                <c:pt idx="720">
                  <c:v>117.81300462737136</c:v>
                </c:pt>
                <c:pt idx="721">
                  <c:v>117.11941468127385</c:v>
                </c:pt>
                <c:pt idx="722">
                  <c:v>118.03813005532042</c:v>
                </c:pt>
                <c:pt idx="723">
                  <c:v>118.80188550652605</c:v>
                </c:pt>
                <c:pt idx="724">
                  <c:v>118.80188550652605</c:v>
                </c:pt>
                <c:pt idx="725">
                  <c:v>118.80188550652605</c:v>
                </c:pt>
                <c:pt idx="726">
                  <c:v>118.96349872069182</c:v>
                </c:pt>
                <c:pt idx="727">
                  <c:v>118.30438007605323</c:v>
                </c:pt>
                <c:pt idx="728">
                  <c:v>117.74903151444693</c:v>
                </c:pt>
                <c:pt idx="729">
                  <c:v>118.13422584054935</c:v>
                </c:pt>
                <c:pt idx="730">
                  <c:v>117.60157324125147</c:v>
                </c:pt>
                <c:pt idx="731">
                  <c:v>117.60329745671756</c:v>
                </c:pt>
                <c:pt idx="732">
                  <c:v>117.60329745671756</c:v>
                </c:pt>
                <c:pt idx="733">
                  <c:v>118.08442301330648</c:v>
                </c:pt>
                <c:pt idx="734">
                  <c:v>117.8835406269024</c:v>
                </c:pt>
                <c:pt idx="735">
                  <c:v>117.85958816499127</c:v>
                </c:pt>
                <c:pt idx="736">
                  <c:v>117.78448614965912</c:v>
                </c:pt>
                <c:pt idx="737">
                  <c:v>117.86954853902273</c:v>
                </c:pt>
                <c:pt idx="738">
                  <c:v>117.86954853902273</c:v>
                </c:pt>
                <c:pt idx="739">
                  <c:v>117.86954853902273</c:v>
                </c:pt>
                <c:pt idx="740">
                  <c:v>117.85512583247221</c:v>
                </c:pt>
                <c:pt idx="741">
                  <c:v>118.19715107175837</c:v>
                </c:pt>
                <c:pt idx="742">
                  <c:v>118.22469839528003</c:v>
                </c:pt>
                <c:pt idx="743">
                  <c:v>117.96451684445042</c:v>
                </c:pt>
                <c:pt idx="744">
                  <c:v>117.71872580020654</c:v>
                </c:pt>
                <c:pt idx="745">
                  <c:v>117.71872580020654</c:v>
                </c:pt>
                <c:pt idx="746">
                  <c:v>117.71872580020654</c:v>
                </c:pt>
                <c:pt idx="747">
                  <c:v>118.15890919493548</c:v>
                </c:pt>
                <c:pt idx="748">
                  <c:v>117.98406499059297</c:v>
                </c:pt>
                <c:pt idx="749">
                  <c:v>118.17688535694096</c:v>
                </c:pt>
                <c:pt idx="750">
                  <c:v>118.99982297940453</c:v>
                </c:pt>
                <c:pt idx="751">
                  <c:v>118.70041698529198</c:v>
                </c:pt>
                <c:pt idx="752">
                  <c:v>118.70041698529198</c:v>
                </c:pt>
                <c:pt idx="753">
                  <c:v>118.70041698529198</c:v>
                </c:pt>
                <c:pt idx="754">
                  <c:v>118.09763046237001</c:v>
                </c:pt>
                <c:pt idx="755">
                  <c:v>118.36326439203062</c:v>
                </c:pt>
                <c:pt idx="756">
                  <c:v>117.95366959392526</c:v>
                </c:pt>
                <c:pt idx="757">
                  <c:v>118.26461893975508</c:v>
                </c:pt>
                <c:pt idx="758">
                  <c:v>117.7534964050672</c:v>
                </c:pt>
                <c:pt idx="759">
                  <c:v>117.7534964050672</c:v>
                </c:pt>
                <c:pt idx="760">
                  <c:v>117.7534964050672</c:v>
                </c:pt>
                <c:pt idx="761">
                  <c:v>117.07701811168161</c:v>
                </c:pt>
                <c:pt idx="762">
                  <c:v>117.11280450525352</c:v>
                </c:pt>
                <c:pt idx="763">
                  <c:v>116.79146299072276</c:v>
                </c:pt>
                <c:pt idx="764">
                  <c:v>117.01754906101569</c:v>
                </c:pt>
                <c:pt idx="765">
                  <c:v>117.22302909214915</c:v>
                </c:pt>
                <c:pt idx="766">
                  <c:v>117.22302909214915</c:v>
                </c:pt>
                <c:pt idx="767">
                  <c:v>117.22302909214915</c:v>
                </c:pt>
                <c:pt idx="768">
                  <c:v>116.84063702117794</c:v>
                </c:pt>
                <c:pt idx="769">
                  <c:v>115.9628968562933</c:v>
                </c:pt>
                <c:pt idx="770">
                  <c:v>116.00560585205</c:v>
                </c:pt>
                <c:pt idx="771">
                  <c:v>116.80892297952714</c:v>
                </c:pt>
                <c:pt idx="772">
                  <c:v>117.4007846811684</c:v>
                </c:pt>
                <c:pt idx="773">
                  <c:v>117.4007846811684</c:v>
                </c:pt>
                <c:pt idx="774">
                  <c:v>117.4007846811684</c:v>
                </c:pt>
                <c:pt idx="775">
                  <c:v>117.51550764787163</c:v>
                </c:pt>
                <c:pt idx="776">
                  <c:v>117.72671695359345</c:v>
                </c:pt>
                <c:pt idx="777">
                  <c:v>118.26279795586493</c:v>
                </c:pt>
                <c:pt idx="778">
                  <c:v>118.42175212063771</c:v>
                </c:pt>
                <c:pt idx="779">
                  <c:v>118.90029960782995</c:v>
                </c:pt>
                <c:pt idx="780">
                  <c:v>118.90029960782995</c:v>
                </c:pt>
                <c:pt idx="781">
                  <c:v>118.90029960782995</c:v>
                </c:pt>
                <c:pt idx="782">
                  <c:v>119.29759646948811</c:v>
                </c:pt>
                <c:pt idx="783">
                  <c:v>119.81767815881994</c:v>
                </c:pt>
                <c:pt idx="784">
                  <c:v>119.76470441487945</c:v>
                </c:pt>
                <c:pt idx="785">
                  <c:v>120.18796746762263</c:v>
                </c:pt>
                <c:pt idx="786">
                  <c:v>120.36704255134875</c:v>
                </c:pt>
                <c:pt idx="787">
                  <c:v>120.36704255134875</c:v>
                </c:pt>
                <c:pt idx="788">
                  <c:v>120.36704255134875</c:v>
                </c:pt>
                <c:pt idx="789">
                  <c:v>120.68688103832029</c:v>
                </c:pt>
                <c:pt idx="790">
                  <c:v>121.25733533953056</c:v>
                </c:pt>
                <c:pt idx="791">
                  <c:v>121.32706046573135</c:v>
                </c:pt>
                <c:pt idx="792">
                  <c:v>120.52931787539011</c:v>
                </c:pt>
                <c:pt idx="793">
                  <c:v>120.53593389838933</c:v>
                </c:pt>
                <c:pt idx="794">
                  <c:v>120.53593389838933</c:v>
                </c:pt>
                <c:pt idx="795">
                  <c:v>120.53593389838933</c:v>
                </c:pt>
                <c:pt idx="796">
                  <c:v>120.85486756786929</c:v>
                </c:pt>
                <c:pt idx="797">
                  <c:v>120.19615536348267</c:v>
                </c:pt>
                <c:pt idx="798">
                  <c:v>120.57724842826582</c:v>
                </c:pt>
                <c:pt idx="799">
                  <c:v>120.06756216531579</c:v>
                </c:pt>
                <c:pt idx="800">
                  <c:v>120.03354000100197</c:v>
                </c:pt>
                <c:pt idx="801">
                  <c:v>120.03354000100197</c:v>
                </c:pt>
                <c:pt idx="802">
                  <c:v>120.03354000100197</c:v>
                </c:pt>
                <c:pt idx="803">
                  <c:v>120.36474366256166</c:v>
                </c:pt>
                <c:pt idx="804">
                  <c:v>120.45104485878292</c:v>
                </c:pt>
                <c:pt idx="805">
                  <c:v>119.95475604371508</c:v>
                </c:pt>
                <c:pt idx="806">
                  <c:v>120.05890256223356</c:v>
                </c:pt>
                <c:pt idx="807">
                  <c:v>120.418981277844</c:v>
                </c:pt>
                <c:pt idx="808">
                  <c:v>120.418981277844</c:v>
                </c:pt>
                <c:pt idx="809">
                  <c:v>120.418981277844</c:v>
                </c:pt>
                <c:pt idx="810">
                  <c:v>120.53356303329767</c:v>
                </c:pt>
                <c:pt idx="811">
                  <c:v>120.29651922113827</c:v>
                </c:pt>
                <c:pt idx="812">
                  <c:v>119.71651797446989</c:v>
                </c:pt>
                <c:pt idx="813">
                  <c:v>119.68501611710799</c:v>
                </c:pt>
                <c:pt idx="814">
                  <c:v>119.67626053581695</c:v>
                </c:pt>
                <c:pt idx="815">
                  <c:v>119.67626053581695</c:v>
                </c:pt>
                <c:pt idx="816">
                  <c:v>119.67626053581695</c:v>
                </c:pt>
                <c:pt idx="817">
                  <c:v>119.86197518613227</c:v>
                </c:pt>
                <c:pt idx="818">
                  <c:v>119.41465397450027</c:v>
                </c:pt>
                <c:pt idx="819">
                  <c:v>119.23908989344636</c:v>
                </c:pt>
                <c:pt idx="820">
                  <c:v>119.10929113283886</c:v>
                </c:pt>
                <c:pt idx="821">
                  <c:v>119.08223409951212</c:v>
                </c:pt>
                <c:pt idx="822">
                  <c:v>119.08494713814338</c:v>
                </c:pt>
                <c:pt idx="823">
                  <c:v>119.08494713814338</c:v>
                </c:pt>
                <c:pt idx="824">
                  <c:v>118.59060503996203</c:v>
                </c:pt>
                <c:pt idx="825">
                  <c:v>117.54256626027041</c:v>
                </c:pt>
                <c:pt idx="826">
                  <c:v>117.21212072442397</c:v>
                </c:pt>
                <c:pt idx="827">
                  <c:v>117.17615397419786</c:v>
                </c:pt>
                <c:pt idx="828">
                  <c:v>117.65379889629057</c:v>
                </c:pt>
                <c:pt idx="829">
                  <c:v>117.65379889629057</c:v>
                </c:pt>
                <c:pt idx="830">
                  <c:v>117.65379889629057</c:v>
                </c:pt>
                <c:pt idx="831">
                  <c:v>117.91347127811203</c:v>
                </c:pt>
                <c:pt idx="832">
                  <c:v>117.53655152842461</c:v>
                </c:pt>
                <c:pt idx="833">
                  <c:v>117.38115371504722</c:v>
                </c:pt>
                <c:pt idx="834">
                  <c:v>116.633615406</c:v>
                </c:pt>
                <c:pt idx="835">
                  <c:v>116.73516410778721</c:v>
                </c:pt>
                <c:pt idx="836">
                  <c:v>116.73516410778721</c:v>
                </c:pt>
                <c:pt idx="837">
                  <c:v>116.73516410778721</c:v>
                </c:pt>
                <c:pt idx="838">
                  <c:v>117.53625601962747</c:v>
                </c:pt>
                <c:pt idx="839">
                  <c:v>117.45170894667189</c:v>
                </c:pt>
                <c:pt idx="840">
                  <c:v>117.40933555302523</c:v>
                </c:pt>
                <c:pt idx="841">
                  <c:v>118.12873136420957</c:v>
                </c:pt>
                <c:pt idx="842">
                  <c:v>118.64290226046484</c:v>
                </c:pt>
                <c:pt idx="843">
                  <c:v>118.64290226046484</c:v>
                </c:pt>
                <c:pt idx="844">
                  <c:v>118.64290226046484</c:v>
                </c:pt>
                <c:pt idx="845">
                  <c:v>119.31526648912342</c:v>
                </c:pt>
                <c:pt idx="846">
                  <c:v>119.32815762073459</c:v>
                </c:pt>
                <c:pt idx="847">
                  <c:v>119.33048490165831</c:v>
                </c:pt>
                <c:pt idx="848">
                  <c:v>119.27249667017705</c:v>
                </c:pt>
                <c:pt idx="849">
                  <c:v>119.94136675297743</c:v>
                </c:pt>
                <c:pt idx="850">
                  <c:v>119.94136675297743</c:v>
                </c:pt>
                <c:pt idx="851">
                  <c:v>119.94136675297743</c:v>
                </c:pt>
                <c:pt idx="852">
                  <c:v>119.7764082967948</c:v>
                </c:pt>
                <c:pt idx="853">
                  <c:v>119.8661882966599</c:v>
                </c:pt>
                <c:pt idx="854">
                  <c:v>119.86835002343274</c:v>
                </c:pt>
                <c:pt idx="855">
                  <c:v>119.72047192817782</c:v>
                </c:pt>
                <c:pt idx="856">
                  <c:v>119.8870816412595</c:v>
                </c:pt>
                <c:pt idx="857">
                  <c:v>119.8870816412595</c:v>
                </c:pt>
                <c:pt idx="858">
                  <c:v>119.8870816412595</c:v>
                </c:pt>
                <c:pt idx="859">
                  <c:v>119.86663402430987</c:v>
                </c:pt>
                <c:pt idx="860">
                  <c:v>120.15309370363386</c:v>
                </c:pt>
                <c:pt idx="861">
                  <c:v>119.69535190548626</c:v>
                </c:pt>
                <c:pt idx="862">
                  <c:v>119.4038792643979</c:v>
                </c:pt>
                <c:pt idx="863">
                  <c:v>119.9641381466224</c:v>
                </c:pt>
                <c:pt idx="864">
                  <c:v>119.9641381466224</c:v>
                </c:pt>
                <c:pt idx="865">
                  <c:v>119.9641381466224</c:v>
                </c:pt>
                <c:pt idx="866">
                  <c:v>120.14967511455087</c:v>
                </c:pt>
                <c:pt idx="867">
                  <c:v>120.09603013491723</c:v>
                </c:pt>
                <c:pt idx="868">
                  <c:v>120.87475328269478</c:v>
                </c:pt>
                <c:pt idx="869">
                  <c:v>121.0093933495811</c:v>
                </c:pt>
                <c:pt idx="870">
                  <c:v>120.90462387665472</c:v>
                </c:pt>
                <c:pt idx="871">
                  <c:v>120.90462387665472</c:v>
                </c:pt>
                <c:pt idx="872">
                  <c:v>120.90462387665472</c:v>
                </c:pt>
                <c:pt idx="873">
                  <c:v>121.13863428045903</c:v>
                </c:pt>
                <c:pt idx="874">
                  <c:v>121.04089204704306</c:v>
                </c:pt>
                <c:pt idx="875">
                  <c:v>120.58847948990945</c:v>
                </c:pt>
                <c:pt idx="876">
                  <c:v>119.96763151208285</c:v>
                </c:pt>
                <c:pt idx="877">
                  <c:v>119.05669257267951</c:v>
                </c:pt>
                <c:pt idx="878">
                  <c:v>119.05669257267951</c:v>
                </c:pt>
                <c:pt idx="879">
                  <c:v>119.05669257267951</c:v>
                </c:pt>
                <c:pt idx="880">
                  <c:v>117.76843784484643</c:v>
                </c:pt>
                <c:pt idx="881">
                  <c:v>117.98822811469509</c:v>
                </c:pt>
                <c:pt idx="882">
                  <c:v>117.76948657650875</c:v>
                </c:pt>
                <c:pt idx="883">
                  <c:v>117.93141012833082</c:v>
                </c:pt>
                <c:pt idx="884">
                  <c:v>117.53952527896105</c:v>
                </c:pt>
                <c:pt idx="885">
                  <c:v>117.53952527896105</c:v>
                </c:pt>
                <c:pt idx="886">
                  <c:v>117.53952527896105</c:v>
                </c:pt>
                <c:pt idx="887">
                  <c:v>117.13722521411877</c:v>
                </c:pt>
                <c:pt idx="888">
                  <c:v>116.84245615739906</c:v>
                </c:pt>
                <c:pt idx="889">
                  <c:v>116.97939196400488</c:v>
                </c:pt>
                <c:pt idx="890">
                  <c:v>117.78515303461647</c:v>
                </c:pt>
                <c:pt idx="891">
                  <c:v>118.20181716542334</c:v>
                </c:pt>
                <c:pt idx="892">
                  <c:v>118.20181716542334</c:v>
                </c:pt>
                <c:pt idx="893">
                  <c:v>118.20181716542334</c:v>
                </c:pt>
                <c:pt idx="894">
                  <c:v>118.58318062420152</c:v>
                </c:pt>
                <c:pt idx="895">
                  <c:v>119.30817084525643</c:v>
                </c:pt>
                <c:pt idx="896">
                  <c:v>119.07501749346993</c:v>
                </c:pt>
                <c:pt idx="897">
                  <c:v>119.22282169280403</c:v>
                </c:pt>
                <c:pt idx="898">
                  <c:v>119.28620135553112</c:v>
                </c:pt>
                <c:pt idx="899">
                  <c:v>119.28620135553112</c:v>
                </c:pt>
                <c:pt idx="900">
                  <c:v>119.28620135553112</c:v>
                </c:pt>
                <c:pt idx="901">
                  <c:v>119.8416838189647</c:v>
                </c:pt>
                <c:pt idx="902">
                  <c:v>120.33482267665586</c:v>
                </c:pt>
                <c:pt idx="903">
                  <c:v>120.14704430131987</c:v>
                </c:pt>
                <c:pt idx="904">
                  <c:v>120.36393255623688</c:v>
                </c:pt>
                <c:pt idx="905">
                  <c:v>120.69243690244139</c:v>
                </c:pt>
                <c:pt idx="906">
                  <c:v>120.69243690244139</c:v>
                </c:pt>
                <c:pt idx="907">
                  <c:v>120.69243690244139</c:v>
                </c:pt>
                <c:pt idx="908">
                  <c:v>121.59759119555258</c:v>
                </c:pt>
                <c:pt idx="909">
                  <c:v>121.32392455663005</c:v>
                </c:pt>
                <c:pt idx="910">
                  <c:v>121.41175429415691</c:v>
                </c:pt>
                <c:pt idx="911">
                  <c:v>121.54846830031529</c:v>
                </c:pt>
                <c:pt idx="912">
                  <c:v>121.60316660609659</c:v>
                </c:pt>
                <c:pt idx="913">
                  <c:v>121.60316660609659</c:v>
                </c:pt>
                <c:pt idx="914">
                  <c:v>121.60316660609659</c:v>
                </c:pt>
                <c:pt idx="915">
                  <c:v>120.56882361753789</c:v>
                </c:pt>
                <c:pt idx="916">
                  <c:v>121.99230749726482</c:v>
                </c:pt>
                <c:pt idx="917">
                  <c:v>121.66806213029476</c:v>
                </c:pt>
                <c:pt idx="918">
                  <c:v>121.84249614662062</c:v>
                </c:pt>
                <c:pt idx="919">
                  <c:v>121.07326979207259</c:v>
                </c:pt>
                <c:pt idx="920">
                  <c:v>121.07326979207259</c:v>
                </c:pt>
                <c:pt idx="921">
                  <c:v>121.07326979207259</c:v>
                </c:pt>
                <c:pt idx="922">
                  <c:v>121.09422642487753</c:v>
                </c:pt>
                <c:pt idx="923">
                  <c:v>120.90758838628467</c:v>
                </c:pt>
                <c:pt idx="924">
                  <c:v>120.77154385700568</c:v>
                </c:pt>
                <c:pt idx="925">
                  <c:v>119.90382000015474</c:v>
                </c:pt>
                <c:pt idx="926">
                  <c:v>119.71987313982572</c:v>
                </c:pt>
                <c:pt idx="927">
                  <c:v>119.71987313982572</c:v>
                </c:pt>
                <c:pt idx="928">
                  <c:v>119.71987313982572</c:v>
                </c:pt>
                <c:pt idx="929">
                  <c:v>120.17929842835549</c:v>
                </c:pt>
                <c:pt idx="930">
                  <c:v>120.857271793365</c:v>
                </c:pt>
                <c:pt idx="931">
                  <c:v>120.38310206521273</c:v>
                </c:pt>
                <c:pt idx="932">
                  <c:v>120.40568668153539</c:v>
                </c:pt>
                <c:pt idx="933">
                  <c:v>120.62025603282497</c:v>
                </c:pt>
                <c:pt idx="934">
                  <c:v>120.62025603282497</c:v>
                </c:pt>
                <c:pt idx="935">
                  <c:v>120.62025603282497</c:v>
                </c:pt>
                <c:pt idx="936">
                  <c:v>119.9025742423362</c:v>
                </c:pt>
                <c:pt idx="937">
                  <c:v>120.50819150947589</c:v>
                </c:pt>
                <c:pt idx="938">
                  <c:v>120.45097150871288</c:v>
                </c:pt>
                <c:pt idx="939">
                  <c:v>120.02638518268168</c:v>
                </c:pt>
                <c:pt idx="940">
                  <c:v>120.42256395394281</c:v>
                </c:pt>
                <c:pt idx="941">
                  <c:v>120.42256395394281</c:v>
                </c:pt>
                <c:pt idx="942">
                  <c:v>120.42256395394281</c:v>
                </c:pt>
                <c:pt idx="943">
                  <c:v>120.45018804715589</c:v>
                </c:pt>
                <c:pt idx="944">
                  <c:v>120.93027708172217</c:v>
                </c:pt>
                <c:pt idx="945">
                  <c:v>120.96288502396017</c:v>
                </c:pt>
                <c:pt idx="946">
                  <c:v>120.97696712385715</c:v>
                </c:pt>
                <c:pt idx="947">
                  <c:v>121.10334924509054</c:v>
                </c:pt>
                <c:pt idx="948">
                  <c:v>121.10334924509054</c:v>
                </c:pt>
                <c:pt idx="949">
                  <c:v>121.10334924509054</c:v>
                </c:pt>
                <c:pt idx="950">
                  <c:v>120.21725862443884</c:v>
                </c:pt>
                <c:pt idx="951">
                  <c:v>119.84620283826548</c:v>
                </c:pt>
                <c:pt idx="952">
                  <c:v>120.46648100290686</c:v>
                </c:pt>
                <c:pt idx="953">
                  <c:v>120.01836689567669</c:v>
                </c:pt>
                <c:pt idx="954">
                  <c:v>119.24470353884685</c:v>
                </c:pt>
                <c:pt idx="955">
                  <c:v>119.24470353884685</c:v>
                </c:pt>
                <c:pt idx="956">
                  <c:v>119.24470353884685</c:v>
                </c:pt>
                <c:pt idx="957">
                  <c:v>119.52770595632668</c:v>
                </c:pt>
                <c:pt idx="958">
                  <c:v>119.16690153557022</c:v>
                </c:pt>
                <c:pt idx="959">
                  <c:v>119.44082719120686</c:v>
                </c:pt>
                <c:pt idx="960">
                  <c:v>119.78281426444109</c:v>
                </c:pt>
                <c:pt idx="961">
                  <c:v>119.78541956460789</c:v>
                </c:pt>
                <c:pt idx="962">
                  <c:v>119.78541956460789</c:v>
                </c:pt>
                <c:pt idx="963">
                  <c:v>119.78541956460789</c:v>
                </c:pt>
                <c:pt idx="964">
                  <c:v>119.65464585717183</c:v>
                </c:pt>
                <c:pt idx="965">
                  <c:v>120.42062895256544</c:v>
                </c:pt>
                <c:pt idx="966">
                  <c:v>120.61415195994108</c:v>
                </c:pt>
                <c:pt idx="967">
                  <c:v>120.54330709085551</c:v>
                </c:pt>
                <c:pt idx="968">
                  <c:v>120.48068402312732</c:v>
                </c:pt>
                <c:pt idx="969">
                  <c:v>120.48068402312732</c:v>
                </c:pt>
                <c:pt idx="970">
                  <c:v>120.48068402312732</c:v>
                </c:pt>
                <c:pt idx="971">
                  <c:v>120.59109683517461</c:v>
                </c:pt>
                <c:pt idx="972">
                  <c:v>121.28943486035747</c:v>
                </c:pt>
                <c:pt idx="973">
                  <c:v>121.20761192812471</c:v>
                </c:pt>
                <c:pt idx="974">
                  <c:v>121.23516752115644</c:v>
                </c:pt>
                <c:pt idx="975">
                  <c:v>121.42672956055834</c:v>
                </c:pt>
                <c:pt idx="976">
                  <c:v>121.42672956055834</c:v>
                </c:pt>
                <c:pt idx="977">
                  <c:v>121.42672956055834</c:v>
                </c:pt>
                <c:pt idx="978">
                  <c:v>121.45082063584583</c:v>
                </c:pt>
                <c:pt idx="979">
                  <c:v>120.90918655679714</c:v>
                </c:pt>
                <c:pt idx="980">
                  <c:v>121.1308724984391</c:v>
                </c:pt>
                <c:pt idx="981">
                  <c:v>121.49683309043139</c:v>
                </c:pt>
                <c:pt idx="982">
                  <c:v>121.68943801053418</c:v>
                </c:pt>
                <c:pt idx="983">
                  <c:v>121.68943801053418</c:v>
                </c:pt>
                <c:pt idx="984">
                  <c:v>121.68943801053418</c:v>
                </c:pt>
                <c:pt idx="985">
                  <c:v>122.05961995812986</c:v>
                </c:pt>
                <c:pt idx="986">
                  <c:v>122.4317858423632</c:v>
                </c:pt>
                <c:pt idx="987">
                  <c:v>122.96207371814384</c:v>
                </c:pt>
                <c:pt idx="988">
                  <c:v>122.48309377317209</c:v>
                </c:pt>
                <c:pt idx="989">
                  <c:v>122.4429898564282</c:v>
                </c:pt>
                <c:pt idx="990">
                  <c:v>122.4429898564282</c:v>
                </c:pt>
                <c:pt idx="991">
                  <c:v>122.4429898564282</c:v>
                </c:pt>
                <c:pt idx="992">
                  <c:v>122.44682987674318</c:v>
                </c:pt>
                <c:pt idx="993">
                  <c:v>121.83292200164188</c:v>
                </c:pt>
                <c:pt idx="994">
                  <c:v>122.10223170203318</c:v>
                </c:pt>
                <c:pt idx="995">
                  <c:v>122.1615045331919</c:v>
                </c:pt>
                <c:pt idx="996">
                  <c:v>122.29148292029332</c:v>
                </c:pt>
                <c:pt idx="997">
                  <c:v>122.29148292029332</c:v>
                </c:pt>
                <c:pt idx="998">
                  <c:v>122.29148292029332</c:v>
                </c:pt>
                <c:pt idx="999">
                  <c:v>122.43247799279845</c:v>
                </c:pt>
                <c:pt idx="1000">
                  <c:v>122.68434242579416</c:v>
                </c:pt>
                <c:pt idx="1001">
                  <c:v>122.83112237793071</c:v>
                </c:pt>
                <c:pt idx="1002">
                  <c:v>123.16175305159152</c:v>
                </c:pt>
                <c:pt idx="1003">
                  <c:v>123.05712785671236</c:v>
                </c:pt>
                <c:pt idx="1004">
                  <c:v>123.05914289256958</c:v>
                </c:pt>
                <c:pt idx="1005">
                  <c:v>123.05914289256958</c:v>
                </c:pt>
                <c:pt idx="1006">
                  <c:v>123.11491981826308</c:v>
                </c:pt>
                <c:pt idx="1007">
                  <c:v>122.91805306577707</c:v>
                </c:pt>
                <c:pt idx="1008">
                  <c:v>122.93742104214614</c:v>
                </c:pt>
                <c:pt idx="1009">
                  <c:v>122.92282773099384</c:v>
                </c:pt>
                <c:pt idx="1010">
                  <c:v>123.42831433898245</c:v>
                </c:pt>
                <c:pt idx="1011">
                  <c:v>123.42831433898245</c:v>
                </c:pt>
                <c:pt idx="1012">
                  <c:v>123.42831433898245</c:v>
                </c:pt>
                <c:pt idx="1013">
                  <c:v>123.68970628092758</c:v>
                </c:pt>
                <c:pt idx="1014">
                  <c:v>123.81781885898776</c:v>
                </c:pt>
                <c:pt idx="1015">
                  <c:v>123.46865688152018</c:v>
                </c:pt>
                <c:pt idx="1016">
                  <c:v>123.33364954773786</c:v>
                </c:pt>
                <c:pt idx="1017">
                  <c:v>122.70930629632127</c:v>
                </c:pt>
                <c:pt idx="1018">
                  <c:v>122.70930629632127</c:v>
                </c:pt>
                <c:pt idx="1019">
                  <c:v>122.70930629632127</c:v>
                </c:pt>
                <c:pt idx="1020">
                  <c:v>122.46989618172422</c:v>
                </c:pt>
                <c:pt idx="1021">
                  <c:v>122.48809771892971</c:v>
                </c:pt>
                <c:pt idx="1022">
                  <c:v>122.88547350755898</c:v>
                </c:pt>
                <c:pt idx="1023">
                  <c:v>123.07733226252235</c:v>
                </c:pt>
                <c:pt idx="1024">
                  <c:v>123.22800384037146</c:v>
                </c:pt>
                <c:pt idx="1025">
                  <c:v>123.22800384037146</c:v>
                </c:pt>
                <c:pt idx="1026">
                  <c:v>123.22800384037146</c:v>
                </c:pt>
                <c:pt idx="1027">
                  <c:v>122.96067462312701</c:v>
                </c:pt>
                <c:pt idx="1028">
                  <c:v>122.89817912248574</c:v>
                </c:pt>
                <c:pt idx="1029">
                  <c:v>122.42292566975087</c:v>
                </c:pt>
                <c:pt idx="1030">
                  <c:v>122.28452523011362</c:v>
                </c:pt>
                <c:pt idx="1031">
                  <c:v>122.42716227812804</c:v>
                </c:pt>
                <c:pt idx="1032">
                  <c:v>122.42716227812804</c:v>
                </c:pt>
                <c:pt idx="1033">
                  <c:v>122.42716227812804</c:v>
                </c:pt>
                <c:pt idx="1034">
                  <c:v>122.18998383057871</c:v>
                </c:pt>
                <c:pt idx="1035">
                  <c:v>122.57446783565788</c:v>
                </c:pt>
                <c:pt idx="1036">
                  <c:v>122.51297628235962</c:v>
                </c:pt>
                <c:pt idx="1037">
                  <c:v>123.04578125904246</c:v>
                </c:pt>
                <c:pt idx="1038">
                  <c:v>123.01253316922966</c:v>
                </c:pt>
                <c:pt idx="1039">
                  <c:v>123.01253316922966</c:v>
                </c:pt>
                <c:pt idx="1040">
                  <c:v>123.01253316922966</c:v>
                </c:pt>
                <c:pt idx="1041">
                  <c:v>122.5658404269042</c:v>
                </c:pt>
                <c:pt idx="1042">
                  <c:v>121.82957737306087</c:v>
                </c:pt>
                <c:pt idx="1043">
                  <c:v>121.88224342218629</c:v>
                </c:pt>
                <c:pt idx="1044">
                  <c:v>121.31317476449557</c:v>
                </c:pt>
                <c:pt idx="1045">
                  <c:v>121.51766425521336</c:v>
                </c:pt>
                <c:pt idx="1046">
                  <c:v>121.51766425521336</c:v>
                </c:pt>
                <c:pt idx="1047">
                  <c:v>121.51766425521336</c:v>
                </c:pt>
                <c:pt idx="1048">
                  <c:v>122.084654812949</c:v>
                </c:pt>
                <c:pt idx="1049">
                  <c:v>121.39796842922362</c:v>
                </c:pt>
                <c:pt idx="1050">
                  <c:v>122.04774510674059</c:v>
                </c:pt>
                <c:pt idx="1051">
                  <c:v>121.64830871112819</c:v>
                </c:pt>
                <c:pt idx="1052">
                  <c:v>122.0171821477431</c:v>
                </c:pt>
                <c:pt idx="1053">
                  <c:v>122.0171821477431</c:v>
                </c:pt>
                <c:pt idx="1054">
                  <c:v>122.0171821477431</c:v>
                </c:pt>
                <c:pt idx="1055">
                  <c:v>121.79996003428026</c:v>
                </c:pt>
                <c:pt idx="1056">
                  <c:v>122.34580655517389</c:v>
                </c:pt>
                <c:pt idx="1057">
                  <c:v>122.39145176912839</c:v>
                </c:pt>
                <c:pt idx="1058">
                  <c:v>122.61628875807645</c:v>
                </c:pt>
                <c:pt idx="1059">
                  <c:v>122.21675986460141</c:v>
                </c:pt>
                <c:pt idx="1060">
                  <c:v>122.21675986460141</c:v>
                </c:pt>
                <c:pt idx="1061">
                  <c:v>122.21675986460141</c:v>
                </c:pt>
                <c:pt idx="1062">
                  <c:v>121.99932671589502</c:v>
                </c:pt>
                <c:pt idx="1063">
                  <c:v>122.32037053053364</c:v>
                </c:pt>
                <c:pt idx="1064">
                  <c:v>122.03143629893957</c:v>
                </c:pt>
                <c:pt idx="1065">
                  <c:v>121.16034425168316</c:v>
                </c:pt>
                <c:pt idx="1066">
                  <c:v>120.97684468096364</c:v>
                </c:pt>
                <c:pt idx="1067">
                  <c:v>120.97684468096364</c:v>
                </c:pt>
                <c:pt idx="1068">
                  <c:v>120.97684468096364</c:v>
                </c:pt>
                <c:pt idx="1069">
                  <c:v>120.90957740581526</c:v>
                </c:pt>
                <c:pt idx="1070">
                  <c:v>120.81150458856908</c:v>
                </c:pt>
                <c:pt idx="1071">
                  <c:v>120.54018731967912</c:v>
                </c:pt>
                <c:pt idx="1072">
                  <c:v>120.24673656104208</c:v>
                </c:pt>
                <c:pt idx="1073">
                  <c:v>120.36022618856283</c:v>
                </c:pt>
                <c:pt idx="1074">
                  <c:v>120.36022618856283</c:v>
                </c:pt>
                <c:pt idx="1075">
                  <c:v>120.36022618856283</c:v>
                </c:pt>
                <c:pt idx="1076">
                  <c:v>121.0370387011118</c:v>
                </c:pt>
                <c:pt idx="1077">
                  <c:v>120.91678921411041</c:v>
                </c:pt>
                <c:pt idx="1078">
                  <c:v>122.04176559955795</c:v>
                </c:pt>
                <c:pt idx="1079">
                  <c:v>122.59032739727337</c:v>
                </c:pt>
                <c:pt idx="1080">
                  <c:v>122.48256396542671</c:v>
                </c:pt>
                <c:pt idx="1081">
                  <c:v>122.48256396542671</c:v>
                </c:pt>
                <c:pt idx="1082">
                  <c:v>122.48256396542671</c:v>
                </c:pt>
                <c:pt idx="1083">
                  <c:v>123.21324496915834</c:v>
                </c:pt>
                <c:pt idx="1084">
                  <c:v>124.00585014568999</c:v>
                </c:pt>
                <c:pt idx="1085">
                  <c:v>123.71023734895174</c:v>
                </c:pt>
                <c:pt idx="1086">
                  <c:v>124.31689664171084</c:v>
                </c:pt>
                <c:pt idx="1087">
                  <c:v>124.11688564817854</c:v>
                </c:pt>
                <c:pt idx="1088">
                  <c:v>124.11688564817854</c:v>
                </c:pt>
                <c:pt idx="1089">
                  <c:v>124.11688564817854</c:v>
                </c:pt>
                <c:pt idx="1090">
                  <c:v>124.41802220646551</c:v>
                </c:pt>
                <c:pt idx="1091">
                  <c:v>125.01913755406019</c:v>
                </c:pt>
                <c:pt idx="1092">
                  <c:v>125.13044425505566</c:v>
                </c:pt>
                <c:pt idx="1093">
                  <c:v>124.90680245354325</c:v>
                </c:pt>
                <c:pt idx="1094">
                  <c:v>125.05728548513419</c:v>
                </c:pt>
                <c:pt idx="1095">
                  <c:v>125.05728548513419</c:v>
                </c:pt>
                <c:pt idx="1096">
                  <c:v>125.06142807024452</c:v>
                </c:pt>
                <c:pt idx="1097">
                  <c:v>125.12124585173281</c:v>
                </c:pt>
                <c:pt idx="1098">
                  <c:v>125.30698402451671</c:v>
                </c:pt>
                <c:pt idx="1099">
                  <c:v>125.90110457160392</c:v>
                </c:pt>
                <c:pt idx="1100">
                  <c:v>125.82723192223499</c:v>
                </c:pt>
                <c:pt idx="1101">
                  <c:v>125.93228624836011</c:v>
                </c:pt>
                <c:pt idx="1102">
                  <c:v>125.93228624836011</c:v>
                </c:pt>
                <c:pt idx="1103">
                  <c:v>125.93228624836011</c:v>
                </c:pt>
                <c:pt idx="1104">
                  <c:v>126.36881423559544</c:v>
                </c:pt>
                <c:pt idx="1105">
                  <c:v>126.22290122055017</c:v>
                </c:pt>
                <c:pt idx="1106">
                  <c:v>126.06845129388631</c:v>
                </c:pt>
                <c:pt idx="1107">
                  <c:v>125.63612603976239</c:v>
                </c:pt>
                <c:pt idx="1108">
                  <c:v>125.60922432991025</c:v>
                </c:pt>
                <c:pt idx="1109">
                  <c:v>125.60922432991025</c:v>
                </c:pt>
                <c:pt idx="1110">
                  <c:v>125.60922432991025</c:v>
                </c:pt>
                <c:pt idx="1111">
                  <c:v>125.37910438729558</c:v>
                </c:pt>
                <c:pt idx="1112">
                  <c:v>125.58885116625255</c:v>
                </c:pt>
                <c:pt idx="1113">
                  <c:v>125.08801902876334</c:v>
                </c:pt>
                <c:pt idx="1114">
                  <c:v>125.2855097194206</c:v>
                </c:pt>
                <c:pt idx="1115">
                  <c:v>125.58509721616815</c:v>
                </c:pt>
                <c:pt idx="1116">
                  <c:v>125.58509721616815</c:v>
                </c:pt>
                <c:pt idx="1117">
                  <c:v>125.58509721616815</c:v>
                </c:pt>
                <c:pt idx="1118">
                  <c:v>124.86038471477441</c:v>
                </c:pt>
                <c:pt idx="1119">
                  <c:v>123.97220834800127</c:v>
                </c:pt>
                <c:pt idx="1120">
                  <c:v>124.08780500635049</c:v>
                </c:pt>
                <c:pt idx="1121">
                  <c:v>123.1252279831601</c:v>
                </c:pt>
                <c:pt idx="1122">
                  <c:v>123.52595045133994</c:v>
                </c:pt>
                <c:pt idx="1123">
                  <c:v>123.52595045133994</c:v>
                </c:pt>
                <c:pt idx="1124">
                  <c:v>123.52595045133994</c:v>
                </c:pt>
                <c:pt idx="1125">
                  <c:v>123.3220252519865</c:v>
                </c:pt>
                <c:pt idx="1126">
                  <c:v>123.37635050326919</c:v>
                </c:pt>
                <c:pt idx="1127">
                  <c:v>122.76086660480405</c:v>
                </c:pt>
                <c:pt idx="1128">
                  <c:v>122.25815692770963</c:v>
                </c:pt>
                <c:pt idx="1129">
                  <c:v>123.22515953154355</c:v>
                </c:pt>
                <c:pt idx="1130">
                  <c:v>123.22515953154355</c:v>
                </c:pt>
                <c:pt idx="1131">
                  <c:v>123.22515953154355</c:v>
                </c:pt>
                <c:pt idx="1132">
                  <c:v>123.44475038864844</c:v>
                </c:pt>
                <c:pt idx="1133">
                  <c:v>122.28899946863609</c:v>
                </c:pt>
                <c:pt idx="1134">
                  <c:v>122.37519501665837</c:v>
                </c:pt>
                <c:pt idx="1135">
                  <c:v>121.38257180014267</c:v>
                </c:pt>
                <c:pt idx="1136">
                  <c:v>120.45761422007935</c:v>
                </c:pt>
                <c:pt idx="1137">
                  <c:v>120.45761422007935</c:v>
                </c:pt>
                <c:pt idx="1138">
                  <c:v>120.45761422007935</c:v>
                </c:pt>
                <c:pt idx="1139">
                  <c:v>120.32498565283879</c:v>
                </c:pt>
                <c:pt idx="1140">
                  <c:v>121.01187161455674</c:v>
                </c:pt>
                <c:pt idx="1141">
                  <c:v>119.61087361260124</c:v>
                </c:pt>
                <c:pt idx="1142">
                  <c:v>119.12767436589382</c:v>
                </c:pt>
                <c:pt idx="1143">
                  <c:v>120.09231612938085</c:v>
                </c:pt>
                <c:pt idx="1144">
                  <c:v>120.09231612938085</c:v>
                </c:pt>
                <c:pt idx="1145">
                  <c:v>120.09231612938085</c:v>
                </c:pt>
                <c:pt idx="1146">
                  <c:v>120.05979923733022</c:v>
                </c:pt>
                <c:pt idx="1147">
                  <c:v>121.31388122894818</c:v>
                </c:pt>
                <c:pt idx="1148">
                  <c:v>121.80809389149617</c:v>
                </c:pt>
                <c:pt idx="1149">
                  <c:v>122.45872152005285</c:v>
                </c:pt>
                <c:pt idx="1150">
                  <c:v>122.30578714553933</c:v>
                </c:pt>
                <c:pt idx="1151">
                  <c:v>122.30578714553933</c:v>
                </c:pt>
                <c:pt idx="1152">
                  <c:v>122.30578714553933</c:v>
                </c:pt>
                <c:pt idx="1153">
                  <c:v>121.95689187206423</c:v>
                </c:pt>
                <c:pt idx="1154">
                  <c:v>122.44721851920228</c:v>
                </c:pt>
                <c:pt idx="1155">
                  <c:v>122.80447187087331</c:v>
                </c:pt>
                <c:pt idx="1156">
                  <c:v>123.28365926739176</c:v>
                </c:pt>
                <c:pt idx="1157">
                  <c:v>123.92165799843249</c:v>
                </c:pt>
                <c:pt idx="1158">
                  <c:v>123.92165799843249</c:v>
                </c:pt>
                <c:pt idx="1159">
                  <c:v>123.92165799843249</c:v>
                </c:pt>
                <c:pt idx="1160">
                  <c:v>123.38441116517187</c:v>
                </c:pt>
                <c:pt idx="1161">
                  <c:v>123.09331661651485</c:v>
                </c:pt>
                <c:pt idx="1162">
                  <c:v>123.80815601558467</c:v>
                </c:pt>
                <c:pt idx="1163">
                  <c:v>124.20677277845752</c:v>
                </c:pt>
                <c:pt idx="1164">
                  <c:v>124.35684480432307</c:v>
                </c:pt>
                <c:pt idx="1165">
                  <c:v>124.35684480432307</c:v>
                </c:pt>
                <c:pt idx="1166">
                  <c:v>124.35684480432307</c:v>
                </c:pt>
                <c:pt idx="1167">
                  <c:v>124.77727322326655</c:v>
                </c:pt>
                <c:pt idx="1168">
                  <c:v>125.18120155082536</c:v>
                </c:pt>
                <c:pt idx="1169">
                  <c:v>125.29600842288826</c:v>
                </c:pt>
                <c:pt idx="1170">
                  <c:v>126.21335938967619</c:v>
                </c:pt>
                <c:pt idx="1171">
                  <c:v>126.72153138033599</c:v>
                </c:pt>
                <c:pt idx="1172">
                  <c:v>126.72153138033599</c:v>
                </c:pt>
                <c:pt idx="1173">
                  <c:v>126.72153138033599</c:v>
                </c:pt>
                <c:pt idx="1174">
                  <c:v>126.92046749537744</c:v>
                </c:pt>
                <c:pt idx="1175">
                  <c:v>127.70704021225785</c:v>
                </c:pt>
                <c:pt idx="1176">
                  <c:v>127.40596389215307</c:v>
                </c:pt>
                <c:pt idx="1177">
                  <c:v>127.37043963123713</c:v>
                </c:pt>
                <c:pt idx="1178">
                  <c:v>128.07372837807543</c:v>
                </c:pt>
                <c:pt idx="1179">
                  <c:v>128.07372837807543</c:v>
                </c:pt>
                <c:pt idx="1180">
                  <c:v>128.07372837807543</c:v>
                </c:pt>
                <c:pt idx="1181">
                  <c:v>128.05386475755788</c:v>
                </c:pt>
                <c:pt idx="1182">
                  <c:v>128.40018932881202</c:v>
                </c:pt>
                <c:pt idx="1183">
                  <c:v>128.35409432852396</c:v>
                </c:pt>
                <c:pt idx="1184">
                  <c:v>128.61421143506604</c:v>
                </c:pt>
                <c:pt idx="1185">
                  <c:v>128.86119475852738</c:v>
                </c:pt>
                <c:pt idx="1186">
                  <c:v>128.86119475852738</c:v>
                </c:pt>
                <c:pt idx="1187">
                  <c:v>128.86540034979623</c:v>
                </c:pt>
                <c:pt idx="1188">
                  <c:v>128.21028293261438</c:v>
                </c:pt>
                <c:pt idx="1189">
                  <c:v>128.75684901000855</c:v>
                </c:pt>
                <c:pt idx="1190">
                  <c:v>128.3253819376983</c:v>
                </c:pt>
                <c:pt idx="1191">
                  <c:v>128.37693886708834</c:v>
                </c:pt>
                <c:pt idx="1192">
                  <c:v>129.14040807645543</c:v>
                </c:pt>
                <c:pt idx="1193">
                  <c:v>129.14040807645543</c:v>
                </c:pt>
                <c:pt idx="1194">
                  <c:v>129.14040807645543</c:v>
                </c:pt>
                <c:pt idx="1195">
                  <c:v>128.37313319133978</c:v>
                </c:pt>
                <c:pt idx="1196">
                  <c:v>127.38739852144369</c:v>
                </c:pt>
                <c:pt idx="1197">
                  <c:v>126.65168308526599</c:v>
                </c:pt>
                <c:pt idx="1198">
                  <c:v>126.59650012370979</c:v>
                </c:pt>
                <c:pt idx="1199">
                  <c:v>125.14348575522391</c:v>
                </c:pt>
                <c:pt idx="1200">
                  <c:v>125.14348575522391</c:v>
                </c:pt>
                <c:pt idx="1201">
                  <c:v>125.14348575522391</c:v>
                </c:pt>
                <c:pt idx="1202">
                  <c:v>124.19595529530957</c:v>
                </c:pt>
                <c:pt idx="1203">
                  <c:v>124.43175275488521</c:v>
                </c:pt>
                <c:pt idx="1204">
                  <c:v>125.07139923185086</c:v>
                </c:pt>
                <c:pt idx="1205">
                  <c:v>126.85682009609356</c:v>
                </c:pt>
                <c:pt idx="1206">
                  <c:v>127.13048183170334</c:v>
                </c:pt>
                <c:pt idx="1207">
                  <c:v>127.13048183170334</c:v>
                </c:pt>
                <c:pt idx="1208">
                  <c:v>127.13048183170334</c:v>
                </c:pt>
                <c:pt idx="1209">
                  <c:v>127.71776795757091</c:v>
                </c:pt>
                <c:pt idx="1210">
                  <c:v>128.22388077623819</c:v>
                </c:pt>
                <c:pt idx="1211">
                  <c:v>128.25266402421124</c:v>
                </c:pt>
                <c:pt idx="1212">
                  <c:v>128.22077886007759</c:v>
                </c:pt>
                <c:pt idx="1213">
                  <c:v>128.14753465064337</c:v>
                </c:pt>
                <c:pt idx="1214">
                  <c:v>128.14753465064337</c:v>
                </c:pt>
                <c:pt idx="1215">
                  <c:v>128.14753465064337</c:v>
                </c:pt>
                <c:pt idx="1216">
                  <c:v>128.67446779176498</c:v>
                </c:pt>
                <c:pt idx="1217">
                  <c:v>127.90376511850495</c:v>
                </c:pt>
                <c:pt idx="1218">
                  <c:v>127.5884832200238</c:v>
                </c:pt>
                <c:pt idx="1219">
                  <c:v>127.58254747205434</c:v>
                </c:pt>
                <c:pt idx="1220">
                  <c:v>128.22985934326942</c:v>
                </c:pt>
                <c:pt idx="1221">
                  <c:v>128.22985934326942</c:v>
                </c:pt>
                <c:pt idx="1222">
                  <c:v>128.22985934326942</c:v>
                </c:pt>
                <c:pt idx="1223">
                  <c:v>127.46599121163571</c:v>
                </c:pt>
                <c:pt idx="1224">
                  <c:v>127.38392009176545</c:v>
                </c:pt>
                <c:pt idx="1225">
                  <c:v>128.30120392992714</c:v>
                </c:pt>
                <c:pt idx="1226">
                  <c:v>129.98270552380154</c:v>
                </c:pt>
                <c:pt idx="1227">
                  <c:v>129.06629555210282</c:v>
                </c:pt>
                <c:pt idx="1228">
                  <c:v>129.06629555210282</c:v>
                </c:pt>
                <c:pt idx="1229">
                  <c:v>129.06629555210282</c:v>
                </c:pt>
                <c:pt idx="1230">
                  <c:v>129.09318252663255</c:v>
                </c:pt>
                <c:pt idx="1231">
                  <c:v>129.34590409326444</c:v>
                </c:pt>
                <c:pt idx="1232">
                  <c:v>128.13575332149179</c:v>
                </c:pt>
                <c:pt idx="1233">
                  <c:v>129.10939791728097</c:v>
                </c:pt>
                <c:pt idx="1234">
                  <c:v>130.00535026015876</c:v>
                </c:pt>
                <c:pt idx="1235">
                  <c:v>130.00535026015876</c:v>
                </c:pt>
                <c:pt idx="1236">
                  <c:v>130.00535026015876</c:v>
                </c:pt>
                <c:pt idx="1237">
                  <c:v>130.40868234294925</c:v>
                </c:pt>
                <c:pt idx="1238">
                  <c:v>130.41721084907974</c:v>
                </c:pt>
                <c:pt idx="1239">
                  <c:v>131.58545705415241</c:v>
                </c:pt>
                <c:pt idx="1240">
                  <c:v>132.4002738114543</c:v>
                </c:pt>
                <c:pt idx="1241">
                  <c:v>133.18681789527312</c:v>
                </c:pt>
                <c:pt idx="1242">
                  <c:v>133.18681789527312</c:v>
                </c:pt>
                <c:pt idx="1243">
                  <c:v>133.18681789527312</c:v>
                </c:pt>
                <c:pt idx="1244">
                  <c:v>133.11060089965559</c:v>
                </c:pt>
                <c:pt idx="1245">
                  <c:v>132.06634204595485</c:v>
                </c:pt>
                <c:pt idx="1246">
                  <c:v>131.59581254313557</c:v>
                </c:pt>
                <c:pt idx="1247">
                  <c:v>131.90802337152169</c:v>
                </c:pt>
                <c:pt idx="1248">
                  <c:v>131.46818862523318</c:v>
                </c:pt>
                <c:pt idx="1249">
                  <c:v>131.47027526202942</c:v>
                </c:pt>
                <c:pt idx="1250">
                  <c:v>131.47027526202942</c:v>
                </c:pt>
                <c:pt idx="1251">
                  <c:v>132.12729112619709</c:v>
                </c:pt>
                <c:pt idx="1252">
                  <c:v>132.70074827748823</c:v>
                </c:pt>
                <c:pt idx="1253">
                  <c:v>132.33945974154216</c:v>
                </c:pt>
                <c:pt idx="1254">
                  <c:v>132.24813749454924</c:v>
                </c:pt>
                <c:pt idx="1255">
                  <c:v>131.89465709483554</c:v>
                </c:pt>
                <c:pt idx="1256">
                  <c:v>131.89465709483554</c:v>
                </c:pt>
                <c:pt idx="1257">
                  <c:v>131.89465709483554</c:v>
                </c:pt>
                <c:pt idx="1258">
                  <c:v>131.60569234840449</c:v>
                </c:pt>
                <c:pt idx="1259">
                  <c:v>131.96284848249883</c:v>
                </c:pt>
                <c:pt idx="1260">
                  <c:v>131.57366160433008</c:v>
                </c:pt>
                <c:pt idx="1261">
                  <c:v>131.84411369987052</c:v>
                </c:pt>
                <c:pt idx="1262">
                  <c:v>132.24466046814646</c:v>
                </c:pt>
                <c:pt idx="1263">
                  <c:v>132.24466046814646</c:v>
                </c:pt>
                <c:pt idx="1264">
                  <c:v>132.24466046814646</c:v>
                </c:pt>
                <c:pt idx="1265">
                  <c:v>132.10435680484491</c:v>
                </c:pt>
                <c:pt idx="1266">
                  <c:v>132.52880176224974</c:v>
                </c:pt>
                <c:pt idx="1267">
                  <c:v>132.10011508811104</c:v>
                </c:pt>
                <c:pt idx="1268">
                  <c:v>132.23322217595646</c:v>
                </c:pt>
                <c:pt idx="1269">
                  <c:v>132.90235190040855</c:v>
                </c:pt>
                <c:pt idx="1270">
                  <c:v>132.90235190040855</c:v>
                </c:pt>
                <c:pt idx="1271">
                  <c:v>132.90235190040855</c:v>
                </c:pt>
                <c:pt idx="1272">
                  <c:v>132.74306129479962</c:v>
                </c:pt>
                <c:pt idx="1273">
                  <c:v>132.95446995173515</c:v>
                </c:pt>
                <c:pt idx="1274">
                  <c:v>133.1202240368105</c:v>
                </c:pt>
                <c:pt idx="1275">
                  <c:v>133.3520027605822</c:v>
                </c:pt>
                <c:pt idx="1276">
                  <c:v>133.26183341677475</c:v>
                </c:pt>
                <c:pt idx="1277">
                  <c:v>133.26397731982456</c:v>
                </c:pt>
                <c:pt idx="1278">
                  <c:v>133.26397731982456</c:v>
                </c:pt>
                <c:pt idx="1279">
                  <c:v>133.56556393517278</c:v>
                </c:pt>
                <c:pt idx="1280">
                  <c:v>132.81108512198006</c:v>
                </c:pt>
                <c:pt idx="1281">
                  <c:v>133.18077795227674</c:v>
                </c:pt>
                <c:pt idx="1282">
                  <c:v>133.6741311214092</c:v>
                </c:pt>
                <c:pt idx="1283">
                  <c:v>133.34808080020332</c:v>
                </c:pt>
                <c:pt idx="1284">
                  <c:v>133.34808080020332</c:v>
                </c:pt>
                <c:pt idx="1285">
                  <c:v>133.34808080020332</c:v>
                </c:pt>
                <c:pt idx="1286">
                  <c:v>132.71149163740839</c:v>
                </c:pt>
                <c:pt idx="1287">
                  <c:v>131.09627228214671</c:v>
                </c:pt>
                <c:pt idx="1288">
                  <c:v>132.03843031786639</c:v>
                </c:pt>
                <c:pt idx="1289">
                  <c:v>133.22830730836515</c:v>
                </c:pt>
                <c:pt idx="1290">
                  <c:v>133.58317795810433</c:v>
                </c:pt>
                <c:pt idx="1291">
                  <c:v>133.58317795810433</c:v>
                </c:pt>
                <c:pt idx="1292">
                  <c:v>133.58317795810433</c:v>
                </c:pt>
                <c:pt idx="1293">
                  <c:v>134.24395739370385</c:v>
                </c:pt>
                <c:pt idx="1294">
                  <c:v>134.46842570803219</c:v>
                </c:pt>
                <c:pt idx="1295">
                  <c:v>135.97699214872833</c:v>
                </c:pt>
                <c:pt idx="1296">
                  <c:v>136.20951900585351</c:v>
                </c:pt>
                <c:pt idx="1297">
                  <c:v>136.48363491481109</c:v>
                </c:pt>
                <c:pt idx="1298">
                  <c:v>136.48363491481109</c:v>
                </c:pt>
                <c:pt idx="1299">
                  <c:v>136.48363491481109</c:v>
                </c:pt>
                <c:pt idx="1300">
                  <c:v>136.77126544044143</c:v>
                </c:pt>
                <c:pt idx="1301">
                  <c:v>136.91196994657915</c:v>
                </c:pt>
                <c:pt idx="1302">
                  <c:v>136.05798550448449</c:v>
                </c:pt>
                <c:pt idx="1303">
                  <c:v>135.53489523187173</c:v>
                </c:pt>
                <c:pt idx="1304">
                  <c:v>135.06895072611314</c:v>
                </c:pt>
                <c:pt idx="1305">
                  <c:v>135.06895072611314</c:v>
                </c:pt>
                <c:pt idx="1306">
                  <c:v>135.06895072611314</c:v>
                </c:pt>
                <c:pt idx="1307">
                  <c:v>135.8123550356527</c:v>
                </c:pt>
                <c:pt idx="1308">
                  <c:v>134.73852314209694</c:v>
                </c:pt>
                <c:pt idx="1309">
                  <c:v>135.20901750727876</c:v>
                </c:pt>
                <c:pt idx="1310">
                  <c:v>135.81743212593017</c:v>
                </c:pt>
                <c:pt idx="1311">
                  <c:v>135.84132468039223</c:v>
                </c:pt>
                <c:pt idx="1312">
                  <c:v>135.84132468039223</c:v>
                </c:pt>
                <c:pt idx="1313">
                  <c:v>135.84132468039223</c:v>
                </c:pt>
                <c:pt idx="1314">
                  <c:v>135.82563589036027</c:v>
                </c:pt>
                <c:pt idx="1315">
                  <c:v>136.79816822465756</c:v>
                </c:pt>
                <c:pt idx="1316">
                  <c:v>136.2208424720514</c:v>
                </c:pt>
                <c:pt idx="1317">
                  <c:v>137.79120901260754</c:v>
                </c:pt>
                <c:pt idx="1318">
                  <c:v>138.7724563132831</c:v>
                </c:pt>
                <c:pt idx="1319">
                  <c:v>138.7724563132831</c:v>
                </c:pt>
                <c:pt idx="1320">
                  <c:v>138.7724563132831</c:v>
                </c:pt>
                <c:pt idx="1321">
                  <c:v>138.55611983734886</c:v>
                </c:pt>
                <c:pt idx="1322">
                  <c:v>138.33688865467755</c:v>
                </c:pt>
                <c:pt idx="1323">
                  <c:v>138.39848946251317</c:v>
                </c:pt>
                <c:pt idx="1324">
                  <c:v>137.61730468316205</c:v>
                </c:pt>
                <c:pt idx="1325">
                  <c:v>136.603028087307</c:v>
                </c:pt>
                <c:pt idx="1326">
                  <c:v>136.603028087307</c:v>
                </c:pt>
                <c:pt idx="1327">
                  <c:v>136.603028087307</c:v>
                </c:pt>
                <c:pt idx="1328">
                  <c:v>137.0899238449137</c:v>
                </c:pt>
                <c:pt idx="1329">
                  <c:v>137.12177352194183</c:v>
                </c:pt>
                <c:pt idx="1330">
                  <c:v>136.29055312332434</c:v>
                </c:pt>
                <c:pt idx="1331">
                  <c:v>136.50002169974829</c:v>
                </c:pt>
                <c:pt idx="1332">
                  <c:v>136.45255983685317</c:v>
                </c:pt>
                <c:pt idx="1333">
                  <c:v>136.45255983685317</c:v>
                </c:pt>
                <c:pt idx="1334">
                  <c:v>136.45255983685317</c:v>
                </c:pt>
                <c:pt idx="1335">
                  <c:v>136.65513553330368</c:v>
                </c:pt>
                <c:pt idx="1336">
                  <c:v>135.81696317268205</c:v>
                </c:pt>
                <c:pt idx="1337">
                  <c:v>134.28678692559251</c:v>
                </c:pt>
                <c:pt idx="1338">
                  <c:v>134.25827731700974</c:v>
                </c:pt>
                <c:pt idx="1339">
                  <c:v>135.19683093684716</c:v>
                </c:pt>
                <c:pt idx="1340">
                  <c:v>135.19683093684716</c:v>
                </c:pt>
                <c:pt idx="1341">
                  <c:v>135.19683093684716</c:v>
                </c:pt>
                <c:pt idx="1342">
                  <c:v>135.4735207016179</c:v>
                </c:pt>
                <c:pt idx="1343">
                  <c:v>134.32047603369892</c:v>
                </c:pt>
                <c:pt idx="1344">
                  <c:v>133.91155789544717</c:v>
                </c:pt>
                <c:pt idx="1345">
                  <c:v>133.59185918297783</c:v>
                </c:pt>
                <c:pt idx="1346">
                  <c:v>134.40271340796548</c:v>
                </c:pt>
                <c:pt idx="1347">
                  <c:v>134.40271340796548</c:v>
                </c:pt>
                <c:pt idx="1348">
                  <c:v>134.40271340796548</c:v>
                </c:pt>
                <c:pt idx="1349">
                  <c:v>133.5598237793304</c:v>
                </c:pt>
                <c:pt idx="1350">
                  <c:v>132.41043130885464</c:v>
                </c:pt>
                <c:pt idx="1351">
                  <c:v>132.54611756099305</c:v>
                </c:pt>
                <c:pt idx="1352">
                  <c:v>132.9938143805669</c:v>
                </c:pt>
                <c:pt idx="1353">
                  <c:v>133.18422384561225</c:v>
                </c:pt>
                <c:pt idx="1354">
                  <c:v>133.18422384561225</c:v>
                </c:pt>
                <c:pt idx="1355">
                  <c:v>133.18422384561225</c:v>
                </c:pt>
                <c:pt idx="1356">
                  <c:v>133.79418544228872</c:v>
                </c:pt>
                <c:pt idx="1357">
                  <c:v>134.30525913479161</c:v>
                </c:pt>
                <c:pt idx="1358">
                  <c:v>134.04145372293073</c:v>
                </c:pt>
                <c:pt idx="1359">
                  <c:v>133.99156148323326</c:v>
                </c:pt>
                <c:pt idx="1360">
                  <c:v>134.72729052251063</c:v>
                </c:pt>
                <c:pt idx="1361">
                  <c:v>134.72729052251063</c:v>
                </c:pt>
                <c:pt idx="1362">
                  <c:v>134.72729052251063</c:v>
                </c:pt>
                <c:pt idx="1363">
                  <c:v>134.81172088202612</c:v>
                </c:pt>
                <c:pt idx="1364">
                  <c:v>134.12237975131336</c:v>
                </c:pt>
                <c:pt idx="1365">
                  <c:v>135.22832065172261</c:v>
                </c:pt>
                <c:pt idx="1366">
                  <c:v>135.36966299634463</c:v>
                </c:pt>
                <c:pt idx="1367">
                  <c:v>134.9475771111762</c:v>
                </c:pt>
                <c:pt idx="1368">
                  <c:v>134.9475771111762</c:v>
                </c:pt>
                <c:pt idx="1369">
                  <c:v>134.95187837627</c:v>
                </c:pt>
                <c:pt idx="1370">
                  <c:v>134.97048243736731</c:v>
                </c:pt>
                <c:pt idx="1371">
                  <c:v>134.47064125584916</c:v>
                </c:pt>
                <c:pt idx="1372">
                  <c:v>134.74436740718866</c:v>
                </c:pt>
                <c:pt idx="1373">
                  <c:v>133.58774578228605</c:v>
                </c:pt>
                <c:pt idx="1374">
                  <c:v>132.83630061875351</c:v>
                </c:pt>
                <c:pt idx="1375">
                  <c:v>132.83630061875351</c:v>
                </c:pt>
                <c:pt idx="1376">
                  <c:v>132.83630061875351</c:v>
                </c:pt>
                <c:pt idx="1377">
                  <c:v>132.54332077949601</c:v>
                </c:pt>
                <c:pt idx="1378">
                  <c:v>132.13610007524625</c:v>
                </c:pt>
                <c:pt idx="1379">
                  <c:v>132.37182959606034</c:v>
                </c:pt>
                <c:pt idx="1380">
                  <c:v>132.80622303058894</c:v>
                </c:pt>
                <c:pt idx="1381">
                  <c:v>132.00252704782321</c:v>
                </c:pt>
                <c:pt idx="1382">
                  <c:v>132.00252704782321</c:v>
                </c:pt>
                <c:pt idx="1383">
                  <c:v>132.00252704782321</c:v>
                </c:pt>
                <c:pt idx="1384">
                  <c:v>131.22621490615387</c:v>
                </c:pt>
                <c:pt idx="1385">
                  <c:v>131.38557621837523</c:v>
                </c:pt>
                <c:pt idx="1386">
                  <c:v>130.79616029008088</c:v>
                </c:pt>
                <c:pt idx="1387">
                  <c:v>131.07186978031115</c:v>
                </c:pt>
                <c:pt idx="1388">
                  <c:v>130.98844163080008</c:v>
                </c:pt>
                <c:pt idx="1389">
                  <c:v>130.98844163080008</c:v>
                </c:pt>
                <c:pt idx="1390">
                  <c:v>130.98844163080008</c:v>
                </c:pt>
                <c:pt idx="1391">
                  <c:v>132.62277786760549</c:v>
                </c:pt>
                <c:pt idx="1392">
                  <c:v>132.79033070008509</c:v>
                </c:pt>
                <c:pt idx="1393">
                  <c:v>132.46986204518527</c:v>
                </c:pt>
                <c:pt idx="1394">
                  <c:v>132.17329237291148</c:v>
                </c:pt>
                <c:pt idx="1395">
                  <c:v>131.62887154649249</c:v>
                </c:pt>
                <c:pt idx="1396">
                  <c:v>131.62887154649249</c:v>
                </c:pt>
                <c:pt idx="1397">
                  <c:v>131.62887154649249</c:v>
                </c:pt>
                <c:pt idx="1398">
                  <c:v>129.95650988499875</c:v>
                </c:pt>
                <c:pt idx="1399">
                  <c:v>129.26203763104149</c:v>
                </c:pt>
                <c:pt idx="1400">
                  <c:v>130.38840789617683</c:v>
                </c:pt>
                <c:pt idx="1401">
                  <c:v>130.44659434906484</c:v>
                </c:pt>
                <c:pt idx="1402">
                  <c:v>130.0671216057774</c:v>
                </c:pt>
                <c:pt idx="1403">
                  <c:v>130.0671216057774</c:v>
                </c:pt>
                <c:pt idx="1404">
                  <c:v>130.0671216057774</c:v>
                </c:pt>
                <c:pt idx="1405">
                  <c:v>129.64862119913778</c:v>
                </c:pt>
                <c:pt idx="1406">
                  <c:v>129.62771897616594</c:v>
                </c:pt>
                <c:pt idx="1407">
                  <c:v>129.95253483852824</c:v>
                </c:pt>
                <c:pt idx="1408">
                  <c:v>130.89807526490117</c:v>
                </c:pt>
                <c:pt idx="1409">
                  <c:v>131.60143683032004</c:v>
                </c:pt>
                <c:pt idx="1410">
                  <c:v>131.60143683032004</c:v>
                </c:pt>
                <c:pt idx="1411">
                  <c:v>131.60143683032004</c:v>
                </c:pt>
                <c:pt idx="1412">
                  <c:v>132.27974333870057</c:v>
                </c:pt>
                <c:pt idx="1413">
                  <c:v>132.41141976735787</c:v>
                </c:pt>
                <c:pt idx="1414">
                  <c:v>132.13188126551702</c:v>
                </c:pt>
                <c:pt idx="1415">
                  <c:v>132.95227777036834</c:v>
                </c:pt>
                <c:pt idx="1416">
                  <c:v>132.41988801680415</c:v>
                </c:pt>
                <c:pt idx="1417">
                  <c:v>132.41988801680415</c:v>
                </c:pt>
                <c:pt idx="1418">
                  <c:v>132.41988801680415</c:v>
                </c:pt>
                <c:pt idx="1419">
                  <c:v>132.35791377451176</c:v>
                </c:pt>
                <c:pt idx="1420">
                  <c:v>132.17753793173586</c:v>
                </c:pt>
                <c:pt idx="1421">
                  <c:v>131.1264466456775</c:v>
                </c:pt>
                <c:pt idx="1422">
                  <c:v>131.81549783066123</c:v>
                </c:pt>
                <c:pt idx="1423">
                  <c:v>131.0522438381731</c:v>
                </c:pt>
                <c:pt idx="1424">
                  <c:v>131.0522438381731</c:v>
                </c:pt>
                <c:pt idx="1425">
                  <c:v>131.0522438381731</c:v>
                </c:pt>
                <c:pt idx="1426">
                  <c:v>130.19440913727834</c:v>
                </c:pt>
                <c:pt idx="1427">
                  <c:v>130.50364532250885</c:v>
                </c:pt>
                <c:pt idx="1428">
                  <c:v>131.49134545766563</c:v>
                </c:pt>
                <c:pt idx="1429">
                  <c:v>131.68998792109807</c:v>
                </c:pt>
                <c:pt idx="1430">
                  <c:v>132.36740829071655</c:v>
                </c:pt>
                <c:pt idx="1431">
                  <c:v>132.36740829071655</c:v>
                </c:pt>
                <c:pt idx="1432">
                  <c:v>132.36740829071655</c:v>
                </c:pt>
                <c:pt idx="1433">
                  <c:v>132.09710044885406</c:v>
                </c:pt>
                <c:pt idx="1434">
                  <c:v>132.26191250584472</c:v>
                </c:pt>
                <c:pt idx="1435">
                  <c:v>132.2608359203293</c:v>
                </c:pt>
                <c:pt idx="1436">
                  <c:v>132.48190883625736</c:v>
                </c:pt>
                <c:pt idx="1437">
                  <c:v>132.44899191750122</c:v>
                </c:pt>
                <c:pt idx="1438">
                  <c:v>132.44899191750122</c:v>
                </c:pt>
                <c:pt idx="1439">
                  <c:v>132.44899191750122</c:v>
                </c:pt>
                <c:pt idx="1440">
                  <c:v>132.87840615842157</c:v>
                </c:pt>
                <c:pt idx="1441">
                  <c:v>132.18897458721216</c:v>
                </c:pt>
                <c:pt idx="1442">
                  <c:v>131.31978660629397</c:v>
                </c:pt>
                <c:pt idx="1443">
                  <c:v>131.73158378932652</c:v>
                </c:pt>
                <c:pt idx="1444">
                  <c:v>131.5940394176709</c:v>
                </c:pt>
                <c:pt idx="1445">
                  <c:v>131.5940394176709</c:v>
                </c:pt>
                <c:pt idx="1446">
                  <c:v>131.5940394176709</c:v>
                </c:pt>
                <c:pt idx="1447">
                  <c:v>131.98075557139364</c:v>
                </c:pt>
                <c:pt idx="1448">
                  <c:v>131.5108936550798</c:v>
                </c:pt>
                <c:pt idx="1449">
                  <c:v>130.57393258876465</c:v>
                </c:pt>
                <c:pt idx="1450">
                  <c:v>129.89041483433928</c:v>
                </c:pt>
                <c:pt idx="1451">
                  <c:v>127.69235273218214</c:v>
                </c:pt>
                <c:pt idx="1452">
                  <c:v>127.69235273218214</c:v>
                </c:pt>
                <c:pt idx="1453">
                  <c:v>127.69235273218214</c:v>
                </c:pt>
                <c:pt idx="1454">
                  <c:v>124.32442274731679</c:v>
                </c:pt>
                <c:pt idx="1455">
                  <c:v>124.9463433639924</c:v>
                </c:pt>
                <c:pt idx="1456">
                  <c:v>125.52213872091676</c:v>
                </c:pt>
                <c:pt idx="1457">
                  <c:v>127.92620474634472</c:v>
                </c:pt>
                <c:pt idx="1458">
                  <c:v>128.54386670870508</c:v>
                </c:pt>
                <c:pt idx="1459">
                  <c:v>128.54386670870508</c:v>
                </c:pt>
                <c:pt idx="1460">
                  <c:v>128.54386670870508</c:v>
                </c:pt>
                <c:pt idx="1461">
                  <c:v>128.08808224190514</c:v>
                </c:pt>
                <c:pt idx="1462">
                  <c:v>126.28108717887432</c:v>
                </c:pt>
                <c:pt idx="1463">
                  <c:v>126.84728075827491</c:v>
                </c:pt>
                <c:pt idx="1464">
                  <c:v>127.93813451935036</c:v>
                </c:pt>
                <c:pt idx="1465">
                  <c:v>126.67485124580901</c:v>
                </c:pt>
                <c:pt idx="1466">
                  <c:v>126.67485124580901</c:v>
                </c:pt>
                <c:pt idx="1467">
                  <c:v>126.67485124580901</c:v>
                </c:pt>
                <c:pt idx="1468">
                  <c:v>126.57331090186027</c:v>
                </c:pt>
                <c:pt idx="1469">
                  <c:v>127.21250498275485</c:v>
                </c:pt>
                <c:pt idx="1470">
                  <c:v>127.47920678816872</c:v>
                </c:pt>
                <c:pt idx="1471">
                  <c:v>126.53767048023505</c:v>
                </c:pt>
                <c:pt idx="1472">
                  <c:v>126.44590228673739</c:v>
                </c:pt>
                <c:pt idx="1473">
                  <c:v>126.44590228673739</c:v>
                </c:pt>
                <c:pt idx="1474">
                  <c:v>126.44590228673739</c:v>
                </c:pt>
                <c:pt idx="1475">
                  <c:v>126.12572861755714</c:v>
                </c:pt>
                <c:pt idx="1476">
                  <c:v>126.76879565387546</c:v>
                </c:pt>
                <c:pt idx="1477">
                  <c:v>126.86314775427181</c:v>
                </c:pt>
                <c:pt idx="1478">
                  <c:v>126.66201517735934</c:v>
                </c:pt>
                <c:pt idx="1479">
                  <c:v>125.59941713315283</c:v>
                </c:pt>
                <c:pt idx="1480">
                  <c:v>125.59941713315283</c:v>
                </c:pt>
                <c:pt idx="1481">
                  <c:v>125.59941713315283</c:v>
                </c:pt>
                <c:pt idx="1482">
                  <c:v>125.89447647707648</c:v>
                </c:pt>
                <c:pt idx="1483">
                  <c:v>124.73046987006737</c:v>
                </c:pt>
                <c:pt idx="1484">
                  <c:v>125.53047763292325</c:v>
                </c:pt>
                <c:pt idx="1485">
                  <c:v>124.7495366770695</c:v>
                </c:pt>
                <c:pt idx="1486">
                  <c:v>126.01347839900801</c:v>
                </c:pt>
                <c:pt idx="1487">
                  <c:v>126.01347839900801</c:v>
                </c:pt>
                <c:pt idx="1488">
                  <c:v>126.01347839900801</c:v>
                </c:pt>
                <c:pt idx="1489">
                  <c:v>124.51414432626702</c:v>
                </c:pt>
                <c:pt idx="1490">
                  <c:v>124.00264225095526</c:v>
                </c:pt>
                <c:pt idx="1491">
                  <c:v>125.59111895025076</c:v>
                </c:pt>
                <c:pt idx="1492">
                  <c:v>125.71092004231696</c:v>
                </c:pt>
                <c:pt idx="1493">
                  <c:v>126.60609263233644</c:v>
                </c:pt>
                <c:pt idx="1494">
                  <c:v>126.60609263233644</c:v>
                </c:pt>
                <c:pt idx="1495">
                  <c:v>126.60609263233644</c:v>
                </c:pt>
                <c:pt idx="1496">
                  <c:v>128.50123289888259</c:v>
                </c:pt>
                <c:pt idx="1497">
                  <c:v>128.69525020267224</c:v>
                </c:pt>
                <c:pt idx="1498">
                  <c:v>128.43275144030918</c:v>
                </c:pt>
                <c:pt idx="1499">
                  <c:v>128.9969899355884</c:v>
                </c:pt>
                <c:pt idx="1500">
                  <c:v>129.37082535377178</c:v>
                </c:pt>
                <c:pt idx="1501">
                  <c:v>129.37082535377178</c:v>
                </c:pt>
                <c:pt idx="1502">
                  <c:v>129.37082535377178</c:v>
                </c:pt>
                <c:pt idx="1503">
                  <c:v>129.18681263864829</c:v>
                </c:pt>
                <c:pt idx="1504">
                  <c:v>129.07764544129174</c:v>
                </c:pt>
                <c:pt idx="1505">
                  <c:v>127.94887761824438</c:v>
                </c:pt>
                <c:pt idx="1506">
                  <c:v>129.17719695134085</c:v>
                </c:pt>
                <c:pt idx="1507">
                  <c:v>129.90180579343837</c:v>
                </c:pt>
                <c:pt idx="1508">
                  <c:v>129.90180579343837</c:v>
                </c:pt>
                <c:pt idx="1509">
                  <c:v>129.90180579343837</c:v>
                </c:pt>
                <c:pt idx="1510">
                  <c:v>129.3865459290482</c:v>
                </c:pt>
                <c:pt idx="1511">
                  <c:v>129.36570660849449</c:v>
                </c:pt>
                <c:pt idx="1512">
                  <c:v>129.19770583360739</c:v>
                </c:pt>
                <c:pt idx="1513">
                  <c:v>129.44716131958103</c:v>
                </c:pt>
                <c:pt idx="1514">
                  <c:v>130.92317299743763</c:v>
                </c:pt>
                <c:pt idx="1515">
                  <c:v>130.92317299743763</c:v>
                </c:pt>
                <c:pt idx="1516">
                  <c:v>130.92317299743763</c:v>
                </c:pt>
                <c:pt idx="1517">
                  <c:v>130.78936879455679</c:v>
                </c:pt>
                <c:pt idx="1518">
                  <c:v>130.40465581608655</c:v>
                </c:pt>
                <c:pt idx="1519">
                  <c:v>131.59786545865515</c:v>
                </c:pt>
                <c:pt idx="1520">
                  <c:v>130.70863757345342</c:v>
                </c:pt>
                <c:pt idx="1521">
                  <c:v>130.05417023630591</c:v>
                </c:pt>
                <c:pt idx="1522">
                  <c:v>130.05620815914267</c:v>
                </c:pt>
                <c:pt idx="1523">
                  <c:v>130.05620815914267</c:v>
                </c:pt>
                <c:pt idx="1524">
                  <c:v>130.51166860267296</c:v>
                </c:pt>
                <c:pt idx="1525">
                  <c:v>130.51163252924775</c:v>
                </c:pt>
                <c:pt idx="1526">
                  <c:v>130.70945522302605</c:v>
                </c:pt>
                <c:pt idx="1527">
                  <c:v>130.95025160602563</c:v>
                </c:pt>
                <c:pt idx="1528">
                  <c:v>131.31312555662169</c:v>
                </c:pt>
                <c:pt idx="1529">
                  <c:v>131.31312555662169</c:v>
                </c:pt>
                <c:pt idx="1530">
                  <c:v>131.31312555662169</c:v>
                </c:pt>
                <c:pt idx="1531">
                  <c:v>130.28026063220349</c:v>
                </c:pt>
                <c:pt idx="1532">
                  <c:v>129.82724854657008</c:v>
                </c:pt>
                <c:pt idx="1533">
                  <c:v>129.3550842923884</c:v>
                </c:pt>
                <c:pt idx="1534">
                  <c:v>128.50679460512256</c:v>
                </c:pt>
                <c:pt idx="1535">
                  <c:v>127.52384279201132</c:v>
                </c:pt>
                <c:pt idx="1536">
                  <c:v>127.52384279201132</c:v>
                </c:pt>
                <c:pt idx="1537">
                  <c:v>127.52384279201132</c:v>
                </c:pt>
                <c:pt idx="1538">
                  <c:v>128.08680078751291</c:v>
                </c:pt>
                <c:pt idx="1539">
                  <c:v>129.10768153740639</c:v>
                </c:pt>
                <c:pt idx="1540">
                  <c:v>129.47268986855704</c:v>
                </c:pt>
                <c:pt idx="1541">
                  <c:v>130.06766756706116</c:v>
                </c:pt>
                <c:pt idx="1542">
                  <c:v>130.41564991551144</c:v>
                </c:pt>
                <c:pt idx="1543">
                  <c:v>130.41564991551144</c:v>
                </c:pt>
                <c:pt idx="1544">
                  <c:v>130.41564991551144</c:v>
                </c:pt>
                <c:pt idx="1545">
                  <c:v>130.52132809020281</c:v>
                </c:pt>
                <c:pt idx="1546">
                  <c:v>130.62287229993092</c:v>
                </c:pt>
                <c:pt idx="1547">
                  <c:v>131.10555659942008</c:v>
                </c:pt>
                <c:pt idx="1548">
                  <c:v>131.49947159564701</c:v>
                </c:pt>
                <c:pt idx="1549">
                  <c:v>131.64332801998873</c:v>
                </c:pt>
                <c:pt idx="1550">
                  <c:v>131.64332801998873</c:v>
                </c:pt>
                <c:pt idx="1551">
                  <c:v>131.64332801998873</c:v>
                </c:pt>
                <c:pt idx="1552">
                  <c:v>131.52570045432338</c:v>
                </c:pt>
                <c:pt idx="1553">
                  <c:v>132.34549948762668</c:v>
                </c:pt>
                <c:pt idx="1554">
                  <c:v>132.92627398258006</c:v>
                </c:pt>
                <c:pt idx="1555">
                  <c:v>131.36471579972971</c:v>
                </c:pt>
                <c:pt idx="1556">
                  <c:v>131.50951531637898</c:v>
                </c:pt>
                <c:pt idx="1557">
                  <c:v>131.50951531637898</c:v>
                </c:pt>
                <c:pt idx="1558">
                  <c:v>131.50951531637898</c:v>
                </c:pt>
                <c:pt idx="1559">
                  <c:v>131.59852112730749</c:v>
                </c:pt>
                <c:pt idx="1560">
                  <c:v>131.29303112341105</c:v>
                </c:pt>
                <c:pt idx="1561">
                  <c:v>130.1949640239454</c:v>
                </c:pt>
                <c:pt idx="1562">
                  <c:v>130.04194304447785</c:v>
                </c:pt>
                <c:pt idx="1563">
                  <c:v>128.48525333796584</c:v>
                </c:pt>
                <c:pt idx="1564">
                  <c:v>128.48525333796584</c:v>
                </c:pt>
                <c:pt idx="1565">
                  <c:v>128.48525333796584</c:v>
                </c:pt>
                <c:pt idx="1566">
                  <c:v>128.0579065286212</c:v>
                </c:pt>
                <c:pt idx="1567">
                  <c:v>129.29298604345723</c:v>
                </c:pt>
                <c:pt idx="1568">
                  <c:v>130.36555074858111</c:v>
                </c:pt>
                <c:pt idx="1569">
                  <c:v>130.75505159612015</c:v>
                </c:pt>
                <c:pt idx="1570">
                  <c:v>129.88709254207885</c:v>
                </c:pt>
                <c:pt idx="1571">
                  <c:v>129.88709254207885</c:v>
                </c:pt>
                <c:pt idx="1572">
                  <c:v>129.88709254207885</c:v>
                </c:pt>
                <c:pt idx="1573">
                  <c:v>130.07466933746863</c:v>
                </c:pt>
                <c:pt idx="1574">
                  <c:v>130.76894314520669</c:v>
                </c:pt>
                <c:pt idx="1575">
                  <c:v>131.85470400170988</c:v>
                </c:pt>
                <c:pt idx="1576">
                  <c:v>131.86640597483535</c:v>
                </c:pt>
                <c:pt idx="1577">
                  <c:v>131.84479506207882</c:v>
                </c:pt>
                <c:pt idx="1578">
                  <c:v>131.84479506207882</c:v>
                </c:pt>
                <c:pt idx="1579">
                  <c:v>131.84479506207882</c:v>
                </c:pt>
                <c:pt idx="1580">
                  <c:v>131.90935988012404</c:v>
                </c:pt>
                <c:pt idx="1581">
                  <c:v>133.2207989106808</c:v>
                </c:pt>
                <c:pt idx="1582">
                  <c:v>132.42751568044733</c:v>
                </c:pt>
                <c:pt idx="1583">
                  <c:v>132.1674881485003</c:v>
                </c:pt>
                <c:pt idx="1584">
                  <c:v>132.16869351599223</c:v>
                </c:pt>
                <c:pt idx="1585">
                  <c:v>132.16869351599223</c:v>
                </c:pt>
                <c:pt idx="1586">
                  <c:v>132.16869351599223</c:v>
                </c:pt>
                <c:pt idx="1587">
                  <c:v>130.81613858246163</c:v>
                </c:pt>
                <c:pt idx="1588">
                  <c:v>131.20676603755993</c:v>
                </c:pt>
                <c:pt idx="1589">
                  <c:v>130.70031316892559</c:v>
                </c:pt>
                <c:pt idx="1590">
                  <c:v>129.56552861188649</c:v>
                </c:pt>
                <c:pt idx="1591">
                  <c:v>128.93918163781564</c:v>
                </c:pt>
                <c:pt idx="1592">
                  <c:v>128.93918163781564</c:v>
                </c:pt>
                <c:pt idx="1593">
                  <c:v>128.93918163781564</c:v>
                </c:pt>
                <c:pt idx="1594">
                  <c:v>128.38967121229524</c:v>
                </c:pt>
                <c:pt idx="1595">
                  <c:v>129.60423621806686</c:v>
                </c:pt>
                <c:pt idx="1596">
                  <c:v>128.77300778470104</c:v>
                </c:pt>
                <c:pt idx="1597">
                  <c:v>128.65751127401893</c:v>
                </c:pt>
                <c:pt idx="1598">
                  <c:v>127.43796157835206</c:v>
                </c:pt>
                <c:pt idx="1599">
                  <c:v>127.43796157835206</c:v>
                </c:pt>
                <c:pt idx="1600">
                  <c:v>127.43796157835206</c:v>
                </c:pt>
                <c:pt idx="1601">
                  <c:v>126.85612190031263</c:v>
                </c:pt>
                <c:pt idx="1602">
                  <c:v>128.07672896811499</c:v>
                </c:pt>
                <c:pt idx="1603">
                  <c:v>125.79497672241625</c:v>
                </c:pt>
                <c:pt idx="1604">
                  <c:v>126.49183812316635</c:v>
                </c:pt>
                <c:pt idx="1605">
                  <c:v>127.7522685739814</c:v>
                </c:pt>
                <c:pt idx="1606">
                  <c:v>127.7522685739814</c:v>
                </c:pt>
                <c:pt idx="1607">
                  <c:v>127.7522685739814</c:v>
                </c:pt>
                <c:pt idx="1608">
                  <c:v>127.75771720823607</c:v>
                </c:pt>
                <c:pt idx="1609">
                  <c:v>128.12275039057496</c:v>
                </c:pt>
                <c:pt idx="1610">
                  <c:v>129.0419837192097</c:v>
                </c:pt>
                <c:pt idx="1611">
                  <c:v>127.74012043890139</c:v>
                </c:pt>
                <c:pt idx="1612">
                  <c:v>130.45384944112229</c:v>
                </c:pt>
                <c:pt idx="1613">
                  <c:v>130.45384944112229</c:v>
                </c:pt>
                <c:pt idx="1614">
                  <c:v>130.45848968454692</c:v>
                </c:pt>
                <c:pt idx="1615">
                  <c:v>129.88416575248417</c:v>
                </c:pt>
                <c:pt idx="1616">
                  <c:v>128.13226994103147</c:v>
                </c:pt>
                <c:pt idx="1617">
                  <c:v>126.68049544556399</c:v>
                </c:pt>
                <c:pt idx="1618">
                  <c:v>127.14934502642784</c:v>
                </c:pt>
                <c:pt idx="1619">
                  <c:v>126.66881204975635</c:v>
                </c:pt>
                <c:pt idx="1620">
                  <c:v>126.66881204975635</c:v>
                </c:pt>
                <c:pt idx="1621">
                  <c:v>126.66881204975635</c:v>
                </c:pt>
                <c:pt idx="1622">
                  <c:v>125.41893794737027</c:v>
                </c:pt>
                <c:pt idx="1623">
                  <c:v>124.83297439833325</c:v>
                </c:pt>
                <c:pt idx="1624">
                  <c:v>125.37905998982799</c:v>
                </c:pt>
                <c:pt idx="1625">
                  <c:v>124.33447814321933</c:v>
                </c:pt>
                <c:pt idx="1626">
                  <c:v>125.54054620475941</c:v>
                </c:pt>
                <c:pt idx="1627">
                  <c:v>125.54054620475941</c:v>
                </c:pt>
                <c:pt idx="1628">
                  <c:v>125.54054620475941</c:v>
                </c:pt>
                <c:pt idx="1629">
                  <c:v>126.58250888555513</c:v>
                </c:pt>
                <c:pt idx="1630">
                  <c:v>127.71966158830344</c:v>
                </c:pt>
                <c:pt idx="1631">
                  <c:v>129.58844545909056</c:v>
                </c:pt>
                <c:pt idx="1632">
                  <c:v>129.44636339160476</c:v>
                </c:pt>
                <c:pt idx="1633">
                  <c:v>129.6783235080207</c:v>
                </c:pt>
                <c:pt idx="1634">
                  <c:v>129.6783235080207</c:v>
                </c:pt>
                <c:pt idx="1635">
                  <c:v>129.6783235080207</c:v>
                </c:pt>
                <c:pt idx="1636">
                  <c:v>131.15414712045225</c:v>
                </c:pt>
                <c:pt idx="1637">
                  <c:v>130.52729849737301</c:v>
                </c:pt>
                <c:pt idx="1638">
                  <c:v>131.13138405591079</c:v>
                </c:pt>
                <c:pt idx="1639">
                  <c:v>132.60093282629634</c:v>
                </c:pt>
                <c:pt idx="1640">
                  <c:v>133.36079981983877</c:v>
                </c:pt>
                <c:pt idx="1641">
                  <c:v>133.36079981983877</c:v>
                </c:pt>
                <c:pt idx="1642">
                  <c:v>133.36079981983877</c:v>
                </c:pt>
                <c:pt idx="1643">
                  <c:v>132.92839209611091</c:v>
                </c:pt>
                <c:pt idx="1644">
                  <c:v>134.35613208924585</c:v>
                </c:pt>
                <c:pt idx="1645">
                  <c:v>133.71556638896791</c:v>
                </c:pt>
                <c:pt idx="1646">
                  <c:v>133.62868336255102</c:v>
                </c:pt>
                <c:pt idx="1647">
                  <c:v>133.80360999050674</c:v>
                </c:pt>
                <c:pt idx="1648">
                  <c:v>133.80360999050674</c:v>
                </c:pt>
                <c:pt idx="1649">
                  <c:v>133.80360999050674</c:v>
                </c:pt>
                <c:pt idx="1650">
                  <c:v>133.48534472378333</c:v>
                </c:pt>
                <c:pt idx="1651">
                  <c:v>133.25568051847915</c:v>
                </c:pt>
                <c:pt idx="1652">
                  <c:v>133.43492140178776</c:v>
                </c:pt>
                <c:pt idx="1653">
                  <c:v>132.4984257524691</c:v>
                </c:pt>
                <c:pt idx="1654">
                  <c:v>133.64523540193167</c:v>
                </c:pt>
                <c:pt idx="1655">
                  <c:v>133.64523540193167</c:v>
                </c:pt>
                <c:pt idx="1656">
                  <c:v>133.64523540193167</c:v>
                </c:pt>
                <c:pt idx="1657">
                  <c:v>134.25823268541149</c:v>
                </c:pt>
                <c:pt idx="1658">
                  <c:v>134.60016558016167</c:v>
                </c:pt>
                <c:pt idx="1659">
                  <c:v>135.02344541286493</c:v>
                </c:pt>
                <c:pt idx="1660">
                  <c:v>134.06973161041134</c:v>
                </c:pt>
                <c:pt idx="1661">
                  <c:v>133.85342886822036</c:v>
                </c:pt>
                <c:pt idx="1662">
                  <c:v>133.85342886822036</c:v>
                </c:pt>
                <c:pt idx="1663">
                  <c:v>133.85342886822036</c:v>
                </c:pt>
                <c:pt idx="1664">
                  <c:v>134.32615500735142</c:v>
                </c:pt>
                <c:pt idx="1665">
                  <c:v>135.05830911804983</c:v>
                </c:pt>
                <c:pt idx="1666">
                  <c:v>135.08495612243883</c:v>
                </c:pt>
                <c:pt idx="1667">
                  <c:v>134.46238468175909</c:v>
                </c:pt>
                <c:pt idx="1668">
                  <c:v>134.44422957057935</c:v>
                </c:pt>
                <c:pt idx="1669">
                  <c:v>134.44422957057935</c:v>
                </c:pt>
                <c:pt idx="1670">
                  <c:v>134.44422957057935</c:v>
                </c:pt>
                <c:pt idx="1671">
                  <c:v>134.1153494073192</c:v>
                </c:pt>
                <c:pt idx="1672">
                  <c:v>134.63706079882067</c:v>
                </c:pt>
                <c:pt idx="1673">
                  <c:v>135.02357821933251</c:v>
                </c:pt>
                <c:pt idx="1674">
                  <c:v>135.11060631643798</c:v>
                </c:pt>
                <c:pt idx="1675">
                  <c:v>135.64319611326462</c:v>
                </c:pt>
                <c:pt idx="1676">
                  <c:v>135.64319611326462</c:v>
                </c:pt>
                <c:pt idx="1677">
                  <c:v>135.64319611326462</c:v>
                </c:pt>
                <c:pt idx="1678">
                  <c:v>135.40935809462104</c:v>
                </c:pt>
                <c:pt idx="1679">
                  <c:v>135.360268140031</c:v>
                </c:pt>
                <c:pt idx="1680">
                  <c:v>136.39729699431879</c:v>
                </c:pt>
                <c:pt idx="1681">
                  <c:v>136.14517750260856</c:v>
                </c:pt>
                <c:pt idx="1682">
                  <c:v>137.02333159637345</c:v>
                </c:pt>
                <c:pt idx="1683">
                  <c:v>137.02333159637345</c:v>
                </c:pt>
                <c:pt idx="1684">
                  <c:v>137.02333159637345</c:v>
                </c:pt>
                <c:pt idx="1685">
                  <c:v>136.4755082059512</c:v>
                </c:pt>
                <c:pt idx="1686">
                  <c:v>136.85481868017325</c:v>
                </c:pt>
                <c:pt idx="1687">
                  <c:v>138.11082020118877</c:v>
                </c:pt>
                <c:pt idx="1688">
                  <c:v>138.5706449848584</c:v>
                </c:pt>
                <c:pt idx="1689">
                  <c:v>138.25611179204597</c:v>
                </c:pt>
                <c:pt idx="1690">
                  <c:v>138.25611179204597</c:v>
                </c:pt>
                <c:pt idx="1691">
                  <c:v>138.25611179204597</c:v>
                </c:pt>
                <c:pt idx="1692">
                  <c:v>138.00385383815356</c:v>
                </c:pt>
                <c:pt idx="1693">
                  <c:v>138.46261452931358</c:v>
                </c:pt>
                <c:pt idx="1694">
                  <c:v>138.3191575682782</c:v>
                </c:pt>
                <c:pt idx="1695">
                  <c:v>138.25926122347641</c:v>
                </c:pt>
                <c:pt idx="1696">
                  <c:v>136.99659469442688</c:v>
                </c:pt>
                <c:pt idx="1697">
                  <c:v>136.99659469442688</c:v>
                </c:pt>
                <c:pt idx="1698">
                  <c:v>136.99659469442688</c:v>
                </c:pt>
                <c:pt idx="1699">
                  <c:v>136.4274574113943</c:v>
                </c:pt>
                <c:pt idx="1700">
                  <c:v>135.63521634483345</c:v>
                </c:pt>
                <c:pt idx="1701">
                  <c:v>136.2649516653922</c:v>
                </c:pt>
                <c:pt idx="1702">
                  <c:v>135.75367330289799</c:v>
                </c:pt>
                <c:pt idx="1703">
                  <c:v>134.78393730070974</c:v>
                </c:pt>
                <c:pt idx="1704">
                  <c:v>134.78633241127557</c:v>
                </c:pt>
                <c:pt idx="1705">
                  <c:v>134.78633241127557</c:v>
                </c:pt>
                <c:pt idx="1706">
                  <c:v>134.83139283006398</c:v>
                </c:pt>
                <c:pt idx="1707">
                  <c:v>134.85351596499953</c:v>
                </c:pt>
                <c:pt idx="1708">
                  <c:v>134.46838106607927</c:v>
                </c:pt>
                <c:pt idx="1709">
                  <c:v>134.15126428301113</c:v>
                </c:pt>
                <c:pt idx="1710">
                  <c:v>134.68882315563224</c:v>
                </c:pt>
                <c:pt idx="1711">
                  <c:v>134.68882315563224</c:v>
                </c:pt>
                <c:pt idx="1712">
                  <c:v>134.68882315563224</c:v>
                </c:pt>
                <c:pt idx="1713">
                  <c:v>135.21092148149509</c:v>
                </c:pt>
                <c:pt idx="1714">
                  <c:v>135.75195581482038</c:v>
                </c:pt>
                <c:pt idx="1715">
                  <c:v>135.63400637049111</c:v>
                </c:pt>
                <c:pt idx="1716">
                  <c:v>134.99269487986984</c:v>
                </c:pt>
                <c:pt idx="1717">
                  <c:v>135.5148277246879</c:v>
                </c:pt>
                <c:pt idx="1718">
                  <c:v>135.5148277246879</c:v>
                </c:pt>
                <c:pt idx="1719">
                  <c:v>135.5148277246879</c:v>
                </c:pt>
                <c:pt idx="1720">
                  <c:v>135.75786137187765</c:v>
                </c:pt>
                <c:pt idx="1721">
                  <c:v>135.43863354875475</c:v>
                </c:pt>
                <c:pt idx="1722">
                  <c:v>134.52488732681374</c:v>
                </c:pt>
                <c:pt idx="1723">
                  <c:v>133.43835402635477</c:v>
                </c:pt>
                <c:pt idx="1724">
                  <c:v>134.7512886855921</c:v>
                </c:pt>
                <c:pt idx="1725">
                  <c:v>134.7512886855921</c:v>
                </c:pt>
                <c:pt idx="1726">
                  <c:v>134.7512886855921</c:v>
                </c:pt>
                <c:pt idx="1727">
                  <c:v>134.76196368268177</c:v>
                </c:pt>
                <c:pt idx="1728">
                  <c:v>135.00097884908902</c:v>
                </c:pt>
                <c:pt idx="1729">
                  <c:v>135.07484058463695</c:v>
                </c:pt>
                <c:pt idx="1730">
                  <c:v>135.53010628258224</c:v>
                </c:pt>
                <c:pt idx="1731">
                  <c:v>135.96821954885027</c:v>
                </c:pt>
                <c:pt idx="1732">
                  <c:v>135.96821954885027</c:v>
                </c:pt>
                <c:pt idx="1733">
                  <c:v>135.96821954885027</c:v>
                </c:pt>
                <c:pt idx="1734">
                  <c:v>135.99101326117542</c:v>
                </c:pt>
                <c:pt idx="1735">
                  <c:v>136.05659900705101</c:v>
                </c:pt>
                <c:pt idx="1736">
                  <c:v>136.67255036037776</c:v>
                </c:pt>
                <c:pt idx="1737">
                  <c:v>136.76111690646229</c:v>
                </c:pt>
                <c:pt idx="1738">
                  <c:v>137.07412617755963</c:v>
                </c:pt>
                <c:pt idx="1739">
                  <c:v>137.07412617755963</c:v>
                </c:pt>
                <c:pt idx="1740">
                  <c:v>137.07412617755963</c:v>
                </c:pt>
                <c:pt idx="1741">
                  <c:v>138.04265494311622</c:v>
                </c:pt>
                <c:pt idx="1742">
                  <c:v>137.85807948961832</c:v>
                </c:pt>
                <c:pt idx="1743">
                  <c:v>138.237395995334</c:v>
                </c:pt>
                <c:pt idx="1744">
                  <c:v>138.09787160918194</c:v>
                </c:pt>
                <c:pt idx="1745">
                  <c:v>137.54510311555572</c:v>
                </c:pt>
                <c:pt idx="1746">
                  <c:v>137.54510311555572</c:v>
                </c:pt>
                <c:pt idx="1747">
                  <c:v>137.54510311555572</c:v>
                </c:pt>
                <c:pt idx="1748">
                  <c:v>137.02441512410354</c:v>
                </c:pt>
                <c:pt idx="1749">
                  <c:v>136.91985590365479</c:v>
                </c:pt>
                <c:pt idx="1750">
                  <c:v>136.73409262755462</c:v>
                </c:pt>
                <c:pt idx="1751">
                  <c:v>137.12578931334107</c:v>
                </c:pt>
                <c:pt idx="1752">
                  <c:v>136.52580090723211</c:v>
                </c:pt>
                <c:pt idx="1753">
                  <c:v>136.52580090723211</c:v>
                </c:pt>
                <c:pt idx="1754">
                  <c:v>136.52580090723211</c:v>
                </c:pt>
                <c:pt idx="1755">
                  <c:v>136.29457398452558</c:v>
                </c:pt>
                <c:pt idx="1756">
                  <c:v>136.48077009088308</c:v>
                </c:pt>
                <c:pt idx="1757">
                  <c:v>136.59390309563452</c:v>
                </c:pt>
                <c:pt idx="1758">
                  <c:v>137.14905759816901</c:v>
                </c:pt>
                <c:pt idx="1759">
                  <c:v>140.79074223730879</c:v>
                </c:pt>
                <c:pt idx="1760">
                  <c:v>140.79074223730879</c:v>
                </c:pt>
                <c:pt idx="1761">
                  <c:v>140.79074223730879</c:v>
                </c:pt>
                <c:pt idx="1762">
                  <c:v>141.29798030762652</c:v>
                </c:pt>
                <c:pt idx="1763">
                  <c:v>142.22798807123348</c:v>
                </c:pt>
                <c:pt idx="1764">
                  <c:v>143.52129845692258</c:v>
                </c:pt>
                <c:pt idx="1765">
                  <c:v>145.50742942732259</c:v>
                </c:pt>
                <c:pt idx="1766">
                  <c:v>146.83879621524528</c:v>
                </c:pt>
                <c:pt idx="1767">
                  <c:v>146.83879621524528</c:v>
                </c:pt>
                <c:pt idx="1768">
                  <c:v>146.83879621524528</c:v>
                </c:pt>
                <c:pt idx="1769">
                  <c:v>146.44841646517929</c:v>
                </c:pt>
                <c:pt idx="1770">
                  <c:v>147.59098211420982</c:v>
                </c:pt>
                <c:pt idx="1771">
                  <c:v>148.05614018480972</c:v>
                </c:pt>
                <c:pt idx="1772">
                  <c:v>148.25738401279452</c:v>
                </c:pt>
                <c:pt idx="1773">
                  <c:v>148.89787518518972</c:v>
                </c:pt>
                <c:pt idx="1774">
                  <c:v>148.89787518518972</c:v>
                </c:pt>
                <c:pt idx="1775">
                  <c:v>148.89787518518972</c:v>
                </c:pt>
                <c:pt idx="1776">
                  <c:v>149.76933573520108</c:v>
                </c:pt>
                <c:pt idx="1777">
                  <c:v>148.58336029170147</c:v>
                </c:pt>
                <c:pt idx="1778">
                  <c:v>148.81262144496435</c:v>
                </c:pt>
                <c:pt idx="1779">
                  <c:v>148.2898025264204</c:v>
                </c:pt>
                <c:pt idx="1780">
                  <c:v>148.49791540108203</c:v>
                </c:pt>
                <c:pt idx="1781">
                  <c:v>148.49791540108203</c:v>
                </c:pt>
                <c:pt idx="1782">
                  <c:v>148.49791540108203</c:v>
                </c:pt>
                <c:pt idx="1783">
                  <c:v>148.18895360825684</c:v>
                </c:pt>
                <c:pt idx="1784">
                  <c:v>148.80741131480369</c:v>
                </c:pt>
                <c:pt idx="1785">
                  <c:v>149.2755311573919</c:v>
                </c:pt>
                <c:pt idx="1786">
                  <c:v>148.67292524392855</c:v>
                </c:pt>
                <c:pt idx="1787">
                  <c:v>149.87473770243037</c:v>
                </c:pt>
                <c:pt idx="1788">
                  <c:v>149.87473770243037</c:v>
                </c:pt>
                <c:pt idx="1789">
                  <c:v>149.87473770243037</c:v>
                </c:pt>
                <c:pt idx="1790">
                  <c:v>149.46597383906288</c:v>
                </c:pt>
                <c:pt idx="1791">
                  <c:v>149.66223013601228</c:v>
                </c:pt>
                <c:pt idx="1792">
                  <c:v>150.15456349813462</c:v>
                </c:pt>
                <c:pt idx="1793">
                  <c:v>150.077127288193</c:v>
                </c:pt>
                <c:pt idx="1794">
                  <c:v>149.73754777227802</c:v>
                </c:pt>
                <c:pt idx="1795">
                  <c:v>149.73754777227802</c:v>
                </c:pt>
                <c:pt idx="1796">
                  <c:v>149.74289939223539</c:v>
                </c:pt>
                <c:pt idx="1797">
                  <c:v>150.06108957658296</c:v>
                </c:pt>
                <c:pt idx="1798">
                  <c:v>148.82675758243809</c:v>
                </c:pt>
                <c:pt idx="1799">
                  <c:v>148.55267227260398</c:v>
                </c:pt>
                <c:pt idx="1800">
                  <c:v>150.35276522097416</c:v>
                </c:pt>
                <c:pt idx="1801">
                  <c:v>150.9956059863147</c:v>
                </c:pt>
                <c:pt idx="1802">
                  <c:v>150.9956059863147</c:v>
                </c:pt>
                <c:pt idx="1803">
                  <c:v>150.9956059863147</c:v>
                </c:pt>
                <c:pt idx="1804">
                  <c:v>150.90788508901696</c:v>
                </c:pt>
                <c:pt idx="1805">
                  <c:v>151.98410881679089</c:v>
                </c:pt>
                <c:pt idx="1806">
                  <c:v>152.30731214323632</c:v>
                </c:pt>
                <c:pt idx="1807">
                  <c:v>153.3442721087936</c:v>
                </c:pt>
                <c:pt idx="1808">
                  <c:v>153.8486336873012</c:v>
                </c:pt>
                <c:pt idx="1809">
                  <c:v>153.8486336873012</c:v>
                </c:pt>
                <c:pt idx="1810">
                  <c:v>153.8486336873012</c:v>
                </c:pt>
                <c:pt idx="1811">
                  <c:v>154.4670651940794</c:v>
                </c:pt>
                <c:pt idx="1812">
                  <c:v>153.19358927915854</c:v>
                </c:pt>
                <c:pt idx="1813">
                  <c:v>152.4689453034708</c:v>
                </c:pt>
                <c:pt idx="1814">
                  <c:v>152.0577030148194</c:v>
                </c:pt>
                <c:pt idx="1815">
                  <c:v>152.44145103991789</c:v>
                </c:pt>
                <c:pt idx="1816">
                  <c:v>152.44145103991789</c:v>
                </c:pt>
                <c:pt idx="1817">
                  <c:v>152.44145103991789</c:v>
                </c:pt>
                <c:pt idx="1818">
                  <c:v>151.90065737028124</c:v>
                </c:pt>
                <c:pt idx="1819">
                  <c:v>152.20125510015788</c:v>
                </c:pt>
                <c:pt idx="1820">
                  <c:v>151.09526793783454</c:v>
                </c:pt>
                <c:pt idx="1821">
                  <c:v>150.52681429889344</c:v>
                </c:pt>
                <c:pt idx="1822">
                  <c:v>150.59553581069346</c:v>
                </c:pt>
                <c:pt idx="1823">
                  <c:v>150.59553581069346</c:v>
                </c:pt>
                <c:pt idx="1824">
                  <c:v>150.59553581069346</c:v>
                </c:pt>
                <c:pt idx="1825">
                  <c:v>151.15755835033897</c:v>
                </c:pt>
                <c:pt idx="1826">
                  <c:v>150.93790979072452</c:v>
                </c:pt>
                <c:pt idx="1827">
                  <c:v>150.42690195023255</c:v>
                </c:pt>
                <c:pt idx="1828">
                  <c:v>149.2566558665107</c:v>
                </c:pt>
                <c:pt idx="1829">
                  <c:v>150.42036971300479</c:v>
                </c:pt>
                <c:pt idx="1830">
                  <c:v>150.42036971300479</c:v>
                </c:pt>
                <c:pt idx="1831">
                  <c:v>150.42036971300479</c:v>
                </c:pt>
                <c:pt idx="1832">
                  <c:v>150.634166697089</c:v>
                </c:pt>
                <c:pt idx="1833">
                  <c:v>150.0460894039619</c:v>
                </c:pt>
                <c:pt idx="1834">
                  <c:v>150.86422771012417</c:v>
                </c:pt>
                <c:pt idx="1835">
                  <c:v>150.657846955259</c:v>
                </c:pt>
                <c:pt idx="1836">
                  <c:v>149.16620771781049</c:v>
                </c:pt>
                <c:pt idx="1837">
                  <c:v>149.16620771781049</c:v>
                </c:pt>
                <c:pt idx="1838">
                  <c:v>149.16620771781049</c:v>
                </c:pt>
                <c:pt idx="1839">
                  <c:v>148.37862356601914</c:v>
                </c:pt>
                <c:pt idx="1840">
                  <c:v>148.4088423564946</c:v>
                </c:pt>
                <c:pt idx="1841">
                  <c:v>148.17915444344473</c:v>
                </c:pt>
                <c:pt idx="1842">
                  <c:v>148.55481823578975</c:v>
                </c:pt>
                <c:pt idx="1843">
                  <c:v>148.58571466688645</c:v>
                </c:pt>
                <c:pt idx="1844">
                  <c:v>148.58571466688645</c:v>
                </c:pt>
                <c:pt idx="1845">
                  <c:v>148.58571466688645</c:v>
                </c:pt>
                <c:pt idx="1846">
                  <c:v>149.2873780155436</c:v>
                </c:pt>
                <c:pt idx="1847">
                  <c:v>149.92737599084379</c:v>
                </c:pt>
                <c:pt idx="1848">
                  <c:v>150.49363819649736</c:v>
                </c:pt>
                <c:pt idx="1849">
                  <c:v>151.33369067503745</c:v>
                </c:pt>
                <c:pt idx="1850">
                  <c:v>151.97844635082154</c:v>
                </c:pt>
                <c:pt idx="1851">
                  <c:v>151.97844635082154</c:v>
                </c:pt>
                <c:pt idx="1852">
                  <c:v>151.97844635082154</c:v>
                </c:pt>
                <c:pt idx="1853">
                  <c:v>150.85889256642483</c:v>
                </c:pt>
                <c:pt idx="1854">
                  <c:v>150.62023681556261</c:v>
                </c:pt>
                <c:pt idx="1855">
                  <c:v>150.99403858827964</c:v>
                </c:pt>
                <c:pt idx="1856">
                  <c:v>151.10024628508225</c:v>
                </c:pt>
                <c:pt idx="1857">
                  <c:v>150.96521403898711</c:v>
                </c:pt>
                <c:pt idx="1858">
                  <c:v>150.96521403898711</c:v>
                </c:pt>
                <c:pt idx="1859">
                  <c:v>150.96521403898711</c:v>
                </c:pt>
                <c:pt idx="1860">
                  <c:v>152.29415326991162</c:v>
                </c:pt>
                <c:pt idx="1861">
                  <c:v>152.80233906113341</c:v>
                </c:pt>
                <c:pt idx="1862">
                  <c:v>152.36309956936185</c:v>
                </c:pt>
                <c:pt idx="1863">
                  <c:v>152.35747280009474</c:v>
                </c:pt>
                <c:pt idx="1864">
                  <c:v>152.87771262671794</c:v>
                </c:pt>
                <c:pt idx="1865">
                  <c:v>152.87771262671794</c:v>
                </c:pt>
                <c:pt idx="1866">
                  <c:v>152.87771262671794</c:v>
                </c:pt>
                <c:pt idx="1867">
                  <c:v>153.70989634029297</c:v>
                </c:pt>
                <c:pt idx="1868">
                  <c:v>153.59843053476388</c:v>
                </c:pt>
                <c:pt idx="1869">
                  <c:v>153.10410470577384</c:v>
                </c:pt>
                <c:pt idx="1870">
                  <c:v>152.76484744432051</c:v>
                </c:pt>
                <c:pt idx="1871">
                  <c:v>152.91756646231059</c:v>
                </c:pt>
                <c:pt idx="1872">
                  <c:v>152.91756646231059</c:v>
                </c:pt>
                <c:pt idx="1873">
                  <c:v>152.91756646231059</c:v>
                </c:pt>
                <c:pt idx="1874">
                  <c:v>152.28531349201552</c:v>
                </c:pt>
                <c:pt idx="1875">
                  <c:v>152.43365004732868</c:v>
                </c:pt>
                <c:pt idx="1876">
                  <c:v>152.72106521882941</c:v>
                </c:pt>
                <c:pt idx="1877">
                  <c:v>153.26305242555256</c:v>
                </c:pt>
                <c:pt idx="1878">
                  <c:v>153.21126637276851</c:v>
                </c:pt>
                <c:pt idx="1879">
                  <c:v>153.21126637276851</c:v>
                </c:pt>
                <c:pt idx="1880">
                  <c:v>153.21126637276851</c:v>
                </c:pt>
                <c:pt idx="1881">
                  <c:v>152.74553016891059</c:v>
                </c:pt>
                <c:pt idx="1882">
                  <c:v>153.20872487932661</c:v>
                </c:pt>
                <c:pt idx="1883">
                  <c:v>151.89294383666697</c:v>
                </c:pt>
                <c:pt idx="1884">
                  <c:v>152.01515689927794</c:v>
                </c:pt>
                <c:pt idx="1885">
                  <c:v>151.88773475446183</c:v>
                </c:pt>
                <c:pt idx="1886">
                  <c:v>151.88773475446183</c:v>
                </c:pt>
                <c:pt idx="1887">
                  <c:v>151.88773475446183</c:v>
                </c:pt>
                <c:pt idx="1888">
                  <c:v>151.45208883476172</c:v>
                </c:pt>
                <c:pt idx="1889">
                  <c:v>151.37031833747895</c:v>
                </c:pt>
                <c:pt idx="1890">
                  <c:v>150.11554467954269</c:v>
                </c:pt>
                <c:pt idx="1891">
                  <c:v>148.40979075228174</c:v>
                </c:pt>
                <c:pt idx="1892">
                  <c:v>147.38710185240359</c:v>
                </c:pt>
                <c:pt idx="1893">
                  <c:v>147.38710185240359</c:v>
                </c:pt>
                <c:pt idx="1894">
                  <c:v>147.38710185240359</c:v>
                </c:pt>
                <c:pt idx="1895">
                  <c:v>149.19888727934463</c:v>
                </c:pt>
                <c:pt idx="1896">
                  <c:v>149.26750981555989</c:v>
                </c:pt>
                <c:pt idx="1897">
                  <c:v>149.55643350023399</c:v>
                </c:pt>
                <c:pt idx="1898">
                  <c:v>148.2309178212501</c:v>
                </c:pt>
                <c:pt idx="1899">
                  <c:v>146.33978777168659</c:v>
                </c:pt>
                <c:pt idx="1900">
                  <c:v>146.33978777168659</c:v>
                </c:pt>
                <c:pt idx="1901">
                  <c:v>146.33978777168659</c:v>
                </c:pt>
                <c:pt idx="1902">
                  <c:v>146.37271276053733</c:v>
                </c:pt>
                <c:pt idx="1903">
                  <c:v>147.09398625857179</c:v>
                </c:pt>
                <c:pt idx="1904">
                  <c:v>146.89073767211914</c:v>
                </c:pt>
                <c:pt idx="1905">
                  <c:v>147.69371295178902</c:v>
                </c:pt>
                <c:pt idx="1906">
                  <c:v>147.51119306132321</c:v>
                </c:pt>
                <c:pt idx="1907">
                  <c:v>147.51119306132321</c:v>
                </c:pt>
                <c:pt idx="1908">
                  <c:v>147.51119306132321</c:v>
                </c:pt>
                <c:pt idx="1909">
                  <c:v>146.96232013817325</c:v>
                </c:pt>
                <c:pt idx="1910">
                  <c:v>147.34688525901802</c:v>
                </c:pt>
                <c:pt idx="1911">
                  <c:v>147.17399579119936</c:v>
                </c:pt>
                <c:pt idx="1912">
                  <c:v>147.11637128488726</c:v>
                </c:pt>
                <c:pt idx="1913">
                  <c:v>147.56036849342505</c:v>
                </c:pt>
                <c:pt idx="1914">
                  <c:v>147.56036849342505</c:v>
                </c:pt>
                <c:pt idx="1915">
                  <c:v>147.56036849342505</c:v>
                </c:pt>
                <c:pt idx="1916">
                  <c:v>147.34291025397997</c:v>
                </c:pt>
                <c:pt idx="1917">
                  <c:v>146.68329435392957</c:v>
                </c:pt>
                <c:pt idx="1918">
                  <c:v>146.37502180884945</c:v>
                </c:pt>
                <c:pt idx="1919">
                  <c:v>144.63494482459021</c:v>
                </c:pt>
                <c:pt idx="1920">
                  <c:v>144.2907440292461</c:v>
                </c:pt>
                <c:pt idx="1921">
                  <c:v>144.2907440292461</c:v>
                </c:pt>
                <c:pt idx="1922">
                  <c:v>144.2907440292461</c:v>
                </c:pt>
                <c:pt idx="1923">
                  <c:v>144.69335704940349</c:v>
                </c:pt>
                <c:pt idx="1924">
                  <c:v>144.95952192662944</c:v>
                </c:pt>
                <c:pt idx="1925">
                  <c:v>146.99025697010916</c:v>
                </c:pt>
                <c:pt idx="1926">
                  <c:v>147.45611172162197</c:v>
                </c:pt>
                <c:pt idx="1927">
                  <c:v>147.64297253007896</c:v>
                </c:pt>
                <c:pt idx="1928">
                  <c:v>147.64297253007896</c:v>
                </c:pt>
                <c:pt idx="1929">
                  <c:v>147.64297253007896</c:v>
                </c:pt>
                <c:pt idx="1930">
                  <c:v>146.86324489284229</c:v>
                </c:pt>
                <c:pt idx="1931">
                  <c:v>148.07062818996064</c:v>
                </c:pt>
                <c:pt idx="1932">
                  <c:v>147.26520689215906</c:v>
                </c:pt>
                <c:pt idx="1933">
                  <c:v>148.64924065018121</c:v>
                </c:pt>
                <c:pt idx="1934">
                  <c:v>148.63602424619501</c:v>
                </c:pt>
                <c:pt idx="1935">
                  <c:v>148.63602424619501</c:v>
                </c:pt>
                <c:pt idx="1936">
                  <c:v>148.63602424619501</c:v>
                </c:pt>
                <c:pt idx="1937">
                  <c:v>149.35991587055958</c:v>
                </c:pt>
                <c:pt idx="1938">
                  <c:v>149.81548751155131</c:v>
                </c:pt>
                <c:pt idx="1939">
                  <c:v>149.54366079285546</c:v>
                </c:pt>
                <c:pt idx="1940">
                  <c:v>149.97323243566598</c:v>
                </c:pt>
                <c:pt idx="1941">
                  <c:v>150.45994806555106</c:v>
                </c:pt>
                <c:pt idx="1942">
                  <c:v>150.45994806555106</c:v>
                </c:pt>
                <c:pt idx="1943">
                  <c:v>150.45994806555106</c:v>
                </c:pt>
                <c:pt idx="1944">
                  <c:v>150.46502909799722</c:v>
                </c:pt>
                <c:pt idx="1945">
                  <c:v>150.48439244259183</c:v>
                </c:pt>
                <c:pt idx="1946">
                  <c:v>150.49740482800635</c:v>
                </c:pt>
                <c:pt idx="1947">
                  <c:v>151.11302800722174</c:v>
                </c:pt>
                <c:pt idx="1948">
                  <c:v>150.71748361189171</c:v>
                </c:pt>
                <c:pt idx="1949">
                  <c:v>150.71981068983868</c:v>
                </c:pt>
                <c:pt idx="1950">
                  <c:v>150.71981068983868</c:v>
                </c:pt>
                <c:pt idx="1951">
                  <c:v>150.86854250622551</c:v>
                </c:pt>
                <c:pt idx="1952">
                  <c:v>151.50105585331201</c:v>
                </c:pt>
                <c:pt idx="1953">
                  <c:v>151.62852278166474</c:v>
                </c:pt>
                <c:pt idx="1954">
                  <c:v>151.9005746772396</c:v>
                </c:pt>
                <c:pt idx="1955">
                  <c:v>152.41116567393095</c:v>
                </c:pt>
                <c:pt idx="1956">
                  <c:v>152.41116567393095</c:v>
                </c:pt>
                <c:pt idx="1957">
                  <c:v>152.41116567393095</c:v>
                </c:pt>
                <c:pt idx="1958">
                  <c:v>153.36044795054943</c:v>
                </c:pt>
                <c:pt idx="1959">
                  <c:v>153.35237198936034</c:v>
                </c:pt>
                <c:pt idx="1960">
                  <c:v>153.66638244034064</c:v>
                </c:pt>
                <c:pt idx="1961">
                  <c:v>152.97870540229039</c:v>
                </c:pt>
                <c:pt idx="1962">
                  <c:v>153.79577537635342</c:v>
                </c:pt>
                <c:pt idx="1963">
                  <c:v>153.79577537635342</c:v>
                </c:pt>
                <c:pt idx="1964">
                  <c:v>153.79577537635342</c:v>
                </c:pt>
                <c:pt idx="1965">
                  <c:v>154.11125665038293</c:v>
                </c:pt>
                <c:pt idx="1966">
                  <c:v>151.75124926386621</c:v>
                </c:pt>
                <c:pt idx="1967">
                  <c:v>152.02945482914166</c:v>
                </c:pt>
                <c:pt idx="1968">
                  <c:v>151.32391501487601</c:v>
                </c:pt>
                <c:pt idx="1969">
                  <c:v>151.40473711788547</c:v>
                </c:pt>
                <c:pt idx="1970">
                  <c:v>151.40473711788547</c:v>
                </c:pt>
                <c:pt idx="1971">
                  <c:v>151.40473711788547</c:v>
                </c:pt>
                <c:pt idx="1972">
                  <c:v>150.2602520554903</c:v>
                </c:pt>
                <c:pt idx="1973">
                  <c:v>150.20641380717882</c:v>
                </c:pt>
                <c:pt idx="1974">
                  <c:v>150.08921074661336</c:v>
                </c:pt>
                <c:pt idx="1975">
                  <c:v>149.99890356939923</c:v>
                </c:pt>
                <c:pt idx="1976">
                  <c:v>150.30462533469822</c:v>
                </c:pt>
                <c:pt idx="1977">
                  <c:v>150.30462533469822</c:v>
                </c:pt>
                <c:pt idx="1978">
                  <c:v>150.30462533469822</c:v>
                </c:pt>
                <c:pt idx="1979">
                  <c:v>150.29766773359148</c:v>
                </c:pt>
                <c:pt idx="1980">
                  <c:v>149.89713947884823</c:v>
                </c:pt>
                <c:pt idx="1981">
                  <c:v>149.39360650688229</c:v>
                </c:pt>
                <c:pt idx="1982">
                  <c:v>150.37613389634853</c:v>
                </c:pt>
                <c:pt idx="1983">
                  <c:v>151.04171370258717</c:v>
                </c:pt>
                <c:pt idx="1984">
                  <c:v>151.04171370258717</c:v>
                </c:pt>
                <c:pt idx="1985">
                  <c:v>151.04171370258717</c:v>
                </c:pt>
                <c:pt idx="1986">
                  <c:v>151.35476728965858</c:v>
                </c:pt>
                <c:pt idx="1987">
                  <c:v>151.68503095962299</c:v>
                </c:pt>
                <c:pt idx="1988">
                  <c:v>151.54897858795408</c:v>
                </c:pt>
                <c:pt idx="1989">
                  <c:v>151.97477666015394</c:v>
                </c:pt>
                <c:pt idx="1990">
                  <c:v>152.24733430360732</c:v>
                </c:pt>
                <c:pt idx="1991">
                  <c:v>152.24733430360732</c:v>
                </c:pt>
                <c:pt idx="1992">
                  <c:v>152.24733430360732</c:v>
                </c:pt>
                <c:pt idx="1993">
                  <c:v>152.59584519903504</c:v>
                </c:pt>
                <c:pt idx="1994">
                  <c:v>152.61835156024344</c:v>
                </c:pt>
                <c:pt idx="1995">
                  <c:v>153.20726151959246</c:v>
                </c:pt>
                <c:pt idx="1996">
                  <c:v>152.78361739625635</c:v>
                </c:pt>
                <c:pt idx="1997">
                  <c:v>153.59652402231958</c:v>
                </c:pt>
                <c:pt idx="1998">
                  <c:v>153.59652402231958</c:v>
                </c:pt>
                <c:pt idx="1999">
                  <c:v>153.59652402231958</c:v>
                </c:pt>
                <c:pt idx="2000">
                  <c:v>153.34542288888267</c:v>
                </c:pt>
                <c:pt idx="2001">
                  <c:v>153.57010920286214</c:v>
                </c:pt>
                <c:pt idx="2002">
                  <c:v>153.84808645753023</c:v>
                </c:pt>
                <c:pt idx="2003">
                  <c:v>153.52537778833863</c:v>
                </c:pt>
                <c:pt idx="2004">
                  <c:v>153.79732803679155</c:v>
                </c:pt>
                <c:pt idx="2005">
                  <c:v>153.79732803679155</c:v>
                </c:pt>
                <c:pt idx="2006">
                  <c:v>153.79732803679155</c:v>
                </c:pt>
                <c:pt idx="2007">
                  <c:v>154.15665550009689</c:v>
                </c:pt>
                <c:pt idx="2008">
                  <c:v>154.08042503395211</c:v>
                </c:pt>
                <c:pt idx="2009">
                  <c:v>155.69419098795797</c:v>
                </c:pt>
                <c:pt idx="2010">
                  <c:v>155.77415241056556</c:v>
                </c:pt>
                <c:pt idx="2011">
                  <c:v>155.43714749375749</c:v>
                </c:pt>
                <c:pt idx="2012">
                  <c:v>155.43714749375749</c:v>
                </c:pt>
                <c:pt idx="2013">
                  <c:v>155.43714749375749</c:v>
                </c:pt>
                <c:pt idx="2014">
                  <c:v>155.19668156347024</c:v>
                </c:pt>
                <c:pt idx="2015">
                  <c:v>155.24367667061446</c:v>
                </c:pt>
                <c:pt idx="2016">
                  <c:v>155.28074109841958</c:v>
                </c:pt>
                <c:pt idx="2017">
                  <c:v>155.37583191865343</c:v>
                </c:pt>
                <c:pt idx="2018">
                  <c:v>155.66039343226251</c:v>
                </c:pt>
                <c:pt idx="2019">
                  <c:v>155.66039343226251</c:v>
                </c:pt>
                <c:pt idx="2020">
                  <c:v>155.66039343226251</c:v>
                </c:pt>
                <c:pt idx="2021">
                  <c:v>155.42808741770813</c:v>
                </c:pt>
                <c:pt idx="2022">
                  <c:v>155.79329368615177</c:v>
                </c:pt>
                <c:pt idx="2023">
                  <c:v>155.96977009750768</c:v>
                </c:pt>
                <c:pt idx="2024">
                  <c:v>155.8695189680798</c:v>
                </c:pt>
                <c:pt idx="2025">
                  <c:v>155.94135299459143</c:v>
                </c:pt>
                <c:pt idx="2026">
                  <c:v>155.94135299459143</c:v>
                </c:pt>
                <c:pt idx="2027">
                  <c:v>155.94135299459143</c:v>
                </c:pt>
                <c:pt idx="2028">
                  <c:v>156.06905804679931</c:v>
                </c:pt>
                <c:pt idx="2029">
                  <c:v>155.01816392306003</c:v>
                </c:pt>
                <c:pt idx="2030">
                  <c:v>154.81922291257101</c:v>
                </c:pt>
                <c:pt idx="2031">
                  <c:v>154.75143376762651</c:v>
                </c:pt>
                <c:pt idx="2032">
                  <c:v>155.11348403201191</c:v>
                </c:pt>
                <c:pt idx="2033">
                  <c:v>155.11348403201191</c:v>
                </c:pt>
                <c:pt idx="2034">
                  <c:v>155.11348403201191</c:v>
                </c:pt>
                <c:pt idx="2035">
                  <c:v>154.69917901843209</c:v>
                </c:pt>
                <c:pt idx="2036">
                  <c:v>155.3932368850983</c:v>
                </c:pt>
                <c:pt idx="2037">
                  <c:v>156.18998618251163</c:v>
                </c:pt>
                <c:pt idx="2038">
                  <c:v>155.6950966493925</c:v>
                </c:pt>
                <c:pt idx="2039">
                  <c:v>155.16930808020362</c:v>
                </c:pt>
                <c:pt idx="2040">
                  <c:v>155.16930808020362</c:v>
                </c:pt>
                <c:pt idx="2041">
                  <c:v>155.16930808020362</c:v>
                </c:pt>
                <c:pt idx="2042">
                  <c:v>155.09370804161387</c:v>
                </c:pt>
                <c:pt idx="2043">
                  <c:v>155.50452025547449</c:v>
                </c:pt>
                <c:pt idx="2044">
                  <c:v>155.43729254127763</c:v>
                </c:pt>
                <c:pt idx="2045">
                  <c:v>155.2262895253987</c:v>
                </c:pt>
                <c:pt idx="2046">
                  <c:v>156.28746456074407</c:v>
                </c:pt>
                <c:pt idx="2047">
                  <c:v>156.28746456074407</c:v>
                </c:pt>
                <c:pt idx="2048">
                  <c:v>156.28746456074407</c:v>
                </c:pt>
                <c:pt idx="2049">
                  <c:v>156.09585144056865</c:v>
                </c:pt>
                <c:pt idx="2050">
                  <c:v>155.98421949241092</c:v>
                </c:pt>
                <c:pt idx="2051">
                  <c:v>156.14257779172399</c:v>
                </c:pt>
                <c:pt idx="2052">
                  <c:v>155.99012486304551</c:v>
                </c:pt>
                <c:pt idx="2053">
                  <c:v>155.92981440106971</c:v>
                </c:pt>
                <c:pt idx="2054">
                  <c:v>155.92981440106971</c:v>
                </c:pt>
                <c:pt idx="2055">
                  <c:v>155.92981440106971</c:v>
                </c:pt>
                <c:pt idx="2056">
                  <c:v>155.85011399503489</c:v>
                </c:pt>
                <c:pt idx="2057">
                  <c:v>153.60155218834643</c:v>
                </c:pt>
                <c:pt idx="2058">
                  <c:v>153.38405392646325</c:v>
                </c:pt>
                <c:pt idx="2059">
                  <c:v>153.61161757654961</c:v>
                </c:pt>
                <c:pt idx="2060">
                  <c:v>153.83628378395235</c:v>
                </c:pt>
                <c:pt idx="2061">
                  <c:v>153.83628378395235</c:v>
                </c:pt>
                <c:pt idx="2062">
                  <c:v>153.83628378395235</c:v>
                </c:pt>
                <c:pt idx="2063">
                  <c:v>155.39956194631353</c:v>
                </c:pt>
                <c:pt idx="2064">
                  <c:v>154.85806129474227</c:v>
                </c:pt>
                <c:pt idx="2065">
                  <c:v>154.84292391925072</c:v>
                </c:pt>
                <c:pt idx="2066">
                  <c:v>154.87553538745735</c:v>
                </c:pt>
                <c:pt idx="2067">
                  <c:v>154.61485663006997</c:v>
                </c:pt>
                <c:pt idx="2068">
                  <c:v>154.61485663006997</c:v>
                </c:pt>
                <c:pt idx="2069">
                  <c:v>154.61977029021367</c:v>
                </c:pt>
                <c:pt idx="2070">
                  <c:v>154.70861017162932</c:v>
                </c:pt>
                <c:pt idx="2071">
                  <c:v>155.58401027725228</c:v>
                </c:pt>
                <c:pt idx="2072">
                  <c:v>155.69873948227081</c:v>
                </c:pt>
                <c:pt idx="2073">
                  <c:v>155.47247184610558</c:v>
                </c:pt>
                <c:pt idx="2074">
                  <c:v>155.63376987147174</c:v>
                </c:pt>
                <c:pt idx="2075">
                  <c:v>155.63376987147174</c:v>
                </c:pt>
                <c:pt idx="2076">
                  <c:v>155.63376987147174</c:v>
                </c:pt>
                <c:pt idx="2077">
                  <c:v>155.72237995834806</c:v>
                </c:pt>
                <c:pt idx="2078">
                  <c:v>155.72830986657686</c:v>
                </c:pt>
                <c:pt idx="2079">
                  <c:v>156.08071213082326</c:v>
                </c:pt>
                <c:pt idx="2080">
                  <c:v>156.53432013964633</c:v>
                </c:pt>
                <c:pt idx="2081">
                  <c:v>157.17910065773356</c:v>
                </c:pt>
                <c:pt idx="2082">
                  <c:v>157.17910065773356</c:v>
                </c:pt>
                <c:pt idx="2083">
                  <c:v>157.17910065773356</c:v>
                </c:pt>
                <c:pt idx="2084">
                  <c:v>157.17112696195719</c:v>
                </c:pt>
                <c:pt idx="2085">
                  <c:v>158.1549207706403</c:v>
                </c:pt>
                <c:pt idx="2086">
                  <c:v>157.31531425344994</c:v>
                </c:pt>
                <c:pt idx="2087">
                  <c:v>156.67910437900557</c:v>
                </c:pt>
                <c:pt idx="2088">
                  <c:v>157.21192457605829</c:v>
                </c:pt>
                <c:pt idx="2089">
                  <c:v>157.21192457605829</c:v>
                </c:pt>
                <c:pt idx="2090">
                  <c:v>157.21192457605829</c:v>
                </c:pt>
                <c:pt idx="2091">
                  <c:v>157.91035741641838</c:v>
                </c:pt>
                <c:pt idx="2092">
                  <c:v>158.08286500727439</c:v>
                </c:pt>
                <c:pt idx="2093">
                  <c:v>158.19887095610267</c:v>
                </c:pt>
                <c:pt idx="2094">
                  <c:v>158.55067676931228</c:v>
                </c:pt>
                <c:pt idx="2095">
                  <c:v>159.91354350567241</c:v>
                </c:pt>
                <c:pt idx="2096">
                  <c:v>159.91354350567241</c:v>
                </c:pt>
                <c:pt idx="2097">
                  <c:v>159.91354350567241</c:v>
                </c:pt>
                <c:pt idx="2098">
                  <c:v>159.65110779028981</c:v>
                </c:pt>
                <c:pt idx="2099">
                  <c:v>159.54447042935237</c:v>
                </c:pt>
                <c:pt idx="2100">
                  <c:v>159.59978130636082</c:v>
                </c:pt>
                <c:pt idx="2101">
                  <c:v>160.19172412724362</c:v>
                </c:pt>
                <c:pt idx="2102">
                  <c:v>160.76095580742631</c:v>
                </c:pt>
                <c:pt idx="2103">
                  <c:v>160.76095580742631</c:v>
                </c:pt>
                <c:pt idx="2104">
                  <c:v>160.76095580742631</c:v>
                </c:pt>
                <c:pt idx="2105">
                  <c:v>160.40478347939671</c:v>
                </c:pt>
                <c:pt idx="2106">
                  <c:v>160.24417337779445</c:v>
                </c:pt>
                <c:pt idx="2107">
                  <c:v>159.53617295632628</c:v>
                </c:pt>
                <c:pt idx="2108">
                  <c:v>159.02234523191547</c:v>
                </c:pt>
                <c:pt idx="2109">
                  <c:v>160.66031991406086</c:v>
                </c:pt>
                <c:pt idx="2110">
                  <c:v>160.66031991406086</c:v>
                </c:pt>
                <c:pt idx="2111">
                  <c:v>160.66031991406086</c:v>
                </c:pt>
                <c:pt idx="2112">
                  <c:v>160.83460101589725</c:v>
                </c:pt>
                <c:pt idx="2113">
                  <c:v>160.7623026460486</c:v>
                </c:pt>
                <c:pt idx="2114">
                  <c:v>161.00452642269147</c:v>
                </c:pt>
                <c:pt idx="2115">
                  <c:v>159.93434704605775</c:v>
                </c:pt>
                <c:pt idx="2116">
                  <c:v>160.37737798212308</c:v>
                </c:pt>
                <c:pt idx="2117">
                  <c:v>160.37737798212308</c:v>
                </c:pt>
                <c:pt idx="2118">
                  <c:v>160.37737798212308</c:v>
                </c:pt>
                <c:pt idx="2119">
                  <c:v>161.44466537598743</c:v>
                </c:pt>
                <c:pt idx="2120">
                  <c:v>161.7678340060105</c:v>
                </c:pt>
                <c:pt idx="2121">
                  <c:v>161.29895802753578</c:v>
                </c:pt>
                <c:pt idx="2122">
                  <c:v>161.45555512093682</c:v>
                </c:pt>
                <c:pt idx="2123">
                  <c:v>161.08200509038682</c:v>
                </c:pt>
                <c:pt idx="2124">
                  <c:v>161.08200509038682</c:v>
                </c:pt>
                <c:pt idx="2125">
                  <c:v>161.08200509038682</c:v>
                </c:pt>
                <c:pt idx="2126">
                  <c:v>161.36955741013381</c:v>
                </c:pt>
                <c:pt idx="2127">
                  <c:v>160.43230042895772</c:v>
                </c:pt>
                <c:pt idx="2128">
                  <c:v>159.1202128815145</c:v>
                </c:pt>
                <c:pt idx="2129">
                  <c:v>157.68981923103954</c:v>
                </c:pt>
                <c:pt idx="2130">
                  <c:v>157.28132690811793</c:v>
                </c:pt>
                <c:pt idx="2131">
                  <c:v>157.28132690811793</c:v>
                </c:pt>
                <c:pt idx="2132">
                  <c:v>157.28132690811793</c:v>
                </c:pt>
                <c:pt idx="2133">
                  <c:v>157.58147944676284</c:v>
                </c:pt>
                <c:pt idx="2134">
                  <c:v>157.32514953322078</c:v>
                </c:pt>
                <c:pt idx="2135">
                  <c:v>157.45626903259625</c:v>
                </c:pt>
                <c:pt idx="2136">
                  <c:v>156.6216705040263</c:v>
                </c:pt>
                <c:pt idx="2137">
                  <c:v>156.8538574318984</c:v>
                </c:pt>
                <c:pt idx="2138">
                  <c:v>156.8538574318984</c:v>
                </c:pt>
                <c:pt idx="2139">
                  <c:v>156.8538574318984</c:v>
                </c:pt>
                <c:pt idx="2140">
                  <c:v>157.01493065809524</c:v>
                </c:pt>
                <c:pt idx="2141">
                  <c:v>156.58734916907642</c:v>
                </c:pt>
                <c:pt idx="2142">
                  <c:v>157.68036801311388</c:v>
                </c:pt>
                <c:pt idx="2143">
                  <c:v>157.7916383184097</c:v>
                </c:pt>
                <c:pt idx="2144">
                  <c:v>156.83089237018041</c:v>
                </c:pt>
                <c:pt idx="2145">
                  <c:v>156.83089237018041</c:v>
                </c:pt>
                <c:pt idx="2146">
                  <c:v>156.83089237018041</c:v>
                </c:pt>
                <c:pt idx="2147">
                  <c:v>157.09980402809185</c:v>
                </c:pt>
                <c:pt idx="2148">
                  <c:v>157.58858393537034</c:v>
                </c:pt>
                <c:pt idx="2149">
                  <c:v>157.87143968467592</c:v>
                </c:pt>
                <c:pt idx="2150">
                  <c:v>158.914887807843</c:v>
                </c:pt>
                <c:pt idx="2151">
                  <c:v>158.57970929392533</c:v>
                </c:pt>
                <c:pt idx="2152">
                  <c:v>158.57970929392533</c:v>
                </c:pt>
                <c:pt idx="2153">
                  <c:v>158.57970929392533</c:v>
                </c:pt>
                <c:pt idx="2154">
                  <c:v>157.60202574120095</c:v>
                </c:pt>
                <c:pt idx="2155">
                  <c:v>158.07902560832952</c:v>
                </c:pt>
                <c:pt idx="2156">
                  <c:v>158.00597887138616</c:v>
                </c:pt>
                <c:pt idx="2157">
                  <c:v>158.32872662400823</c:v>
                </c:pt>
                <c:pt idx="2158">
                  <c:v>157.54010231970491</c:v>
                </c:pt>
                <c:pt idx="2159">
                  <c:v>157.54010231970491</c:v>
                </c:pt>
                <c:pt idx="2160">
                  <c:v>157.54010231970491</c:v>
                </c:pt>
                <c:pt idx="2161">
                  <c:v>157.36868450977187</c:v>
                </c:pt>
                <c:pt idx="2162">
                  <c:v>157.79491601807976</c:v>
                </c:pt>
                <c:pt idx="2163">
                  <c:v>157.63524807640854</c:v>
                </c:pt>
                <c:pt idx="2164">
                  <c:v>158.30998841592231</c:v>
                </c:pt>
                <c:pt idx="2165">
                  <c:v>158.96073745430479</c:v>
                </c:pt>
                <c:pt idx="2166">
                  <c:v>158.96073745430479</c:v>
                </c:pt>
                <c:pt idx="2167">
                  <c:v>158.96073745430479</c:v>
                </c:pt>
                <c:pt idx="2168">
                  <c:v>158.87503536231367</c:v>
                </c:pt>
                <c:pt idx="2169">
                  <c:v>159.10838465925244</c:v>
                </c:pt>
                <c:pt idx="2170">
                  <c:v>158.51670035380084</c:v>
                </c:pt>
                <c:pt idx="2171">
                  <c:v>158.02847684254616</c:v>
                </c:pt>
                <c:pt idx="2172">
                  <c:v>157.82590645922076</c:v>
                </c:pt>
                <c:pt idx="2173">
                  <c:v>157.82590645922076</c:v>
                </c:pt>
                <c:pt idx="2174">
                  <c:v>157.82590645922076</c:v>
                </c:pt>
                <c:pt idx="2175">
                  <c:v>158.42359790175902</c:v>
                </c:pt>
                <c:pt idx="2176">
                  <c:v>159.30851251373878</c:v>
                </c:pt>
                <c:pt idx="2177">
                  <c:v>159.7312567687155</c:v>
                </c:pt>
                <c:pt idx="2178">
                  <c:v>159.26249185216378</c:v>
                </c:pt>
                <c:pt idx="2179">
                  <c:v>158.63404683718991</c:v>
                </c:pt>
                <c:pt idx="2180">
                  <c:v>158.63404683718991</c:v>
                </c:pt>
                <c:pt idx="2181">
                  <c:v>158.63404683718991</c:v>
                </c:pt>
                <c:pt idx="2182">
                  <c:v>158.30299027216444</c:v>
                </c:pt>
                <c:pt idx="2183">
                  <c:v>159.45959624393015</c:v>
                </c:pt>
                <c:pt idx="2184">
                  <c:v>159.55648548920394</c:v>
                </c:pt>
                <c:pt idx="2185">
                  <c:v>159.51873602030204</c:v>
                </c:pt>
                <c:pt idx="2186">
                  <c:v>159.18408166400505</c:v>
                </c:pt>
                <c:pt idx="2187">
                  <c:v>159.18408166400505</c:v>
                </c:pt>
                <c:pt idx="2188">
                  <c:v>159.18408166400505</c:v>
                </c:pt>
                <c:pt idx="2189">
                  <c:v>159.00744782330904</c:v>
                </c:pt>
                <c:pt idx="2190">
                  <c:v>158.48912170519253</c:v>
                </c:pt>
                <c:pt idx="2191">
                  <c:v>158.83967428414493</c:v>
                </c:pt>
                <c:pt idx="2192">
                  <c:v>159.98347401347482</c:v>
                </c:pt>
                <c:pt idx="2193">
                  <c:v>159.6214186131044</c:v>
                </c:pt>
                <c:pt idx="2194">
                  <c:v>159.6214186131044</c:v>
                </c:pt>
                <c:pt idx="2195">
                  <c:v>159.6214186131044</c:v>
                </c:pt>
                <c:pt idx="2196">
                  <c:v>159.4732372615633</c:v>
                </c:pt>
                <c:pt idx="2197">
                  <c:v>158.83109116127929</c:v>
                </c:pt>
                <c:pt idx="2198">
                  <c:v>158.57772856959156</c:v>
                </c:pt>
                <c:pt idx="2199">
                  <c:v>158.91631897830149</c:v>
                </c:pt>
                <c:pt idx="2200">
                  <c:v>158.6083741137117</c:v>
                </c:pt>
                <c:pt idx="2201">
                  <c:v>158.6083741137117</c:v>
                </c:pt>
                <c:pt idx="2202">
                  <c:v>158.6083741137117</c:v>
                </c:pt>
                <c:pt idx="2203">
                  <c:v>158.99504388287977</c:v>
                </c:pt>
                <c:pt idx="2204">
                  <c:v>158.50460300066732</c:v>
                </c:pt>
                <c:pt idx="2205">
                  <c:v>158.58919849233482</c:v>
                </c:pt>
                <c:pt idx="2206">
                  <c:v>157.22277651331302</c:v>
                </c:pt>
                <c:pt idx="2207">
                  <c:v>155.55901836437715</c:v>
                </c:pt>
                <c:pt idx="2208">
                  <c:v>155.55901836437715</c:v>
                </c:pt>
                <c:pt idx="2209">
                  <c:v>155.55901836437715</c:v>
                </c:pt>
                <c:pt idx="2210">
                  <c:v>156.29819748548027</c:v>
                </c:pt>
                <c:pt idx="2211">
                  <c:v>156.65714098495161</c:v>
                </c:pt>
                <c:pt idx="2212">
                  <c:v>156.35974620164859</c:v>
                </c:pt>
                <c:pt idx="2213">
                  <c:v>156.05958865125513</c:v>
                </c:pt>
                <c:pt idx="2214">
                  <c:v>156.53928305425546</c:v>
                </c:pt>
                <c:pt idx="2215">
                  <c:v>156.53928305425546</c:v>
                </c:pt>
                <c:pt idx="2216">
                  <c:v>156.53928305425546</c:v>
                </c:pt>
                <c:pt idx="2217">
                  <c:v>156.67900219134555</c:v>
                </c:pt>
                <c:pt idx="2218">
                  <c:v>156.65677257451463</c:v>
                </c:pt>
                <c:pt idx="2219">
                  <c:v>156.9976154143082</c:v>
                </c:pt>
                <c:pt idx="2220">
                  <c:v>156.91129027547265</c:v>
                </c:pt>
                <c:pt idx="2221">
                  <c:v>157.73419113885464</c:v>
                </c:pt>
                <c:pt idx="2222">
                  <c:v>157.73643727373647</c:v>
                </c:pt>
                <c:pt idx="2223">
                  <c:v>157.73643727373647</c:v>
                </c:pt>
                <c:pt idx="2224">
                  <c:v>159.04198706303501</c:v>
                </c:pt>
                <c:pt idx="2225">
                  <c:v>159.46262131041931</c:v>
                </c:pt>
                <c:pt idx="2226">
                  <c:v>159.11408385902112</c:v>
                </c:pt>
                <c:pt idx="2227">
                  <c:v>160.23582382995968</c:v>
                </c:pt>
                <c:pt idx="2228">
                  <c:v>160.68571314545233</c:v>
                </c:pt>
                <c:pt idx="2229">
                  <c:v>160.68571314545233</c:v>
                </c:pt>
                <c:pt idx="2230">
                  <c:v>160.68571314545233</c:v>
                </c:pt>
                <c:pt idx="2231">
                  <c:v>160.22584348928709</c:v>
                </c:pt>
                <c:pt idx="2232">
                  <c:v>160.4472211282025</c:v>
                </c:pt>
                <c:pt idx="2233">
                  <c:v>160.82693552172449</c:v>
                </c:pt>
                <c:pt idx="2234">
                  <c:v>161.18827343910795</c:v>
                </c:pt>
                <c:pt idx="2235">
                  <c:v>160.39563494011935</c:v>
                </c:pt>
                <c:pt idx="2236">
                  <c:v>160.39563494011935</c:v>
                </c:pt>
                <c:pt idx="2237">
                  <c:v>160.39563494011935</c:v>
                </c:pt>
                <c:pt idx="2238">
                  <c:v>160.20716846510837</c:v>
                </c:pt>
                <c:pt idx="2239">
                  <c:v>160.61698481032886</c:v>
                </c:pt>
                <c:pt idx="2240">
                  <c:v>161.11891449403097</c:v>
                </c:pt>
                <c:pt idx="2241">
                  <c:v>160.79293226147007</c:v>
                </c:pt>
                <c:pt idx="2242">
                  <c:v>160.8346789304731</c:v>
                </c:pt>
                <c:pt idx="2243">
                  <c:v>160.8346789304731</c:v>
                </c:pt>
                <c:pt idx="2244">
                  <c:v>160.8346789304731</c:v>
                </c:pt>
                <c:pt idx="2245">
                  <c:v>160.8145713789132</c:v>
                </c:pt>
                <c:pt idx="2246">
                  <c:v>160.84035317099668</c:v>
                </c:pt>
                <c:pt idx="2247">
                  <c:v>159.26218923408638</c:v>
                </c:pt>
                <c:pt idx="2248">
                  <c:v>160.28466204470055</c:v>
                </c:pt>
                <c:pt idx="2249">
                  <c:v>161.0117902083731</c:v>
                </c:pt>
                <c:pt idx="2250">
                  <c:v>161.0117902083731</c:v>
                </c:pt>
                <c:pt idx="2251">
                  <c:v>161.0117902083731</c:v>
                </c:pt>
                <c:pt idx="2252">
                  <c:v>160.70580018202531</c:v>
                </c:pt>
                <c:pt idx="2253">
                  <c:v>160.23089847190741</c:v>
                </c:pt>
                <c:pt idx="2254">
                  <c:v>160.43168861770951</c:v>
                </c:pt>
                <c:pt idx="2255">
                  <c:v>161.65483906353356</c:v>
                </c:pt>
                <c:pt idx="2256">
                  <c:v>162.12180978058799</c:v>
                </c:pt>
                <c:pt idx="2257">
                  <c:v>162.12180978058799</c:v>
                </c:pt>
                <c:pt idx="2258">
                  <c:v>162.12180978058799</c:v>
                </c:pt>
                <c:pt idx="2259">
                  <c:v>161.57973281253322</c:v>
                </c:pt>
                <c:pt idx="2260">
                  <c:v>160.82258311095231</c:v>
                </c:pt>
                <c:pt idx="2261">
                  <c:v>161.20114017288552</c:v>
                </c:pt>
                <c:pt idx="2262">
                  <c:v>160.93112665108453</c:v>
                </c:pt>
                <c:pt idx="2263">
                  <c:v>159.62882530419722</c:v>
                </c:pt>
                <c:pt idx="2264">
                  <c:v>159.62882530419722</c:v>
                </c:pt>
                <c:pt idx="2265">
                  <c:v>159.62882530419722</c:v>
                </c:pt>
                <c:pt idx="2266">
                  <c:v>160.03685414084552</c:v>
                </c:pt>
                <c:pt idx="2267">
                  <c:v>160.16513328165064</c:v>
                </c:pt>
                <c:pt idx="2268">
                  <c:v>159.61620252365711</c:v>
                </c:pt>
                <c:pt idx="2269">
                  <c:v>160.19503312432687</c:v>
                </c:pt>
                <c:pt idx="2270">
                  <c:v>160.0207201029333</c:v>
                </c:pt>
                <c:pt idx="2271">
                  <c:v>160.0207201029333</c:v>
                </c:pt>
                <c:pt idx="2272">
                  <c:v>160.0207201029333</c:v>
                </c:pt>
                <c:pt idx="2273">
                  <c:v>160.02795623989635</c:v>
                </c:pt>
                <c:pt idx="2274">
                  <c:v>160.88138373024418</c:v>
                </c:pt>
                <c:pt idx="2275">
                  <c:v>160.569536082463</c:v>
                </c:pt>
                <c:pt idx="2276">
                  <c:v>160.54614270675114</c:v>
                </c:pt>
                <c:pt idx="2277">
                  <c:v>160.49591263508248</c:v>
                </c:pt>
                <c:pt idx="2278">
                  <c:v>160.49591263508248</c:v>
                </c:pt>
                <c:pt idx="2279">
                  <c:v>160.49591263508248</c:v>
                </c:pt>
                <c:pt idx="2280">
                  <c:v>160.19175041121122</c:v>
                </c:pt>
                <c:pt idx="2281">
                  <c:v>161.68697219996196</c:v>
                </c:pt>
                <c:pt idx="2282">
                  <c:v>159.9976925843323</c:v>
                </c:pt>
                <c:pt idx="2283">
                  <c:v>158.6755468517309</c:v>
                </c:pt>
                <c:pt idx="2284">
                  <c:v>158.40588728038921</c:v>
                </c:pt>
                <c:pt idx="2285">
                  <c:v>158.40588728038921</c:v>
                </c:pt>
                <c:pt idx="2286">
                  <c:v>158.40588728038921</c:v>
                </c:pt>
                <c:pt idx="2287">
                  <c:v>158.70251814491047</c:v>
                </c:pt>
                <c:pt idx="2288">
                  <c:v>158.47319459321625</c:v>
                </c:pt>
                <c:pt idx="2289">
                  <c:v>159.01681311628909</c:v>
                </c:pt>
                <c:pt idx="2290">
                  <c:v>158.50864626694963</c:v>
                </c:pt>
                <c:pt idx="2291">
                  <c:v>159.18899232319725</c:v>
                </c:pt>
                <c:pt idx="2292">
                  <c:v>159.18899232319725</c:v>
                </c:pt>
                <c:pt idx="2293">
                  <c:v>159.18899232319725</c:v>
                </c:pt>
                <c:pt idx="2294">
                  <c:v>159.72624880472833</c:v>
                </c:pt>
                <c:pt idx="2295">
                  <c:v>160.17774699222466</c:v>
                </c:pt>
                <c:pt idx="2296">
                  <c:v>160.04956475019412</c:v>
                </c:pt>
                <c:pt idx="2297">
                  <c:v>159.0253563694969</c:v>
                </c:pt>
                <c:pt idx="2298">
                  <c:v>160.06557303058105</c:v>
                </c:pt>
                <c:pt idx="2299">
                  <c:v>160.06557303058105</c:v>
                </c:pt>
                <c:pt idx="2300">
                  <c:v>160.06557303058105</c:v>
                </c:pt>
                <c:pt idx="2301">
                  <c:v>160.37504060816693</c:v>
                </c:pt>
                <c:pt idx="2302">
                  <c:v>160.24040415782596</c:v>
                </c:pt>
                <c:pt idx="2303">
                  <c:v>159.38862545827249</c:v>
                </c:pt>
                <c:pt idx="2304">
                  <c:v>160.13861747816262</c:v>
                </c:pt>
                <c:pt idx="2305">
                  <c:v>160.06879864232829</c:v>
                </c:pt>
                <c:pt idx="2306">
                  <c:v>160.06879864232829</c:v>
                </c:pt>
                <c:pt idx="2307">
                  <c:v>160.06879864232829</c:v>
                </c:pt>
                <c:pt idx="2308">
                  <c:v>160.07348545675254</c:v>
                </c:pt>
                <c:pt idx="2309">
                  <c:v>159.99739772691038</c:v>
                </c:pt>
                <c:pt idx="2310">
                  <c:v>160.20124401145833</c:v>
                </c:pt>
                <c:pt idx="2311">
                  <c:v>160.1981168831752</c:v>
                </c:pt>
                <c:pt idx="2312">
                  <c:v>160.05070417800047</c:v>
                </c:pt>
                <c:pt idx="2313">
                  <c:v>160.05070417800047</c:v>
                </c:pt>
                <c:pt idx="2314">
                  <c:v>160.05519840177379</c:v>
                </c:pt>
                <c:pt idx="2315">
                  <c:v>160.06012169967664</c:v>
                </c:pt>
                <c:pt idx="2316">
                  <c:v>159.91320251396851</c:v>
                </c:pt>
                <c:pt idx="2317">
                  <c:v>160.62423578023055</c:v>
                </c:pt>
                <c:pt idx="2318">
                  <c:v>161.31514326177327</c:v>
                </c:pt>
                <c:pt idx="2319">
                  <c:v>161.89550030008044</c:v>
                </c:pt>
                <c:pt idx="2320">
                  <c:v>161.89550030008044</c:v>
                </c:pt>
                <c:pt idx="2321">
                  <c:v>161.89550030008044</c:v>
                </c:pt>
                <c:pt idx="2322">
                  <c:v>161.68456827169447</c:v>
                </c:pt>
                <c:pt idx="2323">
                  <c:v>161.86079313319084</c:v>
                </c:pt>
                <c:pt idx="2324">
                  <c:v>161.66718820130836</c:v>
                </c:pt>
                <c:pt idx="2325">
                  <c:v>161.67220958417388</c:v>
                </c:pt>
                <c:pt idx="2326">
                  <c:v>161.33641317142337</c:v>
                </c:pt>
                <c:pt idx="2327">
                  <c:v>161.33641317142337</c:v>
                </c:pt>
                <c:pt idx="2328">
                  <c:v>161.33641317142337</c:v>
                </c:pt>
                <c:pt idx="2329">
                  <c:v>161.11862030719087</c:v>
                </c:pt>
                <c:pt idx="2330">
                  <c:v>161.26232844938767</c:v>
                </c:pt>
                <c:pt idx="2331">
                  <c:v>160.82809737757199</c:v>
                </c:pt>
                <c:pt idx="2332">
                  <c:v>159.9666168491261</c:v>
                </c:pt>
                <c:pt idx="2333">
                  <c:v>160.43418967217906</c:v>
                </c:pt>
                <c:pt idx="2334">
                  <c:v>160.43418967217906</c:v>
                </c:pt>
                <c:pt idx="2335">
                  <c:v>160.43418967217906</c:v>
                </c:pt>
                <c:pt idx="2336">
                  <c:v>159.63015447853417</c:v>
                </c:pt>
                <c:pt idx="2337">
                  <c:v>160.09707108408233</c:v>
                </c:pt>
                <c:pt idx="2338">
                  <c:v>158.62100010324775</c:v>
                </c:pt>
                <c:pt idx="2339">
                  <c:v>158.22202704652804</c:v>
                </c:pt>
                <c:pt idx="2340">
                  <c:v>159.17941112776361</c:v>
                </c:pt>
                <c:pt idx="2341">
                  <c:v>159.17941112776361</c:v>
                </c:pt>
                <c:pt idx="2342">
                  <c:v>159.17941112776361</c:v>
                </c:pt>
                <c:pt idx="2343">
                  <c:v>159.36095842974308</c:v>
                </c:pt>
                <c:pt idx="2344">
                  <c:v>158.05767263951296</c:v>
                </c:pt>
                <c:pt idx="2345">
                  <c:v>157.53222097085998</c:v>
                </c:pt>
                <c:pt idx="2346">
                  <c:v>156.45765273324028</c:v>
                </c:pt>
                <c:pt idx="2347">
                  <c:v>155.42870428631053</c:v>
                </c:pt>
                <c:pt idx="2348">
                  <c:v>155.42870428631053</c:v>
                </c:pt>
                <c:pt idx="2349">
                  <c:v>155.42870428631053</c:v>
                </c:pt>
                <c:pt idx="2350">
                  <c:v>153.50912870263375</c:v>
                </c:pt>
                <c:pt idx="2351">
                  <c:v>152.38575350406174</c:v>
                </c:pt>
                <c:pt idx="2352">
                  <c:v>153.73570384563092</c:v>
                </c:pt>
                <c:pt idx="2353">
                  <c:v>151.11090038073664</c:v>
                </c:pt>
                <c:pt idx="2354">
                  <c:v>151.48399017155867</c:v>
                </c:pt>
                <c:pt idx="2355">
                  <c:v>151.48399017155867</c:v>
                </c:pt>
                <c:pt idx="2356">
                  <c:v>151.48399017155867</c:v>
                </c:pt>
                <c:pt idx="2357">
                  <c:v>152.75113254158512</c:v>
                </c:pt>
                <c:pt idx="2358">
                  <c:v>152.50013646312675</c:v>
                </c:pt>
                <c:pt idx="2359">
                  <c:v>153.0768096291566</c:v>
                </c:pt>
                <c:pt idx="2360">
                  <c:v>153.62681766769035</c:v>
                </c:pt>
                <c:pt idx="2361">
                  <c:v>154.4104772822223</c:v>
                </c:pt>
                <c:pt idx="2362">
                  <c:v>154.4104772822223</c:v>
                </c:pt>
                <c:pt idx="2363">
                  <c:v>154.4104772822223</c:v>
                </c:pt>
                <c:pt idx="2364">
                  <c:v>154.2651229794327</c:v>
                </c:pt>
                <c:pt idx="2365">
                  <c:v>154.15509955107254</c:v>
                </c:pt>
                <c:pt idx="2366">
                  <c:v>154.39525469756117</c:v>
                </c:pt>
                <c:pt idx="2367">
                  <c:v>154.31155085417944</c:v>
                </c:pt>
                <c:pt idx="2368">
                  <c:v>154.65341266394179</c:v>
                </c:pt>
                <c:pt idx="2369">
                  <c:v>154.65341266394179</c:v>
                </c:pt>
                <c:pt idx="2370">
                  <c:v>154.65341266394179</c:v>
                </c:pt>
                <c:pt idx="2371">
                  <c:v>155.30178008465998</c:v>
                </c:pt>
                <c:pt idx="2372">
                  <c:v>154.82762200781229</c:v>
                </c:pt>
                <c:pt idx="2373">
                  <c:v>154.52916389742029</c:v>
                </c:pt>
                <c:pt idx="2374">
                  <c:v>153.87775547876055</c:v>
                </c:pt>
                <c:pt idx="2375">
                  <c:v>153.02889345699464</c:v>
                </c:pt>
                <c:pt idx="2376">
                  <c:v>153.02889345699464</c:v>
                </c:pt>
                <c:pt idx="2377">
                  <c:v>153.02889345699464</c:v>
                </c:pt>
                <c:pt idx="2378">
                  <c:v>153.52071454796499</c:v>
                </c:pt>
                <c:pt idx="2379">
                  <c:v>154.15917956604136</c:v>
                </c:pt>
                <c:pt idx="2380">
                  <c:v>154.35518679649238</c:v>
                </c:pt>
                <c:pt idx="2381">
                  <c:v>155.59514053465099</c:v>
                </c:pt>
                <c:pt idx="2382">
                  <c:v>156.26740023099077</c:v>
                </c:pt>
                <c:pt idx="2383">
                  <c:v>156.26740023099077</c:v>
                </c:pt>
                <c:pt idx="2384">
                  <c:v>156.26740023099077</c:v>
                </c:pt>
                <c:pt idx="2385">
                  <c:v>156.32502383482597</c:v>
                </c:pt>
                <c:pt idx="2386">
                  <c:v>154.99971435200646</c:v>
                </c:pt>
                <c:pt idx="2387">
                  <c:v>155.22159334310706</c:v>
                </c:pt>
                <c:pt idx="2388">
                  <c:v>155.53756707516408</c:v>
                </c:pt>
                <c:pt idx="2389">
                  <c:v>155.7228029852966</c:v>
                </c:pt>
                <c:pt idx="2390">
                  <c:v>155.7228029852966</c:v>
                </c:pt>
                <c:pt idx="2391">
                  <c:v>155.7228029852966</c:v>
                </c:pt>
                <c:pt idx="2392">
                  <c:v>153.69943431698744</c:v>
                </c:pt>
                <c:pt idx="2393">
                  <c:v>153.75650599093802</c:v>
                </c:pt>
                <c:pt idx="2394">
                  <c:v>153.25934509177173</c:v>
                </c:pt>
                <c:pt idx="2395">
                  <c:v>151.91923618272858</c:v>
                </c:pt>
                <c:pt idx="2396">
                  <c:v>150.73240209147534</c:v>
                </c:pt>
                <c:pt idx="2397">
                  <c:v>150.73240209147534</c:v>
                </c:pt>
                <c:pt idx="2398">
                  <c:v>150.73240209147534</c:v>
                </c:pt>
                <c:pt idx="2399">
                  <c:v>151.00407162173687</c:v>
                </c:pt>
                <c:pt idx="2400">
                  <c:v>152.23557173748151</c:v>
                </c:pt>
                <c:pt idx="2401">
                  <c:v>152.55385673673595</c:v>
                </c:pt>
                <c:pt idx="2402">
                  <c:v>153.34536106487457</c:v>
                </c:pt>
                <c:pt idx="2403">
                  <c:v>153.44469665631877</c:v>
                </c:pt>
                <c:pt idx="2404">
                  <c:v>153.44703975683672</c:v>
                </c:pt>
                <c:pt idx="2405">
                  <c:v>153.44703975683672</c:v>
                </c:pt>
                <c:pt idx="2406">
                  <c:v>152.90093094916452</c:v>
                </c:pt>
                <c:pt idx="2407">
                  <c:v>152.51340201066455</c:v>
                </c:pt>
                <c:pt idx="2408">
                  <c:v>152.44954312410866</c:v>
                </c:pt>
                <c:pt idx="2409">
                  <c:v>154.52725507991565</c:v>
                </c:pt>
                <c:pt idx="2410">
                  <c:v>153.60410307697802</c:v>
                </c:pt>
                <c:pt idx="2411">
                  <c:v>153.60410307697802</c:v>
                </c:pt>
                <c:pt idx="2412">
                  <c:v>153.60410307697802</c:v>
                </c:pt>
                <c:pt idx="2413">
                  <c:v>153.92815397303437</c:v>
                </c:pt>
                <c:pt idx="2414">
                  <c:v>154.62355211567527</c:v>
                </c:pt>
                <c:pt idx="2415">
                  <c:v>154.28898231231392</c:v>
                </c:pt>
                <c:pt idx="2416">
                  <c:v>154.24849071179588</c:v>
                </c:pt>
                <c:pt idx="2417">
                  <c:v>154.14993209617069</c:v>
                </c:pt>
                <c:pt idx="2418">
                  <c:v>154.14993209617069</c:v>
                </c:pt>
                <c:pt idx="2419">
                  <c:v>154.14993209617069</c:v>
                </c:pt>
                <c:pt idx="2420">
                  <c:v>153.54726289714952</c:v>
                </c:pt>
                <c:pt idx="2421">
                  <c:v>154.45296296282098</c:v>
                </c:pt>
                <c:pt idx="2422">
                  <c:v>155.42822376232749</c:v>
                </c:pt>
                <c:pt idx="2423">
                  <c:v>155.25018384057222</c:v>
                </c:pt>
                <c:pt idx="2424">
                  <c:v>156.10353821107768</c:v>
                </c:pt>
                <c:pt idx="2425">
                  <c:v>156.10353821107768</c:v>
                </c:pt>
                <c:pt idx="2426">
                  <c:v>156.10353821107768</c:v>
                </c:pt>
                <c:pt idx="2427">
                  <c:v>156.49636808187969</c:v>
                </c:pt>
                <c:pt idx="2428">
                  <c:v>156.35084523912772</c:v>
                </c:pt>
                <c:pt idx="2429">
                  <c:v>155.81624261154383</c:v>
                </c:pt>
                <c:pt idx="2430">
                  <c:v>156.69777612044348</c:v>
                </c:pt>
                <c:pt idx="2431">
                  <c:v>158.15615448790766</c:v>
                </c:pt>
                <c:pt idx="2432">
                  <c:v>158.15615448790766</c:v>
                </c:pt>
                <c:pt idx="2433">
                  <c:v>158.15615448790766</c:v>
                </c:pt>
                <c:pt idx="2434">
                  <c:v>158.24552378612412</c:v>
                </c:pt>
                <c:pt idx="2435">
                  <c:v>159.0811756709472</c:v>
                </c:pt>
                <c:pt idx="2436">
                  <c:v>159.13824922434267</c:v>
                </c:pt>
                <c:pt idx="2437">
                  <c:v>159.28062703315871</c:v>
                </c:pt>
                <c:pt idx="2438">
                  <c:v>160.31406363344391</c:v>
                </c:pt>
                <c:pt idx="2439">
                  <c:v>160.31406363344391</c:v>
                </c:pt>
                <c:pt idx="2440">
                  <c:v>160.31406363344391</c:v>
                </c:pt>
                <c:pt idx="2441">
                  <c:v>160.55007158536253</c:v>
                </c:pt>
                <c:pt idx="2442">
                  <c:v>160.67537449423205</c:v>
                </c:pt>
                <c:pt idx="2443">
                  <c:v>161.09094046256268</c:v>
                </c:pt>
                <c:pt idx="2444">
                  <c:v>162.57609905724442</c:v>
                </c:pt>
                <c:pt idx="2445">
                  <c:v>162.67739697304501</c:v>
                </c:pt>
                <c:pt idx="2446">
                  <c:v>162.67739697304501</c:v>
                </c:pt>
                <c:pt idx="2447">
                  <c:v>162.67739697304501</c:v>
                </c:pt>
                <c:pt idx="2448">
                  <c:v>162.6110197147581</c:v>
                </c:pt>
                <c:pt idx="2449">
                  <c:v>162.43432658073604</c:v>
                </c:pt>
                <c:pt idx="2450">
                  <c:v>162.27425567360706</c:v>
                </c:pt>
                <c:pt idx="2451">
                  <c:v>162.44142087534667</c:v>
                </c:pt>
                <c:pt idx="2452">
                  <c:v>162.43061852085847</c:v>
                </c:pt>
                <c:pt idx="2453">
                  <c:v>162.43061852085847</c:v>
                </c:pt>
                <c:pt idx="2454">
                  <c:v>162.43061852085847</c:v>
                </c:pt>
                <c:pt idx="2455">
                  <c:v>163.65625174735709</c:v>
                </c:pt>
                <c:pt idx="2456">
                  <c:v>163.59166480760499</c:v>
                </c:pt>
                <c:pt idx="2457">
                  <c:v>163.26438332299088</c:v>
                </c:pt>
                <c:pt idx="2458">
                  <c:v>162.70647953758723</c:v>
                </c:pt>
                <c:pt idx="2459">
                  <c:v>162.98289506741446</c:v>
                </c:pt>
                <c:pt idx="2460">
                  <c:v>162.98289506741446</c:v>
                </c:pt>
                <c:pt idx="2461">
                  <c:v>162.98289506741446</c:v>
                </c:pt>
                <c:pt idx="2462">
                  <c:v>163.18066014211823</c:v>
                </c:pt>
                <c:pt idx="2463">
                  <c:v>162.07572962435731</c:v>
                </c:pt>
                <c:pt idx="2464">
                  <c:v>162.6872932164635</c:v>
                </c:pt>
                <c:pt idx="2465">
                  <c:v>162.74523754968843</c:v>
                </c:pt>
                <c:pt idx="2466">
                  <c:v>163.34525157384374</c:v>
                </c:pt>
                <c:pt idx="2467">
                  <c:v>163.34525157384374</c:v>
                </c:pt>
                <c:pt idx="2468">
                  <c:v>163.34525157384374</c:v>
                </c:pt>
                <c:pt idx="2469">
                  <c:v>163.99760023814918</c:v>
                </c:pt>
                <c:pt idx="2470">
                  <c:v>163.47657986219258</c:v>
                </c:pt>
                <c:pt idx="2471">
                  <c:v>163.53879904848813</c:v>
                </c:pt>
                <c:pt idx="2472">
                  <c:v>163.39375485222405</c:v>
                </c:pt>
                <c:pt idx="2473">
                  <c:v>163.45421054151936</c:v>
                </c:pt>
                <c:pt idx="2474">
                  <c:v>163.45421054151936</c:v>
                </c:pt>
                <c:pt idx="2475">
                  <c:v>163.45421054151936</c:v>
                </c:pt>
                <c:pt idx="2476">
                  <c:v>164.32338157515809</c:v>
                </c:pt>
                <c:pt idx="2477">
                  <c:v>164.17028312377832</c:v>
                </c:pt>
                <c:pt idx="2478">
                  <c:v>163.83491278600741</c:v>
                </c:pt>
                <c:pt idx="2479">
                  <c:v>164.36147983405075</c:v>
                </c:pt>
                <c:pt idx="2480">
                  <c:v>163.53319166173065</c:v>
                </c:pt>
                <c:pt idx="2481">
                  <c:v>163.53319166173065</c:v>
                </c:pt>
                <c:pt idx="2482">
                  <c:v>163.53319166173065</c:v>
                </c:pt>
                <c:pt idx="2483">
                  <c:v>163.44651416415419</c:v>
                </c:pt>
                <c:pt idx="2484">
                  <c:v>163.24672204863535</c:v>
                </c:pt>
                <c:pt idx="2485">
                  <c:v>163.77005512524443</c:v>
                </c:pt>
                <c:pt idx="2486">
                  <c:v>162.50793499221291</c:v>
                </c:pt>
                <c:pt idx="2487">
                  <c:v>163.65224274185735</c:v>
                </c:pt>
                <c:pt idx="2488">
                  <c:v>163.65224274185735</c:v>
                </c:pt>
                <c:pt idx="2489">
                  <c:v>163.65224274185735</c:v>
                </c:pt>
                <c:pt idx="2490">
                  <c:v>161.51477752636109</c:v>
                </c:pt>
                <c:pt idx="2491">
                  <c:v>161.87264581892626</c:v>
                </c:pt>
                <c:pt idx="2492">
                  <c:v>162.60776292156311</c:v>
                </c:pt>
                <c:pt idx="2493">
                  <c:v>163.23841273888993</c:v>
                </c:pt>
                <c:pt idx="2494">
                  <c:v>163.22968601334492</c:v>
                </c:pt>
                <c:pt idx="2495">
                  <c:v>163.23181452845054</c:v>
                </c:pt>
                <c:pt idx="2496">
                  <c:v>163.23181452845054</c:v>
                </c:pt>
                <c:pt idx="2497">
                  <c:v>162.77234471996141</c:v>
                </c:pt>
                <c:pt idx="2498">
                  <c:v>163.11712421737687</c:v>
                </c:pt>
                <c:pt idx="2499">
                  <c:v>162.89448402336131</c:v>
                </c:pt>
                <c:pt idx="2500">
                  <c:v>163.24809699822407</c:v>
                </c:pt>
                <c:pt idx="2501">
                  <c:v>163.7122994919624</c:v>
                </c:pt>
                <c:pt idx="2502">
                  <c:v>163.7122994919624</c:v>
                </c:pt>
                <c:pt idx="2503">
                  <c:v>163.7122994919624</c:v>
                </c:pt>
                <c:pt idx="2504">
                  <c:v>164.8636078752626</c:v>
                </c:pt>
                <c:pt idx="2505">
                  <c:v>164.8073844390689</c:v>
                </c:pt>
                <c:pt idx="2506">
                  <c:v>163.87713410182411</c:v>
                </c:pt>
                <c:pt idx="2507">
                  <c:v>164.89208746662766</c:v>
                </c:pt>
                <c:pt idx="2508">
                  <c:v>165.22862232362181</c:v>
                </c:pt>
                <c:pt idx="2509">
                  <c:v>165.22862232362181</c:v>
                </c:pt>
                <c:pt idx="2510">
                  <c:v>165.22862232362181</c:v>
                </c:pt>
                <c:pt idx="2511">
                  <c:v>164.61838345279398</c:v>
                </c:pt>
                <c:pt idx="2512">
                  <c:v>165.35747060898197</c:v>
                </c:pt>
                <c:pt idx="2513">
                  <c:v>166.68107778962099</c:v>
                </c:pt>
                <c:pt idx="2514">
                  <c:v>166.72635837121331</c:v>
                </c:pt>
                <c:pt idx="2515">
                  <c:v>166.37828875463248</c:v>
                </c:pt>
                <c:pt idx="2516">
                  <c:v>166.37828875463248</c:v>
                </c:pt>
                <c:pt idx="2517">
                  <c:v>166.37828875463248</c:v>
                </c:pt>
                <c:pt idx="2518">
                  <c:v>165.88193240579079</c:v>
                </c:pt>
                <c:pt idx="2519">
                  <c:v>166.21656436921367</c:v>
                </c:pt>
                <c:pt idx="2520">
                  <c:v>166.28556418941463</c:v>
                </c:pt>
                <c:pt idx="2521">
                  <c:v>166.2274024876281</c:v>
                </c:pt>
                <c:pt idx="2522">
                  <c:v>166.47104365372823</c:v>
                </c:pt>
                <c:pt idx="2523">
                  <c:v>166.47104365372823</c:v>
                </c:pt>
                <c:pt idx="2524">
                  <c:v>166.47104365372823</c:v>
                </c:pt>
                <c:pt idx="2525">
                  <c:v>166.14533972739883</c:v>
                </c:pt>
                <c:pt idx="2526">
                  <c:v>166.59400358715888</c:v>
                </c:pt>
                <c:pt idx="2527">
                  <c:v>165.68219795484558</c:v>
                </c:pt>
                <c:pt idx="2528">
                  <c:v>165.57896800458784</c:v>
                </c:pt>
                <c:pt idx="2529">
                  <c:v>166.81353141318877</c:v>
                </c:pt>
                <c:pt idx="2530">
                  <c:v>166.81353141318877</c:v>
                </c:pt>
                <c:pt idx="2531">
                  <c:v>166.81353141318877</c:v>
                </c:pt>
                <c:pt idx="2532">
                  <c:v>167.56819249303143</c:v>
                </c:pt>
                <c:pt idx="2533">
                  <c:v>168.09639927372604</c:v>
                </c:pt>
                <c:pt idx="2534">
                  <c:v>169.19359136720954</c:v>
                </c:pt>
                <c:pt idx="2535">
                  <c:v>169.37334940642174</c:v>
                </c:pt>
                <c:pt idx="2536">
                  <c:v>168.55339777834379</c:v>
                </c:pt>
                <c:pt idx="2537">
                  <c:v>168.55339777834379</c:v>
                </c:pt>
                <c:pt idx="2538">
                  <c:v>168.55339777834379</c:v>
                </c:pt>
                <c:pt idx="2539">
                  <c:v>168.09866936521544</c:v>
                </c:pt>
                <c:pt idx="2540">
                  <c:v>168.24125233755771</c:v>
                </c:pt>
                <c:pt idx="2541">
                  <c:v>167.1637495545493</c:v>
                </c:pt>
                <c:pt idx="2542">
                  <c:v>167.82218416111974</c:v>
                </c:pt>
                <c:pt idx="2543">
                  <c:v>167.82508580668389</c:v>
                </c:pt>
                <c:pt idx="2544">
                  <c:v>167.82508580668389</c:v>
                </c:pt>
                <c:pt idx="2545">
                  <c:v>167.82508580668389</c:v>
                </c:pt>
                <c:pt idx="2546">
                  <c:v>168.23673556840481</c:v>
                </c:pt>
                <c:pt idx="2547">
                  <c:v>167.87528735387286</c:v>
                </c:pt>
                <c:pt idx="2548">
                  <c:v>167.94151415473397</c:v>
                </c:pt>
                <c:pt idx="2549">
                  <c:v>168.33429576803906</c:v>
                </c:pt>
                <c:pt idx="2550">
                  <c:v>168.58299453994971</c:v>
                </c:pt>
                <c:pt idx="2551">
                  <c:v>168.58299453994971</c:v>
                </c:pt>
                <c:pt idx="2552">
                  <c:v>168.58299453994971</c:v>
                </c:pt>
                <c:pt idx="2553">
                  <c:v>169.16316617233915</c:v>
                </c:pt>
                <c:pt idx="2554">
                  <c:v>169.52669274154852</c:v>
                </c:pt>
                <c:pt idx="2555">
                  <c:v>168.83559005431675</c:v>
                </c:pt>
                <c:pt idx="2556">
                  <c:v>168.17345232559762</c:v>
                </c:pt>
                <c:pt idx="2557">
                  <c:v>167.43894804562748</c:v>
                </c:pt>
                <c:pt idx="2558">
                  <c:v>167.43894804562748</c:v>
                </c:pt>
                <c:pt idx="2559">
                  <c:v>167.43894804562748</c:v>
                </c:pt>
                <c:pt idx="2560">
                  <c:v>168.85683780157265</c:v>
                </c:pt>
                <c:pt idx="2561">
                  <c:v>168.30581741418504</c:v>
                </c:pt>
                <c:pt idx="2562">
                  <c:v>166.57303665240451</c:v>
                </c:pt>
                <c:pt idx="2563">
                  <c:v>166.17427745996233</c:v>
                </c:pt>
                <c:pt idx="2564">
                  <c:v>165.67776367459695</c:v>
                </c:pt>
                <c:pt idx="2565">
                  <c:v>165.67776367459695</c:v>
                </c:pt>
                <c:pt idx="2566">
                  <c:v>165.67776367459695</c:v>
                </c:pt>
                <c:pt idx="2567">
                  <c:v>165.55265542491333</c:v>
                </c:pt>
                <c:pt idx="2568">
                  <c:v>165.80862135204544</c:v>
                </c:pt>
                <c:pt idx="2569">
                  <c:v>166.14238415830982</c:v>
                </c:pt>
                <c:pt idx="2570">
                  <c:v>165.90445497280439</c:v>
                </c:pt>
                <c:pt idx="2571">
                  <c:v>166.25003229346817</c:v>
                </c:pt>
                <c:pt idx="2572">
                  <c:v>166.25003229346817</c:v>
                </c:pt>
                <c:pt idx="2573">
                  <c:v>166.25003229346817</c:v>
                </c:pt>
                <c:pt idx="2574">
                  <c:v>165.74829634600778</c:v>
                </c:pt>
                <c:pt idx="2575">
                  <c:v>166.15424044348657</c:v>
                </c:pt>
                <c:pt idx="2576">
                  <c:v>166.23441152604298</c:v>
                </c:pt>
                <c:pt idx="2577">
                  <c:v>166.35515090382259</c:v>
                </c:pt>
                <c:pt idx="2578">
                  <c:v>168.33353119949783</c:v>
                </c:pt>
                <c:pt idx="2579">
                  <c:v>168.33353119949783</c:v>
                </c:pt>
                <c:pt idx="2580">
                  <c:v>168.33353119949783</c:v>
                </c:pt>
                <c:pt idx="2581">
                  <c:v>167.79330681449582</c:v>
                </c:pt>
                <c:pt idx="2582">
                  <c:v>167.93738589325821</c:v>
                </c:pt>
                <c:pt idx="2583">
                  <c:v>167.69196555626152</c:v>
                </c:pt>
                <c:pt idx="2584">
                  <c:v>168.39836628424763</c:v>
                </c:pt>
                <c:pt idx="2585">
                  <c:v>168.67012083182249</c:v>
                </c:pt>
                <c:pt idx="2586">
                  <c:v>168.67012083182249</c:v>
                </c:pt>
                <c:pt idx="2587">
                  <c:v>168.67400193130283</c:v>
                </c:pt>
                <c:pt idx="2588">
                  <c:v>168.71663428529098</c:v>
                </c:pt>
                <c:pt idx="2589">
                  <c:v>168.48040568979641</c:v>
                </c:pt>
                <c:pt idx="2590">
                  <c:v>168.32557051216344</c:v>
                </c:pt>
                <c:pt idx="2591">
                  <c:v>166.73001074602294</c:v>
                </c:pt>
                <c:pt idx="2592">
                  <c:v>165.4596047599432</c:v>
                </c:pt>
                <c:pt idx="2593">
                  <c:v>165.4596047599432</c:v>
                </c:pt>
                <c:pt idx="2594">
                  <c:v>165.4596047599432</c:v>
                </c:pt>
                <c:pt idx="2595">
                  <c:v>164.37639202005732</c:v>
                </c:pt>
                <c:pt idx="2596">
                  <c:v>164.11972157144584</c:v>
                </c:pt>
                <c:pt idx="2597">
                  <c:v>161.69585217433209</c:v>
                </c:pt>
                <c:pt idx="2598">
                  <c:v>159.4644785195797</c:v>
                </c:pt>
                <c:pt idx="2599">
                  <c:v>160.40208659786563</c:v>
                </c:pt>
                <c:pt idx="2600">
                  <c:v>160.40208659786563</c:v>
                </c:pt>
                <c:pt idx="2601">
                  <c:v>160.40208659786563</c:v>
                </c:pt>
                <c:pt idx="2602">
                  <c:v>160.41099853779701</c:v>
                </c:pt>
                <c:pt idx="2603">
                  <c:v>161.38916876578065</c:v>
                </c:pt>
                <c:pt idx="2604">
                  <c:v>161.6085256961837</c:v>
                </c:pt>
                <c:pt idx="2605">
                  <c:v>160.90142052068211</c:v>
                </c:pt>
                <c:pt idx="2606">
                  <c:v>161.52291352054266</c:v>
                </c:pt>
                <c:pt idx="2607">
                  <c:v>161.52291352054266</c:v>
                </c:pt>
                <c:pt idx="2608">
                  <c:v>161.52291352054266</c:v>
                </c:pt>
                <c:pt idx="2609">
                  <c:v>161.62502830647037</c:v>
                </c:pt>
                <c:pt idx="2610">
                  <c:v>160.32834141312293</c:v>
                </c:pt>
                <c:pt idx="2611">
                  <c:v>159.62158843163925</c:v>
                </c:pt>
                <c:pt idx="2612">
                  <c:v>160.88198603334962</c:v>
                </c:pt>
                <c:pt idx="2613">
                  <c:v>159.91216046278311</c:v>
                </c:pt>
                <c:pt idx="2614">
                  <c:v>159.91216046278311</c:v>
                </c:pt>
                <c:pt idx="2615">
                  <c:v>159.91216046278311</c:v>
                </c:pt>
                <c:pt idx="2616">
                  <c:v>160.27533377216693</c:v>
                </c:pt>
                <c:pt idx="2617">
                  <c:v>161.09103264485364</c:v>
                </c:pt>
                <c:pt idx="2618">
                  <c:v>162.12712183951555</c:v>
                </c:pt>
                <c:pt idx="2619">
                  <c:v>161.17600470051525</c:v>
                </c:pt>
                <c:pt idx="2620">
                  <c:v>161.35946973490582</c:v>
                </c:pt>
                <c:pt idx="2621">
                  <c:v>161.35946973490582</c:v>
                </c:pt>
                <c:pt idx="2622">
                  <c:v>161.35946973490582</c:v>
                </c:pt>
                <c:pt idx="2623">
                  <c:v>160.84759715703927</c:v>
                </c:pt>
                <c:pt idx="2624">
                  <c:v>160.40859581011856</c:v>
                </c:pt>
                <c:pt idx="2625">
                  <c:v>161.48377933794268</c:v>
                </c:pt>
                <c:pt idx="2626">
                  <c:v>161.44276245799085</c:v>
                </c:pt>
                <c:pt idx="2627">
                  <c:v>161.34048685354608</c:v>
                </c:pt>
                <c:pt idx="2628">
                  <c:v>161.34048685354608</c:v>
                </c:pt>
                <c:pt idx="2629">
                  <c:v>161.34048685354608</c:v>
                </c:pt>
                <c:pt idx="2630">
                  <c:v>160.95741774901458</c:v>
                </c:pt>
                <c:pt idx="2631">
                  <c:v>160.3499644544298</c:v>
                </c:pt>
                <c:pt idx="2632">
                  <c:v>159.84947854187499</c:v>
                </c:pt>
                <c:pt idx="2633">
                  <c:v>161.69937659467047</c:v>
                </c:pt>
                <c:pt idx="2634">
                  <c:v>161.55372426420905</c:v>
                </c:pt>
                <c:pt idx="2635">
                  <c:v>161.55372426420905</c:v>
                </c:pt>
                <c:pt idx="2636">
                  <c:v>161.55372426420905</c:v>
                </c:pt>
                <c:pt idx="2637">
                  <c:v>160.9371997105975</c:v>
                </c:pt>
                <c:pt idx="2638">
                  <c:v>159.58023035191366</c:v>
                </c:pt>
                <c:pt idx="2639">
                  <c:v>160.7772655968179</c:v>
                </c:pt>
                <c:pt idx="2640">
                  <c:v>159.49184010396274</c:v>
                </c:pt>
                <c:pt idx="2641">
                  <c:v>159.58928164367427</c:v>
                </c:pt>
                <c:pt idx="2642">
                  <c:v>159.58928164367427</c:v>
                </c:pt>
                <c:pt idx="2643">
                  <c:v>159.58928164367427</c:v>
                </c:pt>
                <c:pt idx="2644">
                  <c:v>160.93341438885403</c:v>
                </c:pt>
                <c:pt idx="2645">
                  <c:v>161.37178735364444</c:v>
                </c:pt>
                <c:pt idx="2646">
                  <c:v>161.92319313731397</c:v>
                </c:pt>
                <c:pt idx="2647">
                  <c:v>162.39263600116189</c:v>
                </c:pt>
                <c:pt idx="2648">
                  <c:v>162.39402932997879</c:v>
                </c:pt>
                <c:pt idx="2649">
                  <c:v>162.39402932997879</c:v>
                </c:pt>
                <c:pt idx="2650">
                  <c:v>162.39402932997879</c:v>
                </c:pt>
                <c:pt idx="2651">
                  <c:v>164.32435843841546</c:v>
                </c:pt>
                <c:pt idx="2652">
                  <c:v>162.85046589459435</c:v>
                </c:pt>
                <c:pt idx="2653">
                  <c:v>161.65850145153479</c:v>
                </c:pt>
                <c:pt idx="2654">
                  <c:v>159.07418499953516</c:v>
                </c:pt>
                <c:pt idx="2655">
                  <c:v>159.40959450934852</c:v>
                </c:pt>
                <c:pt idx="2656">
                  <c:v>159.40959450934852</c:v>
                </c:pt>
                <c:pt idx="2657">
                  <c:v>159.40959450934852</c:v>
                </c:pt>
                <c:pt idx="2658">
                  <c:v>159.87556947734666</c:v>
                </c:pt>
                <c:pt idx="2659">
                  <c:v>160.66902713239566</c:v>
                </c:pt>
                <c:pt idx="2660">
                  <c:v>161.07572703408562</c:v>
                </c:pt>
                <c:pt idx="2661">
                  <c:v>161.09762044690407</c:v>
                </c:pt>
                <c:pt idx="2662">
                  <c:v>160.11019352506543</c:v>
                </c:pt>
                <c:pt idx="2663">
                  <c:v>160.11019352506543</c:v>
                </c:pt>
                <c:pt idx="2664">
                  <c:v>160.11019352506543</c:v>
                </c:pt>
                <c:pt idx="2665">
                  <c:v>158.80673804067979</c:v>
                </c:pt>
                <c:pt idx="2666">
                  <c:v>158.17757750591022</c:v>
                </c:pt>
                <c:pt idx="2667">
                  <c:v>158.57965225372405</c:v>
                </c:pt>
                <c:pt idx="2668">
                  <c:v>157.48087921600234</c:v>
                </c:pt>
                <c:pt idx="2669">
                  <c:v>156.39774620126897</c:v>
                </c:pt>
                <c:pt idx="2670">
                  <c:v>156.39774620126897</c:v>
                </c:pt>
                <c:pt idx="2671">
                  <c:v>156.39774620126897</c:v>
                </c:pt>
                <c:pt idx="2672">
                  <c:v>155.32775571256536</c:v>
                </c:pt>
                <c:pt idx="2673">
                  <c:v>155.10363950695793</c:v>
                </c:pt>
                <c:pt idx="2674">
                  <c:v>156.22052995779276</c:v>
                </c:pt>
                <c:pt idx="2675">
                  <c:v>156.23938890016927</c:v>
                </c:pt>
                <c:pt idx="2676">
                  <c:v>157.662529746632</c:v>
                </c:pt>
                <c:pt idx="2677">
                  <c:v>157.662529746632</c:v>
                </c:pt>
                <c:pt idx="2678">
                  <c:v>157.662529746632</c:v>
                </c:pt>
                <c:pt idx="2679">
                  <c:v>157.86112935222735</c:v>
                </c:pt>
                <c:pt idx="2680">
                  <c:v>157.86228963152809</c:v>
                </c:pt>
                <c:pt idx="2681">
                  <c:v>158.25370286417788</c:v>
                </c:pt>
                <c:pt idx="2682">
                  <c:v>157.11669115506152</c:v>
                </c:pt>
                <c:pt idx="2683">
                  <c:v>158.92726462475966</c:v>
                </c:pt>
                <c:pt idx="2684">
                  <c:v>158.92726462475966</c:v>
                </c:pt>
                <c:pt idx="2685">
                  <c:v>158.92726462475966</c:v>
                </c:pt>
                <c:pt idx="2686">
                  <c:v>158.50916672334807</c:v>
                </c:pt>
                <c:pt idx="2687">
                  <c:v>159.41600876181403</c:v>
                </c:pt>
                <c:pt idx="2688">
                  <c:v>160.29892316722075</c:v>
                </c:pt>
                <c:pt idx="2689">
                  <c:v>160.50199625504592</c:v>
                </c:pt>
                <c:pt idx="2690">
                  <c:v>160.26080990527348</c:v>
                </c:pt>
                <c:pt idx="2691">
                  <c:v>160.26080990527348</c:v>
                </c:pt>
                <c:pt idx="2692">
                  <c:v>160.26080990527348</c:v>
                </c:pt>
                <c:pt idx="2693">
                  <c:v>159.18212324074685</c:v>
                </c:pt>
                <c:pt idx="2694">
                  <c:v>160.84445260282254</c:v>
                </c:pt>
                <c:pt idx="2695">
                  <c:v>160.3283719175347</c:v>
                </c:pt>
                <c:pt idx="2696">
                  <c:v>160.06256190644888</c:v>
                </c:pt>
                <c:pt idx="2697">
                  <c:v>161.79016515587375</c:v>
                </c:pt>
                <c:pt idx="2698">
                  <c:v>161.79016515587375</c:v>
                </c:pt>
                <c:pt idx="2699">
                  <c:v>161.79016515587375</c:v>
                </c:pt>
                <c:pt idx="2700">
                  <c:v>161.86665631015615</c:v>
                </c:pt>
                <c:pt idx="2701">
                  <c:v>160.51933491636012</c:v>
                </c:pt>
                <c:pt idx="2702">
                  <c:v>159.60937970019955</c:v>
                </c:pt>
                <c:pt idx="2703">
                  <c:v>159.90260926430335</c:v>
                </c:pt>
                <c:pt idx="2704">
                  <c:v>159.7064199559187</c:v>
                </c:pt>
                <c:pt idx="2705">
                  <c:v>159.7064199559187</c:v>
                </c:pt>
                <c:pt idx="2706">
                  <c:v>159.7064199559187</c:v>
                </c:pt>
                <c:pt idx="2707">
                  <c:v>159.05073886053287</c:v>
                </c:pt>
                <c:pt idx="2708">
                  <c:v>159.59865116032611</c:v>
                </c:pt>
                <c:pt idx="2709">
                  <c:v>161.24963855909223</c:v>
                </c:pt>
                <c:pt idx="2710">
                  <c:v>161.60857057954647</c:v>
                </c:pt>
                <c:pt idx="2711">
                  <c:v>162.50519432215026</c:v>
                </c:pt>
                <c:pt idx="2712">
                  <c:v>162.50519432215026</c:v>
                </c:pt>
                <c:pt idx="2713">
                  <c:v>162.50519432215026</c:v>
                </c:pt>
                <c:pt idx="2714">
                  <c:v>162.79783042598169</c:v>
                </c:pt>
                <c:pt idx="2715">
                  <c:v>165.06923622341242</c:v>
                </c:pt>
                <c:pt idx="2716">
                  <c:v>164.86867214932388</c:v>
                </c:pt>
                <c:pt idx="2717">
                  <c:v>163.84391607939926</c:v>
                </c:pt>
                <c:pt idx="2718">
                  <c:v>163.89081640037699</c:v>
                </c:pt>
                <c:pt idx="2719">
                  <c:v>163.89081640037699</c:v>
                </c:pt>
                <c:pt idx="2720">
                  <c:v>163.89081640037699</c:v>
                </c:pt>
                <c:pt idx="2721">
                  <c:v>164.95787672779656</c:v>
                </c:pt>
                <c:pt idx="2722">
                  <c:v>165.25491142768399</c:v>
                </c:pt>
                <c:pt idx="2723">
                  <c:v>166.02107946843793</c:v>
                </c:pt>
                <c:pt idx="2724">
                  <c:v>166.75185611414494</c:v>
                </c:pt>
                <c:pt idx="2725">
                  <c:v>166.91152935396707</c:v>
                </c:pt>
                <c:pt idx="2726">
                  <c:v>166.91152935396707</c:v>
                </c:pt>
                <c:pt idx="2727">
                  <c:v>166.91152935396707</c:v>
                </c:pt>
                <c:pt idx="2728">
                  <c:v>166.5596264383995</c:v>
                </c:pt>
                <c:pt idx="2729">
                  <c:v>166.06680148771224</c:v>
                </c:pt>
                <c:pt idx="2730">
                  <c:v>166.53312536962983</c:v>
                </c:pt>
                <c:pt idx="2731">
                  <c:v>166.1940955676711</c:v>
                </c:pt>
                <c:pt idx="2732">
                  <c:v>166.6271724516061</c:v>
                </c:pt>
                <c:pt idx="2733">
                  <c:v>166.6271724516061</c:v>
                </c:pt>
                <c:pt idx="2734">
                  <c:v>166.6271724516061</c:v>
                </c:pt>
                <c:pt idx="2735">
                  <c:v>166.7801178669277</c:v>
                </c:pt>
                <c:pt idx="2736">
                  <c:v>165.36696324342236</c:v>
                </c:pt>
                <c:pt idx="2737">
                  <c:v>164.29755824350201</c:v>
                </c:pt>
                <c:pt idx="2738">
                  <c:v>164.30908207423721</c:v>
                </c:pt>
                <c:pt idx="2739">
                  <c:v>164.79392367053106</c:v>
                </c:pt>
                <c:pt idx="2740">
                  <c:v>164.79392367053106</c:v>
                </c:pt>
                <c:pt idx="2741">
                  <c:v>164.79392367053106</c:v>
                </c:pt>
                <c:pt idx="2742">
                  <c:v>165.1456120309756</c:v>
                </c:pt>
                <c:pt idx="2743">
                  <c:v>165.65458254997444</c:v>
                </c:pt>
                <c:pt idx="2744">
                  <c:v>165.44523491473109</c:v>
                </c:pt>
                <c:pt idx="2745">
                  <c:v>164.91479102035689</c:v>
                </c:pt>
                <c:pt idx="2746">
                  <c:v>164.9331377908579</c:v>
                </c:pt>
                <c:pt idx="2747">
                  <c:v>164.9331377908579</c:v>
                </c:pt>
                <c:pt idx="2748">
                  <c:v>164.9331377908579</c:v>
                </c:pt>
                <c:pt idx="2749">
                  <c:v>165.28713213516704</c:v>
                </c:pt>
                <c:pt idx="2750">
                  <c:v>165.94731042824208</c:v>
                </c:pt>
                <c:pt idx="2751">
                  <c:v>165.77320846697938</c:v>
                </c:pt>
                <c:pt idx="2752">
                  <c:v>165.94876063701383</c:v>
                </c:pt>
                <c:pt idx="2753">
                  <c:v>167.17673002161195</c:v>
                </c:pt>
                <c:pt idx="2754">
                  <c:v>167.17673002161195</c:v>
                </c:pt>
                <c:pt idx="2755">
                  <c:v>167.17673002161195</c:v>
                </c:pt>
                <c:pt idx="2756">
                  <c:v>167.97281725113837</c:v>
                </c:pt>
                <c:pt idx="2757">
                  <c:v>167.90625634257444</c:v>
                </c:pt>
                <c:pt idx="2758">
                  <c:v>167.5911752153599</c:v>
                </c:pt>
                <c:pt idx="2759">
                  <c:v>169.33837522571488</c:v>
                </c:pt>
                <c:pt idx="2760">
                  <c:v>166.44036568684706</c:v>
                </c:pt>
                <c:pt idx="2761">
                  <c:v>166.44036568684706</c:v>
                </c:pt>
                <c:pt idx="2762">
                  <c:v>166.44036568684706</c:v>
                </c:pt>
                <c:pt idx="2763">
                  <c:v>166.12096163188303</c:v>
                </c:pt>
                <c:pt idx="2764">
                  <c:v>166.48888966012458</c:v>
                </c:pt>
                <c:pt idx="2765">
                  <c:v>166.47081396137418</c:v>
                </c:pt>
                <c:pt idx="2766">
                  <c:v>167.42100772625989</c:v>
                </c:pt>
                <c:pt idx="2767">
                  <c:v>168.77672277526435</c:v>
                </c:pt>
                <c:pt idx="2768">
                  <c:v>168.77672277526435</c:v>
                </c:pt>
                <c:pt idx="2769">
                  <c:v>168.78107215141026</c:v>
                </c:pt>
                <c:pt idx="2770">
                  <c:v>168.78552459609361</c:v>
                </c:pt>
                <c:pt idx="2771">
                  <c:v>170.12119871785333</c:v>
                </c:pt>
                <c:pt idx="2772">
                  <c:v>170.20487623186671</c:v>
                </c:pt>
                <c:pt idx="2773">
                  <c:v>170.61417130183898</c:v>
                </c:pt>
                <c:pt idx="2774">
                  <c:v>171.6721924316245</c:v>
                </c:pt>
                <c:pt idx="2775">
                  <c:v>171.6721924316245</c:v>
                </c:pt>
                <c:pt idx="2776">
                  <c:v>171.6721924316245</c:v>
                </c:pt>
                <c:pt idx="2777">
                  <c:v>171.60148408900577</c:v>
                </c:pt>
                <c:pt idx="2778">
                  <c:v>171.11676824095892</c:v>
                </c:pt>
                <c:pt idx="2779">
                  <c:v>170.92063249003346</c:v>
                </c:pt>
                <c:pt idx="2780">
                  <c:v>171.02767837295565</c:v>
                </c:pt>
                <c:pt idx="2781">
                  <c:v>171.1510030112768</c:v>
                </c:pt>
                <c:pt idx="2782">
                  <c:v>171.1510030112768</c:v>
                </c:pt>
                <c:pt idx="2783">
                  <c:v>171.1510030112768</c:v>
                </c:pt>
                <c:pt idx="2784">
                  <c:v>170.9632486494634</c:v>
                </c:pt>
                <c:pt idx="2785">
                  <c:v>171.82799272855979</c:v>
                </c:pt>
                <c:pt idx="2786">
                  <c:v>172.02026481586319</c:v>
                </c:pt>
                <c:pt idx="2787">
                  <c:v>172.24505917772188</c:v>
                </c:pt>
                <c:pt idx="2788">
                  <c:v>172.31710239617357</c:v>
                </c:pt>
                <c:pt idx="2789">
                  <c:v>172.31710239617357</c:v>
                </c:pt>
                <c:pt idx="2790">
                  <c:v>172.31710239617357</c:v>
                </c:pt>
                <c:pt idx="2791">
                  <c:v>172.45926055930835</c:v>
                </c:pt>
                <c:pt idx="2792">
                  <c:v>173.56771658766422</c:v>
                </c:pt>
                <c:pt idx="2793">
                  <c:v>173.44133325483091</c:v>
                </c:pt>
                <c:pt idx="2794">
                  <c:v>173.77645659894588</c:v>
                </c:pt>
                <c:pt idx="2795">
                  <c:v>173.76842986441559</c:v>
                </c:pt>
                <c:pt idx="2796">
                  <c:v>173.76842986441559</c:v>
                </c:pt>
                <c:pt idx="2797">
                  <c:v>173.76842986441559</c:v>
                </c:pt>
                <c:pt idx="2798">
                  <c:v>173.96223726961199</c:v>
                </c:pt>
                <c:pt idx="2799">
                  <c:v>173.07407306723198</c:v>
                </c:pt>
                <c:pt idx="2800">
                  <c:v>172.61352122805934</c:v>
                </c:pt>
                <c:pt idx="2801">
                  <c:v>172.61058507206326</c:v>
                </c:pt>
                <c:pt idx="2802">
                  <c:v>172.6451900421585</c:v>
                </c:pt>
                <c:pt idx="2803">
                  <c:v>172.6451900421585</c:v>
                </c:pt>
                <c:pt idx="2804">
                  <c:v>172.6451900421585</c:v>
                </c:pt>
                <c:pt idx="2805">
                  <c:v>172.5030564365525</c:v>
                </c:pt>
                <c:pt idx="2806">
                  <c:v>171.06194002762308</c:v>
                </c:pt>
                <c:pt idx="2807">
                  <c:v>171.76034316327087</c:v>
                </c:pt>
                <c:pt idx="2808">
                  <c:v>170.51158363475034</c:v>
                </c:pt>
                <c:pt idx="2809">
                  <c:v>170.80529154267703</c:v>
                </c:pt>
                <c:pt idx="2810">
                  <c:v>170.80529154267703</c:v>
                </c:pt>
                <c:pt idx="2811">
                  <c:v>170.80529154267703</c:v>
                </c:pt>
                <c:pt idx="2812">
                  <c:v>169.78323196330268</c:v>
                </c:pt>
                <c:pt idx="2813">
                  <c:v>170.9548788817643</c:v>
                </c:pt>
                <c:pt idx="2814">
                  <c:v>172.5268295076676</c:v>
                </c:pt>
                <c:pt idx="2815">
                  <c:v>174.4880972528278</c:v>
                </c:pt>
                <c:pt idx="2816">
                  <c:v>174.52452687777222</c:v>
                </c:pt>
                <c:pt idx="2817">
                  <c:v>174.52452687777222</c:v>
                </c:pt>
                <c:pt idx="2818">
                  <c:v>174.52452687777222</c:v>
                </c:pt>
                <c:pt idx="2819">
                  <c:v>173.64148861961928</c:v>
                </c:pt>
                <c:pt idx="2820">
                  <c:v>173.91077704941526</c:v>
                </c:pt>
                <c:pt idx="2821">
                  <c:v>174.85936642640021</c:v>
                </c:pt>
                <c:pt idx="2822">
                  <c:v>173.34460519848358</c:v>
                </c:pt>
                <c:pt idx="2823">
                  <c:v>174.16395314387523</c:v>
                </c:pt>
                <c:pt idx="2824">
                  <c:v>174.16395314387523</c:v>
                </c:pt>
                <c:pt idx="2825">
                  <c:v>174.16395314387523</c:v>
                </c:pt>
                <c:pt idx="2826">
                  <c:v>174.26910114730677</c:v>
                </c:pt>
                <c:pt idx="2827">
                  <c:v>173.96422606830461</c:v>
                </c:pt>
                <c:pt idx="2828">
                  <c:v>172.84085033882627</c:v>
                </c:pt>
                <c:pt idx="2829">
                  <c:v>173.73302888214772</c:v>
                </c:pt>
                <c:pt idx="2830">
                  <c:v>172.84066307793688</c:v>
                </c:pt>
                <c:pt idx="2831">
                  <c:v>172.84066307793688</c:v>
                </c:pt>
                <c:pt idx="2832">
                  <c:v>172.84066307793688</c:v>
                </c:pt>
                <c:pt idx="2833">
                  <c:v>172.85983110747222</c:v>
                </c:pt>
                <c:pt idx="2834">
                  <c:v>173.51362674648186</c:v>
                </c:pt>
                <c:pt idx="2835">
                  <c:v>174.1746060859374</c:v>
                </c:pt>
                <c:pt idx="2836">
                  <c:v>174.84886211228695</c:v>
                </c:pt>
                <c:pt idx="2837">
                  <c:v>175.82637216081187</c:v>
                </c:pt>
                <c:pt idx="2838">
                  <c:v>175.82637216081187</c:v>
                </c:pt>
                <c:pt idx="2839">
                  <c:v>175.82637216081187</c:v>
                </c:pt>
                <c:pt idx="2840">
                  <c:v>176.98513125084557</c:v>
                </c:pt>
                <c:pt idx="2841">
                  <c:v>177.22286475854696</c:v>
                </c:pt>
                <c:pt idx="2842">
                  <c:v>176.90985727926773</c:v>
                </c:pt>
                <c:pt idx="2843">
                  <c:v>177.63241020935342</c:v>
                </c:pt>
                <c:pt idx="2844">
                  <c:v>177.83416687719333</c:v>
                </c:pt>
                <c:pt idx="2845">
                  <c:v>177.83416687719333</c:v>
                </c:pt>
                <c:pt idx="2846">
                  <c:v>177.83416687719333</c:v>
                </c:pt>
                <c:pt idx="2847">
                  <c:v>178.31326101446882</c:v>
                </c:pt>
                <c:pt idx="2848">
                  <c:v>179.87742672322034</c:v>
                </c:pt>
                <c:pt idx="2849">
                  <c:v>179.60094072815261</c:v>
                </c:pt>
                <c:pt idx="2850">
                  <c:v>180.56385859980074</c:v>
                </c:pt>
                <c:pt idx="2851">
                  <c:v>180.21302302254131</c:v>
                </c:pt>
                <c:pt idx="2852">
                  <c:v>180.21302302254131</c:v>
                </c:pt>
                <c:pt idx="2853">
                  <c:v>180.21302302254131</c:v>
                </c:pt>
                <c:pt idx="2854">
                  <c:v>180.58419697327943</c:v>
                </c:pt>
                <c:pt idx="2855">
                  <c:v>180.26503968691674</c:v>
                </c:pt>
                <c:pt idx="2856">
                  <c:v>180.03983277018548</c:v>
                </c:pt>
                <c:pt idx="2857">
                  <c:v>180.10529345298241</c:v>
                </c:pt>
                <c:pt idx="2858">
                  <c:v>180.35278694303375</c:v>
                </c:pt>
                <c:pt idx="2859">
                  <c:v>180.35278694303375</c:v>
                </c:pt>
                <c:pt idx="2860">
                  <c:v>180.35683947015636</c:v>
                </c:pt>
                <c:pt idx="2861">
                  <c:v>181.79031743383356</c:v>
                </c:pt>
                <c:pt idx="2862">
                  <c:v>183.12080804487468</c:v>
                </c:pt>
                <c:pt idx="2863">
                  <c:v>184.46281804267196</c:v>
                </c:pt>
                <c:pt idx="2864">
                  <c:v>184.41439286367938</c:v>
                </c:pt>
                <c:pt idx="2865">
                  <c:v>183.82321195618843</c:v>
                </c:pt>
                <c:pt idx="2866">
                  <c:v>183.82321195618843</c:v>
                </c:pt>
                <c:pt idx="2867">
                  <c:v>183.82321195618843</c:v>
                </c:pt>
                <c:pt idx="2868">
                  <c:v>183.30264667871393</c:v>
                </c:pt>
                <c:pt idx="2869">
                  <c:v>183.56819905598385</c:v>
                </c:pt>
                <c:pt idx="2870">
                  <c:v>183.71455063836322</c:v>
                </c:pt>
                <c:pt idx="2871">
                  <c:v>183.38682776291597</c:v>
                </c:pt>
                <c:pt idx="2872">
                  <c:v>183.20732323429681</c:v>
                </c:pt>
                <c:pt idx="2873">
                  <c:v>183.20732323429681</c:v>
                </c:pt>
                <c:pt idx="2874">
                  <c:v>183.20732323429681</c:v>
                </c:pt>
                <c:pt idx="2875">
                  <c:v>184.08663960667246</c:v>
                </c:pt>
                <c:pt idx="2876">
                  <c:v>184.78316822495225</c:v>
                </c:pt>
                <c:pt idx="2877">
                  <c:v>184.58584382309988</c:v>
                </c:pt>
                <c:pt idx="2878">
                  <c:v>183.99367213167255</c:v>
                </c:pt>
                <c:pt idx="2879">
                  <c:v>183.78806472287559</c:v>
                </c:pt>
                <c:pt idx="2880">
                  <c:v>183.78806472287559</c:v>
                </c:pt>
                <c:pt idx="2881">
                  <c:v>183.78806472287559</c:v>
                </c:pt>
                <c:pt idx="2882">
                  <c:v>184.32033517500017</c:v>
                </c:pt>
                <c:pt idx="2883">
                  <c:v>185.34565574668147</c:v>
                </c:pt>
                <c:pt idx="2884">
                  <c:v>184.97876587458748</c:v>
                </c:pt>
                <c:pt idx="2885">
                  <c:v>184.55031435749345</c:v>
                </c:pt>
                <c:pt idx="2886">
                  <c:v>185.9916873771852</c:v>
                </c:pt>
                <c:pt idx="2887">
                  <c:v>185.9916873771852</c:v>
                </c:pt>
                <c:pt idx="2888">
                  <c:v>185.9916873771852</c:v>
                </c:pt>
                <c:pt idx="2889">
                  <c:v>188.13796635242733</c:v>
                </c:pt>
                <c:pt idx="2890">
                  <c:v>188.25397786661921</c:v>
                </c:pt>
                <c:pt idx="2891">
                  <c:v>186.95763461947277</c:v>
                </c:pt>
                <c:pt idx="2892">
                  <c:v>187.04116168189171</c:v>
                </c:pt>
                <c:pt idx="2893">
                  <c:v>185.21729525815732</c:v>
                </c:pt>
                <c:pt idx="2894">
                  <c:v>185.21729525815732</c:v>
                </c:pt>
                <c:pt idx="2895">
                  <c:v>185.21729525815732</c:v>
                </c:pt>
                <c:pt idx="2896">
                  <c:v>182.18539926515845</c:v>
                </c:pt>
                <c:pt idx="2897">
                  <c:v>181.92398872316883</c:v>
                </c:pt>
                <c:pt idx="2898">
                  <c:v>182.93441456817609</c:v>
                </c:pt>
                <c:pt idx="2899">
                  <c:v>184.91734678964102</c:v>
                </c:pt>
                <c:pt idx="2900">
                  <c:v>184.99281525721278</c:v>
                </c:pt>
                <c:pt idx="2901">
                  <c:v>184.99281525721278</c:v>
                </c:pt>
                <c:pt idx="2902">
                  <c:v>184.99281525721278</c:v>
                </c:pt>
                <c:pt idx="2903">
                  <c:v>184.43120296908603</c:v>
                </c:pt>
                <c:pt idx="2904">
                  <c:v>185.3161592102926</c:v>
                </c:pt>
                <c:pt idx="2905">
                  <c:v>183.01263858175363</c:v>
                </c:pt>
                <c:pt idx="2906">
                  <c:v>182.31977103334697</c:v>
                </c:pt>
                <c:pt idx="2907">
                  <c:v>183.22704890994021</c:v>
                </c:pt>
                <c:pt idx="2908">
                  <c:v>183.22704890994021</c:v>
                </c:pt>
                <c:pt idx="2909">
                  <c:v>183.22704890994021</c:v>
                </c:pt>
                <c:pt idx="2910">
                  <c:v>184.53780941107971</c:v>
                </c:pt>
                <c:pt idx="2911">
                  <c:v>183.80443585732104</c:v>
                </c:pt>
                <c:pt idx="2912">
                  <c:v>184.85467969945492</c:v>
                </c:pt>
                <c:pt idx="2913">
                  <c:v>182.78688231250922</c:v>
                </c:pt>
                <c:pt idx="2914">
                  <c:v>181.28915950047934</c:v>
                </c:pt>
                <c:pt idx="2915">
                  <c:v>181.28915950047934</c:v>
                </c:pt>
                <c:pt idx="2916">
                  <c:v>181.28915950047934</c:v>
                </c:pt>
                <c:pt idx="2917">
                  <c:v>182.03421081084485</c:v>
                </c:pt>
                <c:pt idx="2918">
                  <c:v>182.24197737769595</c:v>
                </c:pt>
                <c:pt idx="2919">
                  <c:v>182.87360437983</c:v>
                </c:pt>
                <c:pt idx="2920">
                  <c:v>184.28723380031047</c:v>
                </c:pt>
                <c:pt idx="2921">
                  <c:v>184.91363532235943</c:v>
                </c:pt>
                <c:pt idx="2922">
                  <c:v>184.91575628175659</c:v>
                </c:pt>
                <c:pt idx="2923">
                  <c:v>184.91575628175659</c:v>
                </c:pt>
                <c:pt idx="2924">
                  <c:v>186.09675774240128</c:v>
                </c:pt>
                <c:pt idx="2925">
                  <c:v>185.46743619771138</c:v>
                </c:pt>
                <c:pt idx="2926">
                  <c:v>186.07059855631869</c:v>
                </c:pt>
                <c:pt idx="2927">
                  <c:v>185.49176827762369</c:v>
                </c:pt>
                <c:pt idx="2928">
                  <c:v>185.80609520847622</c:v>
                </c:pt>
                <c:pt idx="2929">
                  <c:v>185.80609520847622</c:v>
                </c:pt>
                <c:pt idx="2930">
                  <c:v>185.80609520847622</c:v>
                </c:pt>
                <c:pt idx="2931">
                  <c:v>184.99972648424668</c:v>
                </c:pt>
                <c:pt idx="2932">
                  <c:v>184.66346543139713</c:v>
                </c:pt>
                <c:pt idx="2933">
                  <c:v>185.71890208153167</c:v>
                </c:pt>
                <c:pt idx="2934">
                  <c:v>186.27864585208226</c:v>
                </c:pt>
                <c:pt idx="2935">
                  <c:v>185.3381920294876</c:v>
                </c:pt>
                <c:pt idx="2936">
                  <c:v>185.3381920294876</c:v>
                </c:pt>
                <c:pt idx="2937">
                  <c:v>185.3381920294876</c:v>
                </c:pt>
                <c:pt idx="2938">
                  <c:v>184.93624909243326</c:v>
                </c:pt>
                <c:pt idx="2939">
                  <c:v>184.63290371113442</c:v>
                </c:pt>
                <c:pt idx="2940">
                  <c:v>184.74622584844519</c:v>
                </c:pt>
                <c:pt idx="2941">
                  <c:v>185.02986488152806</c:v>
                </c:pt>
                <c:pt idx="2942">
                  <c:v>184.57934306472262</c:v>
                </c:pt>
                <c:pt idx="2943">
                  <c:v>184.57934306472262</c:v>
                </c:pt>
                <c:pt idx="2944">
                  <c:v>184.57934306472262</c:v>
                </c:pt>
                <c:pt idx="2945">
                  <c:v>185.04247847758003</c:v>
                </c:pt>
                <c:pt idx="2946">
                  <c:v>184.218238214423</c:v>
                </c:pt>
                <c:pt idx="2947">
                  <c:v>184.51287502244077</c:v>
                </c:pt>
                <c:pt idx="2948">
                  <c:v>185.63546057972104</c:v>
                </c:pt>
                <c:pt idx="2949">
                  <c:v>186.07016128140597</c:v>
                </c:pt>
                <c:pt idx="2950">
                  <c:v>186.07016128140597</c:v>
                </c:pt>
                <c:pt idx="2951">
                  <c:v>186.07016128140597</c:v>
                </c:pt>
                <c:pt idx="2952">
                  <c:v>186.12874175028219</c:v>
                </c:pt>
                <c:pt idx="2953">
                  <c:v>186.03710126428143</c:v>
                </c:pt>
                <c:pt idx="2954">
                  <c:v>182.23273742234852</c:v>
                </c:pt>
                <c:pt idx="2955">
                  <c:v>181.80382716224179</c:v>
                </c:pt>
                <c:pt idx="2956">
                  <c:v>184.15760313370762</c:v>
                </c:pt>
                <c:pt idx="2957">
                  <c:v>184.15760313370762</c:v>
                </c:pt>
                <c:pt idx="2958">
                  <c:v>184.15760313370762</c:v>
                </c:pt>
                <c:pt idx="2959">
                  <c:v>184.19043475119432</c:v>
                </c:pt>
                <c:pt idx="2960">
                  <c:v>183.60605007505052</c:v>
                </c:pt>
                <c:pt idx="2961">
                  <c:v>184.34078640563587</c:v>
                </c:pt>
                <c:pt idx="2962">
                  <c:v>184.33607834195107</c:v>
                </c:pt>
                <c:pt idx="2963">
                  <c:v>182.77460797625363</c:v>
                </c:pt>
                <c:pt idx="2964">
                  <c:v>182.77460797625363</c:v>
                </c:pt>
                <c:pt idx="2965">
                  <c:v>182.77460797625363</c:v>
                </c:pt>
                <c:pt idx="2966">
                  <c:v>183.05859219565068</c:v>
                </c:pt>
                <c:pt idx="2967">
                  <c:v>182.37541936016243</c:v>
                </c:pt>
                <c:pt idx="2968">
                  <c:v>182.02274724546632</c:v>
                </c:pt>
                <c:pt idx="2969">
                  <c:v>182.22795423002844</c:v>
                </c:pt>
                <c:pt idx="2970">
                  <c:v>181.61180871574496</c:v>
                </c:pt>
                <c:pt idx="2971">
                  <c:v>181.61180871574496</c:v>
                </c:pt>
                <c:pt idx="2972">
                  <c:v>181.61180871574496</c:v>
                </c:pt>
                <c:pt idx="2973">
                  <c:v>181.66725480094587</c:v>
                </c:pt>
                <c:pt idx="2974">
                  <c:v>182.19910748944619</c:v>
                </c:pt>
                <c:pt idx="2975">
                  <c:v>182.65996008993895</c:v>
                </c:pt>
                <c:pt idx="2976">
                  <c:v>184.01909449437656</c:v>
                </c:pt>
                <c:pt idx="2977">
                  <c:v>184.05384466018089</c:v>
                </c:pt>
                <c:pt idx="2978">
                  <c:v>184.05384466018089</c:v>
                </c:pt>
                <c:pt idx="2979">
                  <c:v>184.05384466018089</c:v>
                </c:pt>
                <c:pt idx="2980">
                  <c:v>184.21432120734008</c:v>
                </c:pt>
                <c:pt idx="2981">
                  <c:v>183.42947424969299</c:v>
                </c:pt>
                <c:pt idx="2982">
                  <c:v>184.16706250859843</c:v>
                </c:pt>
                <c:pt idx="2983">
                  <c:v>183.15516210865681</c:v>
                </c:pt>
                <c:pt idx="2984">
                  <c:v>184.08960326177061</c:v>
                </c:pt>
                <c:pt idx="2985">
                  <c:v>184.08960326177061</c:v>
                </c:pt>
                <c:pt idx="2986">
                  <c:v>184.08960326177061</c:v>
                </c:pt>
                <c:pt idx="2987">
                  <c:v>184.86980445473054</c:v>
                </c:pt>
                <c:pt idx="2988">
                  <c:v>184.72907601348547</c:v>
                </c:pt>
                <c:pt idx="2989">
                  <c:v>185.07037221787417</c:v>
                </c:pt>
                <c:pt idx="2990">
                  <c:v>185.65211317238521</c:v>
                </c:pt>
                <c:pt idx="2991">
                  <c:v>185.41250684208268</c:v>
                </c:pt>
                <c:pt idx="2992">
                  <c:v>185.41250684208268</c:v>
                </c:pt>
                <c:pt idx="2993">
                  <c:v>185.41250684208268</c:v>
                </c:pt>
                <c:pt idx="2994">
                  <c:v>184.70851594897903</c:v>
                </c:pt>
                <c:pt idx="2995">
                  <c:v>185.33943036816143</c:v>
                </c:pt>
                <c:pt idx="2996">
                  <c:v>185.45592546711936</c:v>
                </c:pt>
                <c:pt idx="2997">
                  <c:v>185.10644119381359</c:v>
                </c:pt>
                <c:pt idx="2998">
                  <c:v>185.68834735554373</c:v>
                </c:pt>
                <c:pt idx="2999">
                  <c:v>185.68834735554373</c:v>
                </c:pt>
                <c:pt idx="3000">
                  <c:v>185.68834735554373</c:v>
                </c:pt>
                <c:pt idx="3001">
                  <c:v>185.54334703886073</c:v>
                </c:pt>
                <c:pt idx="3002">
                  <c:v>185.80892821951173</c:v>
                </c:pt>
                <c:pt idx="3003">
                  <c:v>185.09252517395785</c:v>
                </c:pt>
                <c:pt idx="3004">
                  <c:v>184.27808289561264</c:v>
                </c:pt>
                <c:pt idx="3005">
                  <c:v>185.57843013088055</c:v>
                </c:pt>
                <c:pt idx="3006">
                  <c:v>185.57843013088055</c:v>
                </c:pt>
                <c:pt idx="3007">
                  <c:v>185.57843013088055</c:v>
                </c:pt>
                <c:pt idx="3008">
                  <c:v>186.38152635462484</c:v>
                </c:pt>
                <c:pt idx="3009">
                  <c:v>187.45959065173474</c:v>
                </c:pt>
                <c:pt idx="3010">
                  <c:v>187.5656365421664</c:v>
                </c:pt>
                <c:pt idx="3011">
                  <c:v>187.31431734576356</c:v>
                </c:pt>
                <c:pt idx="3012">
                  <c:v>186.01473061201864</c:v>
                </c:pt>
                <c:pt idx="3013">
                  <c:v>186.01701301276324</c:v>
                </c:pt>
                <c:pt idx="3014">
                  <c:v>186.01701301276324</c:v>
                </c:pt>
                <c:pt idx="3015">
                  <c:v>184.87825220233157</c:v>
                </c:pt>
                <c:pt idx="3016">
                  <c:v>183.11104536031002</c:v>
                </c:pt>
                <c:pt idx="3017">
                  <c:v>183.07908332734237</c:v>
                </c:pt>
                <c:pt idx="3018">
                  <c:v>182.4301924707236</c:v>
                </c:pt>
                <c:pt idx="3019">
                  <c:v>183.96115029454177</c:v>
                </c:pt>
                <c:pt idx="3020">
                  <c:v>183.96115029454177</c:v>
                </c:pt>
                <c:pt idx="3021">
                  <c:v>183.96115029454177</c:v>
                </c:pt>
                <c:pt idx="3022">
                  <c:v>183.49602844097157</c:v>
                </c:pt>
                <c:pt idx="3023">
                  <c:v>183.40842560203356</c:v>
                </c:pt>
                <c:pt idx="3024">
                  <c:v>183.59107288266935</c:v>
                </c:pt>
                <c:pt idx="3025">
                  <c:v>184.93870295814656</c:v>
                </c:pt>
                <c:pt idx="3026">
                  <c:v>184.29011922809829</c:v>
                </c:pt>
                <c:pt idx="3027">
                  <c:v>184.29011922809829</c:v>
                </c:pt>
                <c:pt idx="3028">
                  <c:v>184.29011922809829</c:v>
                </c:pt>
                <c:pt idx="3029">
                  <c:v>186.05907769584138</c:v>
                </c:pt>
                <c:pt idx="3030">
                  <c:v>187.5522669150277</c:v>
                </c:pt>
                <c:pt idx="3031">
                  <c:v>187.78501927826926</c:v>
                </c:pt>
                <c:pt idx="3032">
                  <c:v>188.52931459142962</c:v>
                </c:pt>
                <c:pt idx="3033">
                  <c:v>188.78298078421238</c:v>
                </c:pt>
                <c:pt idx="3034">
                  <c:v>188.78298078421238</c:v>
                </c:pt>
                <c:pt idx="3035">
                  <c:v>188.78298078421238</c:v>
                </c:pt>
                <c:pt idx="3036">
                  <c:v>190.13148404557131</c:v>
                </c:pt>
                <c:pt idx="3037">
                  <c:v>190.15125201596754</c:v>
                </c:pt>
                <c:pt idx="3038">
                  <c:v>190.07843739703307</c:v>
                </c:pt>
                <c:pt idx="3039">
                  <c:v>189.98939325225007</c:v>
                </c:pt>
                <c:pt idx="3040">
                  <c:v>189.89817364486785</c:v>
                </c:pt>
                <c:pt idx="3041">
                  <c:v>189.89817364486785</c:v>
                </c:pt>
                <c:pt idx="3042">
                  <c:v>189.89817364486785</c:v>
                </c:pt>
                <c:pt idx="3043">
                  <c:v>188.91017902295528</c:v>
                </c:pt>
                <c:pt idx="3044">
                  <c:v>187.91517399722704</c:v>
                </c:pt>
                <c:pt idx="3045">
                  <c:v>187.89708716172981</c:v>
                </c:pt>
                <c:pt idx="3046">
                  <c:v>189.56089332089644</c:v>
                </c:pt>
                <c:pt idx="3047">
                  <c:v>190.24085582767424</c:v>
                </c:pt>
                <c:pt idx="3048">
                  <c:v>190.24085582767424</c:v>
                </c:pt>
                <c:pt idx="3049">
                  <c:v>190.24085582767424</c:v>
                </c:pt>
                <c:pt idx="3050">
                  <c:v>189.40258422778086</c:v>
                </c:pt>
                <c:pt idx="3051">
                  <c:v>189.56108578039189</c:v>
                </c:pt>
                <c:pt idx="3052">
                  <c:v>189.85653189746748</c:v>
                </c:pt>
                <c:pt idx="3053">
                  <c:v>191.00937873045527</c:v>
                </c:pt>
                <c:pt idx="3054">
                  <c:v>190.99223372862042</c:v>
                </c:pt>
                <c:pt idx="3055">
                  <c:v>190.99223372862042</c:v>
                </c:pt>
                <c:pt idx="3056">
                  <c:v>190.99223372862042</c:v>
                </c:pt>
                <c:pt idx="3057">
                  <c:v>192.49806615731762</c:v>
                </c:pt>
                <c:pt idx="3058">
                  <c:v>192.33096051106713</c:v>
                </c:pt>
                <c:pt idx="3059">
                  <c:v>192.81404395451159</c:v>
                </c:pt>
                <c:pt idx="3060">
                  <c:v>192.9431695916075</c:v>
                </c:pt>
                <c:pt idx="3061">
                  <c:v>194.05606965267529</c:v>
                </c:pt>
                <c:pt idx="3062">
                  <c:v>194.05606965267529</c:v>
                </c:pt>
                <c:pt idx="3063">
                  <c:v>194.05606965267529</c:v>
                </c:pt>
                <c:pt idx="3064">
                  <c:v>194.16376494965044</c:v>
                </c:pt>
                <c:pt idx="3065">
                  <c:v>193.36731489401521</c:v>
                </c:pt>
                <c:pt idx="3066">
                  <c:v>193.05865038394248</c:v>
                </c:pt>
                <c:pt idx="3067">
                  <c:v>192.77477887500442</c:v>
                </c:pt>
                <c:pt idx="3068">
                  <c:v>193.37605690455004</c:v>
                </c:pt>
                <c:pt idx="3069">
                  <c:v>193.37605690455004</c:v>
                </c:pt>
                <c:pt idx="3070">
                  <c:v>193.37605690455004</c:v>
                </c:pt>
                <c:pt idx="3071">
                  <c:v>191.06766116542107</c:v>
                </c:pt>
                <c:pt idx="3072">
                  <c:v>192.64776970581639</c:v>
                </c:pt>
                <c:pt idx="3073">
                  <c:v>192.47230419069064</c:v>
                </c:pt>
                <c:pt idx="3074">
                  <c:v>191.0974822207487</c:v>
                </c:pt>
                <c:pt idx="3075">
                  <c:v>188.79595574120219</c:v>
                </c:pt>
                <c:pt idx="3076">
                  <c:v>188.79595574120219</c:v>
                </c:pt>
                <c:pt idx="3077">
                  <c:v>188.79595574120219</c:v>
                </c:pt>
                <c:pt idx="3078">
                  <c:v>191.215929086176</c:v>
                </c:pt>
                <c:pt idx="3079">
                  <c:v>193.40630372953956</c:v>
                </c:pt>
                <c:pt idx="3080">
                  <c:v>194.49718490884348</c:v>
                </c:pt>
                <c:pt idx="3081">
                  <c:v>195.76775527400713</c:v>
                </c:pt>
                <c:pt idx="3082">
                  <c:v>194.95022325495023</c:v>
                </c:pt>
                <c:pt idx="3083">
                  <c:v>194.95022325495023</c:v>
                </c:pt>
                <c:pt idx="3084">
                  <c:v>194.95022325495023</c:v>
                </c:pt>
                <c:pt idx="3085">
                  <c:v>195.32806213114736</c:v>
                </c:pt>
                <c:pt idx="3086">
                  <c:v>195.77115407368879</c:v>
                </c:pt>
                <c:pt idx="3087">
                  <c:v>195.83808431584347</c:v>
                </c:pt>
                <c:pt idx="3088">
                  <c:v>194.64790577574573</c:v>
                </c:pt>
                <c:pt idx="3089">
                  <c:v>194.80884455719922</c:v>
                </c:pt>
                <c:pt idx="3090">
                  <c:v>194.80884455719922</c:v>
                </c:pt>
                <c:pt idx="3091">
                  <c:v>194.80884455719922</c:v>
                </c:pt>
                <c:pt idx="3092">
                  <c:v>194.88255632780275</c:v>
                </c:pt>
                <c:pt idx="3093">
                  <c:v>193.76171269099015</c:v>
                </c:pt>
                <c:pt idx="3094">
                  <c:v>195.41473261429951</c:v>
                </c:pt>
                <c:pt idx="3095">
                  <c:v>195.89265256341233</c:v>
                </c:pt>
                <c:pt idx="3096">
                  <c:v>194.3184180699557</c:v>
                </c:pt>
                <c:pt idx="3097">
                  <c:v>194.3184180699557</c:v>
                </c:pt>
                <c:pt idx="3098">
                  <c:v>194.3184180699557</c:v>
                </c:pt>
                <c:pt idx="3099">
                  <c:v>190.27557285922157</c:v>
                </c:pt>
                <c:pt idx="3100">
                  <c:v>186.4412232362146</c:v>
                </c:pt>
                <c:pt idx="3101">
                  <c:v>186.87490789440881</c:v>
                </c:pt>
                <c:pt idx="3102">
                  <c:v>183.05923622505026</c:v>
                </c:pt>
                <c:pt idx="3103">
                  <c:v>180.39969123162479</c:v>
                </c:pt>
                <c:pt idx="3104">
                  <c:v>180.40198771969415</c:v>
                </c:pt>
                <c:pt idx="3105">
                  <c:v>180.40198771969415</c:v>
                </c:pt>
                <c:pt idx="3106">
                  <c:v>184.56457416423896</c:v>
                </c:pt>
                <c:pt idx="3107">
                  <c:v>183.61535117672932</c:v>
                </c:pt>
                <c:pt idx="3108">
                  <c:v>186.41923470764547</c:v>
                </c:pt>
                <c:pt idx="3109">
                  <c:v>183.45828766959056</c:v>
                </c:pt>
                <c:pt idx="3110">
                  <c:v>179.46446495742427</c:v>
                </c:pt>
                <c:pt idx="3111">
                  <c:v>179.46446495742427</c:v>
                </c:pt>
                <c:pt idx="3112">
                  <c:v>179.46446495742427</c:v>
                </c:pt>
                <c:pt idx="3113">
                  <c:v>169.72442953297227</c:v>
                </c:pt>
                <c:pt idx="3114">
                  <c:v>172.57103069265631</c:v>
                </c:pt>
                <c:pt idx="3115">
                  <c:v>169.08680260015819</c:v>
                </c:pt>
                <c:pt idx="3116">
                  <c:v>159.28348795900624</c:v>
                </c:pt>
                <c:pt idx="3117">
                  <c:v>163.88036482212652</c:v>
                </c:pt>
                <c:pt idx="3118">
                  <c:v>163.88036482212652</c:v>
                </c:pt>
                <c:pt idx="3119">
                  <c:v>163.88036482212652</c:v>
                </c:pt>
                <c:pt idx="3120">
                  <c:v>155.69965038903646</c:v>
                </c:pt>
                <c:pt idx="3121">
                  <c:v>159.41909861431651</c:v>
                </c:pt>
                <c:pt idx="3122">
                  <c:v>155.23100903976572</c:v>
                </c:pt>
                <c:pt idx="3123">
                  <c:v>156.67955651448082</c:v>
                </c:pt>
                <c:pt idx="3124">
                  <c:v>155.16956042216364</c:v>
                </c:pt>
                <c:pt idx="3125">
                  <c:v>155.16956042216364</c:v>
                </c:pt>
                <c:pt idx="3126">
                  <c:v>155.16956042216364</c:v>
                </c:pt>
                <c:pt idx="3127">
                  <c:v>153.66115091851736</c:v>
                </c:pt>
                <c:pt idx="3128">
                  <c:v>161.43770820155413</c:v>
                </c:pt>
                <c:pt idx="3129">
                  <c:v>165.80852598784671</c:v>
                </c:pt>
                <c:pt idx="3130">
                  <c:v>168.17267369393923</c:v>
                </c:pt>
                <c:pt idx="3131">
                  <c:v>162.6384809825538</c:v>
                </c:pt>
                <c:pt idx="3132">
                  <c:v>162.6384809825538</c:v>
                </c:pt>
                <c:pt idx="3133">
                  <c:v>162.6384809825538</c:v>
                </c:pt>
                <c:pt idx="3134">
                  <c:v>164.20450577293229</c:v>
                </c:pt>
                <c:pt idx="3135">
                  <c:v>164.83590986466555</c:v>
                </c:pt>
                <c:pt idx="3136">
                  <c:v>160.69014497268674</c:v>
                </c:pt>
                <c:pt idx="3137">
                  <c:v>162.25413893990299</c:v>
                </c:pt>
                <c:pt idx="3138">
                  <c:v>161.73121818822051</c:v>
                </c:pt>
                <c:pt idx="3139">
                  <c:v>161.73121818822051</c:v>
                </c:pt>
                <c:pt idx="3140">
                  <c:v>161.73121818822051</c:v>
                </c:pt>
                <c:pt idx="3141">
                  <c:v>167.38172688335419</c:v>
                </c:pt>
                <c:pt idx="3142">
                  <c:v>168.54039341135885</c:v>
                </c:pt>
                <c:pt idx="3143">
                  <c:v>169.30907412303333</c:v>
                </c:pt>
                <c:pt idx="3144">
                  <c:v>171.43931412128634</c:v>
                </c:pt>
                <c:pt idx="3145">
                  <c:v>171.47383514157778</c:v>
                </c:pt>
                <c:pt idx="3146">
                  <c:v>171.47383514157778</c:v>
                </c:pt>
                <c:pt idx="3147">
                  <c:v>171.47383514157778</c:v>
                </c:pt>
                <c:pt idx="3148">
                  <c:v>170.4759980295986</c:v>
                </c:pt>
                <c:pt idx="3149">
                  <c:v>171.40063256675145</c:v>
                </c:pt>
                <c:pt idx="3150">
                  <c:v>168.82769653514015</c:v>
                </c:pt>
                <c:pt idx="3151">
                  <c:v>170.18334073139317</c:v>
                </c:pt>
                <c:pt idx="3152">
                  <c:v>173.55557298115454</c:v>
                </c:pt>
                <c:pt idx="3153">
                  <c:v>173.55557298115454</c:v>
                </c:pt>
                <c:pt idx="3154">
                  <c:v>173.55557298115454</c:v>
                </c:pt>
                <c:pt idx="3155">
                  <c:v>173.1089086229745</c:v>
                </c:pt>
                <c:pt idx="3156">
                  <c:v>170.46302897130479</c:v>
                </c:pt>
                <c:pt idx="3157">
                  <c:v>172.34796993917283</c:v>
                </c:pt>
                <c:pt idx="3158">
                  <c:v>172.32747776554706</c:v>
                </c:pt>
                <c:pt idx="3159">
                  <c:v>172.39954511674858</c:v>
                </c:pt>
                <c:pt idx="3160">
                  <c:v>172.39954511674858</c:v>
                </c:pt>
                <c:pt idx="3161">
                  <c:v>172.39954511674858</c:v>
                </c:pt>
                <c:pt idx="3162">
                  <c:v>173.64283029628976</c:v>
                </c:pt>
                <c:pt idx="3163">
                  <c:v>174.38877905810298</c:v>
                </c:pt>
                <c:pt idx="3164">
                  <c:v>177.62026417012231</c:v>
                </c:pt>
                <c:pt idx="3165">
                  <c:v>173.75112110304377</c:v>
                </c:pt>
                <c:pt idx="3166">
                  <c:v>171.53722254319541</c:v>
                </c:pt>
                <c:pt idx="3167">
                  <c:v>171.53722254319541</c:v>
                </c:pt>
                <c:pt idx="3168">
                  <c:v>171.53722254319541</c:v>
                </c:pt>
                <c:pt idx="3169">
                  <c:v>171.3790583625217</c:v>
                </c:pt>
                <c:pt idx="3170">
                  <c:v>172.55491921638691</c:v>
                </c:pt>
                <c:pt idx="3171">
                  <c:v>172.75650477521225</c:v>
                </c:pt>
                <c:pt idx="3172">
                  <c:v>175.21987260053791</c:v>
                </c:pt>
                <c:pt idx="3173">
                  <c:v>175.60906747716078</c:v>
                </c:pt>
                <c:pt idx="3174">
                  <c:v>175.60906747716078</c:v>
                </c:pt>
                <c:pt idx="3175">
                  <c:v>175.60906747716078</c:v>
                </c:pt>
                <c:pt idx="3176">
                  <c:v>176.40733712737307</c:v>
                </c:pt>
                <c:pt idx="3177">
                  <c:v>175.74510751194364</c:v>
                </c:pt>
                <c:pt idx="3178">
                  <c:v>174.9447537476278</c:v>
                </c:pt>
                <c:pt idx="3179">
                  <c:v>173.78853862176712</c:v>
                </c:pt>
                <c:pt idx="3180">
                  <c:v>175.03932601616492</c:v>
                </c:pt>
                <c:pt idx="3181">
                  <c:v>175.03932601616492</c:v>
                </c:pt>
                <c:pt idx="3182">
                  <c:v>175.03932601616492</c:v>
                </c:pt>
                <c:pt idx="3183">
                  <c:v>178.79793496135048</c:v>
                </c:pt>
                <c:pt idx="3184">
                  <c:v>178.03957603606736</c:v>
                </c:pt>
                <c:pt idx="3185">
                  <c:v>179.49726082169659</c:v>
                </c:pt>
                <c:pt idx="3186">
                  <c:v>178.88622701624303</c:v>
                </c:pt>
                <c:pt idx="3187">
                  <c:v>178.20154177120062</c:v>
                </c:pt>
                <c:pt idx="3188">
                  <c:v>178.20154177120062</c:v>
                </c:pt>
                <c:pt idx="3189">
                  <c:v>178.20154177120062</c:v>
                </c:pt>
                <c:pt idx="3190">
                  <c:v>178.79264519533277</c:v>
                </c:pt>
                <c:pt idx="3191">
                  <c:v>179.50711669687138</c:v>
                </c:pt>
                <c:pt idx="3192">
                  <c:v>181.6424597591795</c:v>
                </c:pt>
                <c:pt idx="3193">
                  <c:v>182.25333424989722</c:v>
                </c:pt>
                <c:pt idx="3194">
                  <c:v>181.33057832845662</c:v>
                </c:pt>
                <c:pt idx="3195">
                  <c:v>181.33057832845662</c:v>
                </c:pt>
                <c:pt idx="3196">
                  <c:v>181.33564107820354</c:v>
                </c:pt>
                <c:pt idx="3197">
                  <c:v>181.50506478101934</c:v>
                </c:pt>
                <c:pt idx="3198">
                  <c:v>182.37592245173738</c:v>
                </c:pt>
                <c:pt idx="3199">
                  <c:v>184.55085928125015</c:v>
                </c:pt>
                <c:pt idx="3200">
                  <c:v>184.1664453778931</c:v>
                </c:pt>
                <c:pt idx="3201">
                  <c:v>185.82670772463925</c:v>
                </c:pt>
                <c:pt idx="3202">
                  <c:v>185.82670772463925</c:v>
                </c:pt>
                <c:pt idx="3203">
                  <c:v>185.82670772463925</c:v>
                </c:pt>
                <c:pt idx="3204">
                  <c:v>186.63662228065465</c:v>
                </c:pt>
                <c:pt idx="3205">
                  <c:v>185.50121092354539</c:v>
                </c:pt>
                <c:pt idx="3206">
                  <c:v>185.63421529177759</c:v>
                </c:pt>
                <c:pt idx="3207">
                  <c:v>180.61521187488088</c:v>
                </c:pt>
                <c:pt idx="3208">
                  <c:v>181.77533227918715</c:v>
                </c:pt>
                <c:pt idx="3209">
                  <c:v>181.77533227918715</c:v>
                </c:pt>
                <c:pt idx="3210">
                  <c:v>181.77533227918715</c:v>
                </c:pt>
                <c:pt idx="3211">
                  <c:v>180.87758390363334</c:v>
                </c:pt>
                <c:pt idx="3212">
                  <c:v>184.48427207401676</c:v>
                </c:pt>
                <c:pt idx="3213">
                  <c:v>185.26868812981917</c:v>
                </c:pt>
                <c:pt idx="3214">
                  <c:v>185.87640648062262</c:v>
                </c:pt>
                <c:pt idx="3215">
                  <c:v>186.84525007412157</c:v>
                </c:pt>
                <c:pt idx="3216">
                  <c:v>186.84525007412157</c:v>
                </c:pt>
                <c:pt idx="3217">
                  <c:v>186.84525007412157</c:v>
                </c:pt>
                <c:pt idx="3218">
                  <c:v>185.98778358938642</c:v>
                </c:pt>
                <c:pt idx="3219">
                  <c:v>187.07337010378581</c:v>
                </c:pt>
                <c:pt idx="3220">
                  <c:v>184.01260283203933</c:v>
                </c:pt>
                <c:pt idx="3221">
                  <c:v>184.98185425506256</c:v>
                </c:pt>
                <c:pt idx="3222">
                  <c:v>184.51280871595779</c:v>
                </c:pt>
                <c:pt idx="3223">
                  <c:v>184.51280871595779</c:v>
                </c:pt>
                <c:pt idx="3224">
                  <c:v>184.51280871595779</c:v>
                </c:pt>
                <c:pt idx="3225">
                  <c:v>185.80642617273728</c:v>
                </c:pt>
                <c:pt idx="3226">
                  <c:v>185.65266020669378</c:v>
                </c:pt>
                <c:pt idx="3227">
                  <c:v>184.85085978473992</c:v>
                </c:pt>
                <c:pt idx="3228">
                  <c:v>186.24576840328734</c:v>
                </c:pt>
                <c:pt idx="3229">
                  <c:v>185.68512766632441</c:v>
                </c:pt>
                <c:pt idx="3230">
                  <c:v>185.68512766632441</c:v>
                </c:pt>
                <c:pt idx="3231">
                  <c:v>185.68512766632441</c:v>
                </c:pt>
                <c:pt idx="3232">
                  <c:v>188.13400997663385</c:v>
                </c:pt>
                <c:pt idx="3233">
                  <c:v>186.03068867715598</c:v>
                </c:pt>
                <c:pt idx="3234">
                  <c:v>186.42220886454592</c:v>
                </c:pt>
                <c:pt idx="3235">
                  <c:v>185.3951679030252</c:v>
                </c:pt>
                <c:pt idx="3236">
                  <c:v>185.97285739225933</c:v>
                </c:pt>
                <c:pt idx="3237">
                  <c:v>185.97285739225933</c:v>
                </c:pt>
                <c:pt idx="3238">
                  <c:v>185.97285739225933</c:v>
                </c:pt>
                <c:pt idx="3239">
                  <c:v>186.848012184033</c:v>
                </c:pt>
                <c:pt idx="3240">
                  <c:v>187.84389714113294</c:v>
                </c:pt>
                <c:pt idx="3241">
                  <c:v>189.28885250798965</c:v>
                </c:pt>
                <c:pt idx="3242">
                  <c:v>188.57011705635125</c:v>
                </c:pt>
                <c:pt idx="3243">
                  <c:v>189.76390355350338</c:v>
                </c:pt>
                <c:pt idx="3244">
                  <c:v>189.76390355350338</c:v>
                </c:pt>
                <c:pt idx="3245">
                  <c:v>189.76390355350338</c:v>
                </c:pt>
                <c:pt idx="3246">
                  <c:v>189.18469288360413</c:v>
                </c:pt>
                <c:pt idx="3247">
                  <c:v>188.81902157442326</c:v>
                </c:pt>
                <c:pt idx="3248">
                  <c:v>188.96758815697845</c:v>
                </c:pt>
                <c:pt idx="3249">
                  <c:v>188.26141439035993</c:v>
                </c:pt>
                <c:pt idx="3250">
                  <c:v>186.29023831189883</c:v>
                </c:pt>
                <c:pt idx="3251">
                  <c:v>186.29023831189883</c:v>
                </c:pt>
                <c:pt idx="3252">
                  <c:v>186.29023831189883</c:v>
                </c:pt>
                <c:pt idx="3253">
                  <c:v>186.7073048974315</c:v>
                </c:pt>
                <c:pt idx="3254">
                  <c:v>186.08017746515762</c:v>
                </c:pt>
                <c:pt idx="3255">
                  <c:v>186.72659022884318</c:v>
                </c:pt>
                <c:pt idx="3256">
                  <c:v>184.30358864871567</c:v>
                </c:pt>
                <c:pt idx="3257">
                  <c:v>183.37616377545592</c:v>
                </c:pt>
                <c:pt idx="3258">
                  <c:v>183.37616377545592</c:v>
                </c:pt>
                <c:pt idx="3259">
                  <c:v>183.37616377545592</c:v>
                </c:pt>
                <c:pt idx="3260">
                  <c:v>186.80262624735073</c:v>
                </c:pt>
                <c:pt idx="3261">
                  <c:v>187.02913377180695</c:v>
                </c:pt>
                <c:pt idx="3262">
                  <c:v>188.00070523475938</c:v>
                </c:pt>
                <c:pt idx="3263">
                  <c:v>187.46838123788717</c:v>
                </c:pt>
                <c:pt idx="3264">
                  <c:v>187.99530424108394</c:v>
                </c:pt>
                <c:pt idx="3265">
                  <c:v>187.99530424108394</c:v>
                </c:pt>
                <c:pt idx="3266">
                  <c:v>187.99530424108394</c:v>
                </c:pt>
                <c:pt idx="3267">
                  <c:v>187.84684810923085</c:v>
                </c:pt>
                <c:pt idx="3268">
                  <c:v>188.63703902508169</c:v>
                </c:pt>
                <c:pt idx="3269">
                  <c:v>191.05646373295036</c:v>
                </c:pt>
                <c:pt idx="3270">
                  <c:v>190.23529349900295</c:v>
                </c:pt>
                <c:pt idx="3271">
                  <c:v>189.05806994400774</c:v>
                </c:pt>
                <c:pt idx="3272">
                  <c:v>189.05806994400774</c:v>
                </c:pt>
                <c:pt idx="3273">
                  <c:v>189.05806994400774</c:v>
                </c:pt>
                <c:pt idx="3274">
                  <c:v>189.94872818325604</c:v>
                </c:pt>
                <c:pt idx="3275">
                  <c:v>188.76324867322793</c:v>
                </c:pt>
                <c:pt idx="3276">
                  <c:v>189.15965904597167</c:v>
                </c:pt>
                <c:pt idx="3277">
                  <c:v>188.327076589874</c:v>
                </c:pt>
                <c:pt idx="3278">
                  <c:v>189.14443116844018</c:v>
                </c:pt>
                <c:pt idx="3279">
                  <c:v>189.14443116844018</c:v>
                </c:pt>
                <c:pt idx="3280">
                  <c:v>189.14443116844018</c:v>
                </c:pt>
                <c:pt idx="3281">
                  <c:v>191.19232440492124</c:v>
                </c:pt>
                <c:pt idx="3282">
                  <c:v>190.48475602691701</c:v>
                </c:pt>
                <c:pt idx="3283">
                  <c:v>190.38683352838626</c:v>
                </c:pt>
                <c:pt idx="3284">
                  <c:v>190.29263773862976</c:v>
                </c:pt>
                <c:pt idx="3285">
                  <c:v>189.45804087047742</c:v>
                </c:pt>
                <c:pt idx="3286">
                  <c:v>189.45804087047742</c:v>
                </c:pt>
                <c:pt idx="3287">
                  <c:v>189.45804087047742</c:v>
                </c:pt>
                <c:pt idx="3288">
                  <c:v>188.55261331483578</c:v>
                </c:pt>
                <c:pt idx="3289">
                  <c:v>188.06701302897864</c:v>
                </c:pt>
                <c:pt idx="3290">
                  <c:v>190.82509852453433</c:v>
                </c:pt>
                <c:pt idx="3291">
                  <c:v>187.60548410447149</c:v>
                </c:pt>
                <c:pt idx="3292">
                  <c:v>186.74603899307596</c:v>
                </c:pt>
                <c:pt idx="3293">
                  <c:v>186.74603899307596</c:v>
                </c:pt>
                <c:pt idx="3294">
                  <c:v>186.74603899307596</c:v>
                </c:pt>
                <c:pt idx="3295">
                  <c:v>188.57582523710025</c:v>
                </c:pt>
                <c:pt idx="3296">
                  <c:v>187.86860177668055</c:v>
                </c:pt>
                <c:pt idx="3297">
                  <c:v>190.33755403305554</c:v>
                </c:pt>
                <c:pt idx="3298">
                  <c:v>190.35455688675731</c:v>
                </c:pt>
                <c:pt idx="3299">
                  <c:v>191.27418830426078</c:v>
                </c:pt>
                <c:pt idx="3300">
                  <c:v>191.27418830426078</c:v>
                </c:pt>
                <c:pt idx="3301">
                  <c:v>191.27418830426078</c:v>
                </c:pt>
                <c:pt idx="3302">
                  <c:v>191.43491600469284</c:v>
                </c:pt>
                <c:pt idx="3303">
                  <c:v>192.66496765703687</c:v>
                </c:pt>
                <c:pt idx="3304">
                  <c:v>191.33843467502399</c:v>
                </c:pt>
                <c:pt idx="3305">
                  <c:v>190.8481318495536</c:v>
                </c:pt>
                <c:pt idx="3306">
                  <c:v>190.01609506609174</c:v>
                </c:pt>
                <c:pt idx="3307">
                  <c:v>190.01609506609174</c:v>
                </c:pt>
                <c:pt idx="3308">
                  <c:v>190.01609506609174</c:v>
                </c:pt>
                <c:pt idx="3309">
                  <c:v>188.13613092617538</c:v>
                </c:pt>
                <c:pt idx="3310">
                  <c:v>189.18033536820968</c:v>
                </c:pt>
                <c:pt idx="3311">
                  <c:v>187.34632282337586</c:v>
                </c:pt>
                <c:pt idx="3312">
                  <c:v>186.62717710204927</c:v>
                </c:pt>
                <c:pt idx="3313">
                  <c:v>187.79383957426731</c:v>
                </c:pt>
                <c:pt idx="3314">
                  <c:v>187.79383957426731</c:v>
                </c:pt>
                <c:pt idx="3315">
                  <c:v>187.79383957426731</c:v>
                </c:pt>
                <c:pt idx="3316">
                  <c:v>189.00230044368129</c:v>
                </c:pt>
                <c:pt idx="3317">
                  <c:v>188.99936334793239</c:v>
                </c:pt>
                <c:pt idx="3318">
                  <c:v>188.75341658641409</c:v>
                </c:pt>
                <c:pt idx="3319">
                  <c:v>189.60631022446478</c:v>
                </c:pt>
                <c:pt idx="3320">
                  <c:v>188.60712668297009</c:v>
                </c:pt>
                <c:pt idx="3321">
                  <c:v>188.60712668297009</c:v>
                </c:pt>
                <c:pt idx="3322">
                  <c:v>188.60712668297009</c:v>
                </c:pt>
                <c:pt idx="3323">
                  <c:v>190.09231350203513</c:v>
                </c:pt>
                <c:pt idx="3324">
                  <c:v>189.37602665552811</c:v>
                </c:pt>
                <c:pt idx="3325">
                  <c:v>190.58352797044935</c:v>
                </c:pt>
                <c:pt idx="3326">
                  <c:v>191.37033110148727</c:v>
                </c:pt>
                <c:pt idx="3327">
                  <c:v>192.22755919002989</c:v>
                </c:pt>
                <c:pt idx="3328">
                  <c:v>192.22755919002989</c:v>
                </c:pt>
                <c:pt idx="3329">
                  <c:v>192.22755919002989</c:v>
                </c:pt>
                <c:pt idx="3330">
                  <c:v>192.63237312920378</c:v>
                </c:pt>
                <c:pt idx="3331">
                  <c:v>192.19727246169313</c:v>
                </c:pt>
                <c:pt idx="3332">
                  <c:v>191.35801039795282</c:v>
                </c:pt>
                <c:pt idx="3333">
                  <c:v>190.35568479380876</c:v>
                </c:pt>
                <c:pt idx="3334">
                  <c:v>191.30956855165161</c:v>
                </c:pt>
                <c:pt idx="3335">
                  <c:v>191.30956855165161</c:v>
                </c:pt>
                <c:pt idx="3336">
                  <c:v>191.30956855165161</c:v>
                </c:pt>
                <c:pt idx="3337">
                  <c:v>189.6131883453904</c:v>
                </c:pt>
                <c:pt idx="3338">
                  <c:v>190.55850489588636</c:v>
                </c:pt>
                <c:pt idx="3339">
                  <c:v>187.63044007720762</c:v>
                </c:pt>
                <c:pt idx="3340">
                  <c:v>188.0817062960285</c:v>
                </c:pt>
                <c:pt idx="3341">
                  <c:v>189.23118457141024</c:v>
                </c:pt>
                <c:pt idx="3342">
                  <c:v>189.23118457141024</c:v>
                </c:pt>
                <c:pt idx="3343">
                  <c:v>189.23118457141024</c:v>
                </c:pt>
                <c:pt idx="3344">
                  <c:v>186.71792194739612</c:v>
                </c:pt>
                <c:pt idx="3345">
                  <c:v>185.91623174490201</c:v>
                </c:pt>
                <c:pt idx="3346">
                  <c:v>182.3299448177892</c:v>
                </c:pt>
                <c:pt idx="3347">
                  <c:v>183.41755934832233</c:v>
                </c:pt>
                <c:pt idx="3348">
                  <c:v>182.30566376179686</c:v>
                </c:pt>
                <c:pt idx="3349">
                  <c:v>182.26642429072879</c:v>
                </c:pt>
                <c:pt idx="3350">
                  <c:v>182.30757093601244</c:v>
                </c:pt>
                <c:pt idx="3351">
                  <c:v>184.47287624060934</c:v>
                </c:pt>
                <c:pt idx="3352">
                  <c:v>186.38114299577899</c:v>
                </c:pt>
                <c:pt idx="3353">
                  <c:v>189.82123380258355</c:v>
                </c:pt>
                <c:pt idx="3354">
                  <c:v>191.47753796025137</c:v>
                </c:pt>
                <c:pt idx="3355">
                  <c:v>191.76507020512938</c:v>
                </c:pt>
                <c:pt idx="3356">
                  <c:v>191.76507020512938</c:v>
                </c:pt>
                <c:pt idx="3357">
                  <c:v>191.76507020512938</c:v>
                </c:pt>
                <c:pt idx="3358">
                  <c:v>195.28489122163472</c:v>
                </c:pt>
                <c:pt idx="3359">
                  <c:v>194.66196756991812</c:v>
                </c:pt>
                <c:pt idx="3360">
                  <c:v>196.00740879793176</c:v>
                </c:pt>
                <c:pt idx="3361">
                  <c:v>195.94925927996368</c:v>
                </c:pt>
                <c:pt idx="3362">
                  <c:v>196.44571828276798</c:v>
                </c:pt>
                <c:pt idx="3363">
                  <c:v>196.44571828276798</c:v>
                </c:pt>
                <c:pt idx="3364">
                  <c:v>196.44571828276798</c:v>
                </c:pt>
                <c:pt idx="3365">
                  <c:v>198.25112908315955</c:v>
                </c:pt>
                <c:pt idx="3366">
                  <c:v>196.88296632117601</c:v>
                </c:pt>
                <c:pt idx="3367">
                  <c:v>196.2645293603459</c:v>
                </c:pt>
                <c:pt idx="3368">
                  <c:v>196.85095992349343</c:v>
                </c:pt>
                <c:pt idx="3369">
                  <c:v>196.4844116250583</c:v>
                </c:pt>
                <c:pt idx="3370">
                  <c:v>196.4844116250583</c:v>
                </c:pt>
                <c:pt idx="3371">
                  <c:v>196.4844116250583</c:v>
                </c:pt>
                <c:pt idx="3372">
                  <c:v>196.57545267718476</c:v>
                </c:pt>
                <c:pt idx="3373">
                  <c:v>197.89718080863204</c:v>
                </c:pt>
                <c:pt idx="3374">
                  <c:v>197.69921040586652</c:v>
                </c:pt>
                <c:pt idx="3375">
                  <c:v>198.06623503600082</c:v>
                </c:pt>
                <c:pt idx="3376">
                  <c:v>198.28760970557585</c:v>
                </c:pt>
                <c:pt idx="3377">
                  <c:v>198.28760970557585</c:v>
                </c:pt>
                <c:pt idx="3378">
                  <c:v>198.28760970557585</c:v>
                </c:pt>
                <c:pt idx="3379">
                  <c:v>196.71191523217439</c:v>
                </c:pt>
                <c:pt idx="3380">
                  <c:v>198.5605547979518</c:v>
                </c:pt>
                <c:pt idx="3381">
                  <c:v>199.5463245570906</c:v>
                </c:pt>
                <c:pt idx="3382">
                  <c:v>198.20897506722523</c:v>
                </c:pt>
                <c:pt idx="3383">
                  <c:v>199.77025923547075</c:v>
                </c:pt>
                <c:pt idx="3384">
                  <c:v>199.77025923547075</c:v>
                </c:pt>
                <c:pt idx="3385">
                  <c:v>199.77025923547075</c:v>
                </c:pt>
                <c:pt idx="3386">
                  <c:v>201.18311441688769</c:v>
                </c:pt>
                <c:pt idx="3387">
                  <c:v>200.91076478757697</c:v>
                </c:pt>
                <c:pt idx="3388">
                  <c:v>200.34037912634503</c:v>
                </c:pt>
                <c:pt idx="3389">
                  <c:v>201.64935107505801</c:v>
                </c:pt>
                <c:pt idx="3390">
                  <c:v>201.42939599589238</c:v>
                </c:pt>
                <c:pt idx="3391">
                  <c:v>201.42939599589238</c:v>
                </c:pt>
                <c:pt idx="3392">
                  <c:v>201.42939599589238</c:v>
                </c:pt>
                <c:pt idx="3393">
                  <c:v>200.03993803660666</c:v>
                </c:pt>
                <c:pt idx="3394">
                  <c:v>200.04804165449653</c:v>
                </c:pt>
                <c:pt idx="3395">
                  <c:v>200.34859583275866</c:v>
                </c:pt>
                <c:pt idx="3396">
                  <c:v>200.50283820623244</c:v>
                </c:pt>
                <c:pt idx="3397">
                  <c:v>201.11998995228799</c:v>
                </c:pt>
                <c:pt idx="3398">
                  <c:v>201.11998995228799</c:v>
                </c:pt>
                <c:pt idx="3399">
                  <c:v>201.11998995228799</c:v>
                </c:pt>
                <c:pt idx="3400">
                  <c:v>201.45334834683382</c:v>
                </c:pt>
                <c:pt idx="3401">
                  <c:v>201.507734707287</c:v>
                </c:pt>
                <c:pt idx="3402">
                  <c:v>200.22472488501896</c:v>
                </c:pt>
                <c:pt idx="3403">
                  <c:v>200.20568151143516</c:v>
                </c:pt>
                <c:pt idx="3404">
                  <c:v>200.12076827573571</c:v>
                </c:pt>
                <c:pt idx="3405">
                  <c:v>200.12076827573571</c:v>
                </c:pt>
                <c:pt idx="3406">
                  <c:v>200.12076827573571</c:v>
                </c:pt>
                <c:pt idx="3407">
                  <c:v>201.99216762215102</c:v>
                </c:pt>
                <c:pt idx="3408">
                  <c:v>203.28054638442543</c:v>
                </c:pt>
                <c:pt idx="3409">
                  <c:v>202.33744661752954</c:v>
                </c:pt>
                <c:pt idx="3410">
                  <c:v>201.13231062185426</c:v>
                </c:pt>
                <c:pt idx="3411">
                  <c:v>201.13554684073216</c:v>
                </c:pt>
                <c:pt idx="3412">
                  <c:v>201.13554684073216</c:v>
                </c:pt>
                <c:pt idx="3413">
                  <c:v>201.13554684073216</c:v>
                </c:pt>
                <c:pt idx="3414">
                  <c:v>203.01163865388907</c:v>
                </c:pt>
                <c:pt idx="3415">
                  <c:v>203.69490477552455</c:v>
                </c:pt>
                <c:pt idx="3416">
                  <c:v>206.41736254496422</c:v>
                </c:pt>
                <c:pt idx="3417">
                  <c:v>208.16725747924463</c:v>
                </c:pt>
                <c:pt idx="3418">
                  <c:v>208.79982156956456</c:v>
                </c:pt>
                <c:pt idx="3419">
                  <c:v>208.79982156956456</c:v>
                </c:pt>
                <c:pt idx="3420">
                  <c:v>208.79982156956456</c:v>
                </c:pt>
                <c:pt idx="3421">
                  <c:v>208.00094718824474</c:v>
                </c:pt>
                <c:pt idx="3422">
                  <c:v>206.73457502147855</c:v>
                </c:pt>
                <c:pt idx="3423">
                  <c:v>206.75250097647864</c:v>
                </c:pt>
                <c:pt idx="3424">
                  <c:v>207.0978479489597</c:v>
                </c:pt>
                <c:pt idx="3425">
                  <c:v>206.67679317233771</c:v>
                </c:pt>
                <c:pt idx="3426">
                  <c:v>206.67679317233771</c:v>
                </c:pt>
                <c:pt idx="3427">
                  <c:v>206.67679317233771</c:v>
                </c:pt>
                <c:pt idx="3428">
                  <c:v>206.17200990622948</c:v>
                </c:pt>
                <c:pt idx="3429">
                  <c:v>207.45779958428957</c:v>
                </c:pt>
                <c:pt idx="3430">
                  <c:v>208.31798393328393</c:v>
                </c:pt>
                <c:pt idx="3431">
                  <c:v>207.05888504023309</c:v>
                </c:pt>
                <c:pt idx="3432">
                  <c:v>207.01760371032262</c:v>
                </c:pt>
                <c:pt idx="3433">
                  <c:v>207.01760371032262</c:v>
                </c:pt>
                <c:pt idx="3434">
                  <c:v>207.01760371032262</c:v>
                </c:pt>
                <c:pt idx="3435">
                  <c:v>206.58368653224164</c:v>
                </c:pt>
                <c:pt idx="3436">
                  <c:v>206.2078508971704</c:v>
                </c:pt>
                <c:pt idx="3437">
                  <c:v>203.60615531149995</c:v>
                </c:pt>
                <c:pt idx="3438">
                  <c:v>203.45627267632895</c:v>
                </c:pt>
                <c:pt idx="3439">
                  <c:v>200.35658177453874</c:v>
                </c:pt>
                <c:pt idx="3440">
                  <c:v>200.35658177453874</c:v>
                </c:pt>
                <c:pt idx="3441">
                  <c:v>200.36094954802144</c:v>
                </c:pt>
                <c:pt idx="3442">
                  <c:v>203.0921257523764</c:v>
                </c:pt>
                <c:pt idx="3443">
                  <c:v>205.02659449753784</c:v>
                </c:pt>
                <c:pt idx="3444">
                  <c:v>204.82557412269679</c:v>
                </c:pt>
                <c:pt idx="3445">
                  <c:v>205.45297738704778</c:v>
                </c:pt>
                <c:pt idx="3446">
                  <c:v>205.58101568255537</c:v>
                </c:pt>
                <c:pt idx="3447">
                  <c:v>205.58101568255537</c:v>
                </c:pt>
                <c:pt idx="3448">
                  <c:v>205.58101568255537</c:v>
                </c:pt>
                <c:pt idx="3449">
                  <c:v>206.22453154527537</c:v>
                </c:pt>
                <c:pt idx="3450">
                  <c:v>205.91404607731675</c:v>
                </c:pt>
                <c:pt idx="3451">
                  <c:v>205.90985366733861</c:v>
                </c:pt>
                <c:pt idx="3452">
                  <c:v>206.82459171946746</c:v>
                </c:pt>
                <c:pt idx="3453">
                  <c:v>207.2855354822949</c:v>
                </c:pt>
                <c:pt idx="3454">
                  <c:v>207.2855354822949</c:v>
                </c:pt>
                <c:pt idx="3455">
                  <c:v>207.2855354822949</c:v>
                </c:pt>
                <c:pt idx="3456">
                  <c:v>208.45352936193237</c:v>
                </c:pt>
                <c:pt idx="3457">
                  <c:v>208.15980791638492</c:v>
                </c:pt>
                <c:pt idx="3458">
                  <c:v>207.42811370197035</c:v>
                </c:pt>
                <c:pt idx="3459">
                  <c:v>204.65783864364073</c:v>
                </c:pt>
                <c:pt idx="3460">
                  <c:v>204.30778982984626</c:v>
                </c:pt>
                <c:pt idx="3461">
                  <c:v>204.30778982984626</c:v>
                </c:pt>
                <c:pt idx="3462">
                  <c:v>204.30778982984626</c:v>
                </c:pt>
                <c:pt idx="3463">
                  <c:v>202.79993500548716</c:v>
                </c:pt>
                <c:pt idx="3464">
                  <c:v>202.71396811303833</c:v>
                </c:pt>
                <c:pt idx="3465">
                  <c:v>203.26658058009224</c:v>
                </c:pt>
                <c:pt idx="3466">
                  <c:v>201.82115599091881</c:v>
                </c:pt>
                <c:pt idx="3467">
                  <c:v>200.04936604426297</c:v>
                </c:pt>
                <c:pt idx="3468">
                  <c:v>200.04936604426297</c:v>
                </c:pt>
                <c:pt idx="3469">
                  <c:v>200.05341904441906</c:v>
                </c:pt>
                <c:pt idx="3470">
                  <c:v>203.40313149770651</c:v>
                </c:pt>
                <c:pt idx="3471">
                  <c:v>203.32932667144257</c:v>
                </c:pt>
                <c:pt idx="3472">
                  <c:v>202.60853030827212</c:v>
                </c:pt>
                <c:pt idx="3473">
                  <c:v>200.68711662411727</c:v>
                </c:pt>
                <c:pt idx="3474">
                  <c:v>202.2452574182004</c:v>
                </c:pt>
                <c:pt idx="3475">
                  <c:v>202.2452574182004</c:v>
                </c:pt>
                <c:pt idx="3476">
                  <c:v>202.2452574182004</c:v>
                </c:pt>
                <c:pt idx="3477">
                  <c:v>202.50215136662555</c:v>
                </c:pt>
                <c:pt idx="3478">
                  <c:v>203.4296982958098</c:v>
                </c:pt>
                <c:pt idx="3479">
                  <c:v>204.02604635347302</c:v>
                </c:pt>
                <c:pt idx="3480">
                  <c:v>205.07304069476373</c:v>
                </c:pt>
                <c:pt idx="3481">
                  <c:v>205.22471476639197</c:v>
                </c:pt>
                <c:pt idx="3482">
                  <c:v>205.22471476639197</c:v>
                </c:pt>
                <c:pt idx="3483">
                  <c:v>205.22471476639197</c:v>
                </c:pt>
                <c:pt idx="3484">
                  <c:v>205.99802201410321</c:v>
                </c:pt>
                <c:pt idx="3485">
                  <c:v>206.34355279632857</c:v>
                </c:pt>
                <c:pt idx="3486">
                  <c:v>205.73662212387555</c:v>
                </c:pt>
                <c:pt idx="3487">
                  <c:v>204.79063484851886</c:v>
                </c:pt>
                <c:pt idx="3488">
                  <c:v>204.23270938665661</c:v>
                </c:pt>
                <c:pt idx="3489">
                  <c:v>204.23270938665661</c:v>
                </c:pt>
                <c:pt idx="3490">
                  <c:v>204.23270938665661</c:v>
                </c:pt>
                <c:pt idx="3491">
                  <c:v>205.15655400524005</c:v>
                </c:pt>
                <c:pt idx="3492">
                  <c:v>205.14790870805427</c:v>
                </c:pt>
                <c:pt idx="3493">
                  <c:v>205.30199530228489</c:v>
                </c:pt>
                <c:pt idx="3494">
                  <c:v>205.59981458875021</c:v>
                </c:pt>
                <c:pt idx="3495">
                  <c:v>207.17221318675095</c:v>
                </c:pt>
                <c:pt idx="3496">
                  <c:v>207.17221318675095</c:v>
                </c:pt>
                <c:pt idx="3497">
                  <c:v>207.17221318675095</c:v>
                </c:pt>
                <c:pt idx="3498">
                  <c:v>207.30199207625753</c:v>
                </c:pt>
                <c:pt idx="3499">
                  <c:v>207.72069234777348</c:v>
                </c:pt>
                <c:pt idx="3500">
                  <c:v>206.78789765230272</c:v>
                </c:pt>
                <c:pt idx="3501">
                  <c:v>208.31646552023264</c:v>
                </c:pt>
                <c:pt idx="3502">
                  <c:v>208.60797524942302</c:v>
                </c:pt>
                <c:pt idx="3503">
                  <c:v>208.60797524942302</c:v>
                </c:pt>
                <c:pt idx="3504">
                  <c:v>208.60797524942302</c:v>
                </c:pt>
                <c:pt idx="3505">
                  <c:v>208.93322011579392</c:v>
                </c:pt>
                <c:pt idx="3506">
                  <c:v>209.8848315387977</c:v>
                </c:pt>
                <c:pt idx="3507">
                  <c:v>211.11064920546181</c:v>
                </c:pt>
                <c:pt idx="3508">
                  <c:v>213.01050360417599</c:v>
                </c:pt>
                <c:pt idx="3509">
                  <c:v>213.39647011628659</c:v>
                </c:pt>
                <c:pt idx="3510">
                  <c:v>213.39647011628659</c:v>
                </c:pt>
                <c:pt idx="3511">
                  <c:v>213.39647011628659</c:v>
                </c:pt>
                <c:pt idx="3512">
                  <c:v>212.59291503824022</c:v>
                </c:pt>
                <c:pt idx="3513">
                  <c:v>213.39365263051923</c:v>
                </c:pt>
                <c:pt idx="3514">
                  <c:v>213.43075111702902</c:v>
                </c:pt>
                <c:pt idx="3515">
                  <c:v>214.83133066062419</c:v>
                </c:pt>
                <c:pt idx="3516">
                  <c:v>215.2300189406908</c:v>
                </c:pt>
                <c:pt idx="3517">
                  <c:v>215.2300189406908</c:v>
                </c:pt>
                <c:pt idx="3518">
                  <c:v>215.2300189406908</c:v>
                </c:pt>
                <c:pt idx="3519">
                  <c:v>213.28369818401049</c:v>
                </c:pt>
                <c:pt idx="3520">
                  <c:v>211.80739534759437</c:v>
                </c:pt>
                <c:pt idx="3521">
                  <c:v>212.72720285107457</c:v>
                </c:pt>
                <c:pt idx="3522">
                  <c:v>213.55852374164036</c:v>
                </c:pt>
                <c:pt idx="3523">
                  <c:v>214.67581495498138</c:v>
                </c:pt>
                <c:pt idx="3524">
                  <c:v>214.67581495498138</c:v>
                </c:pt>
                <c:pt idx="3525">
                  <c:v>214.67581495498138</c:v>
                </c:pt>
                <c:pt idx="3526">
                  <c:v>214.85424061182309</c:v>
                </c:pt>
                <c:pt idx="3527">
                  <c:v>214.33372398580485</c:v>
                </c:pt>
                <c:pt idx="3528">
                  <c:v>214.48658465441426</c:v>
                </c:pt>
                <c:pt idx="3529">
                  <c:v>214.61358216118813</c:v>
                </c:pt>
                <c:pt idx="3530">
                  <c:v>213.68478393871843</c:v>
                </c:pt>
                <c:pt idx="3531">
                  <c:v>213.68478393871843</c:v>
                </c:pt>
                <c:pt idx="3532">
                  <c:v>213.68478393871843</c:v>
                </c:pt>
                <c:pt idx="3533">
                  <c:v>213.23966998638272</c:v>
                </c:pt>
                <c:pt idx="3534">
                  <c:v>212.35937398074492</c:v>
                </c:pt>
                <c:pt idx="3535">
                  <c:v>213.47614219819732</c:v>
                </c:pt>
                <c:pt idx="3536">
                  <c:v>215.03401209778715</c:v>
                </c:pt>
                <c:pt idx="3537">
                  <c:v>215.80243614001859</c:v>
                </c:pt>
                <c:pt idx="3538">
                  <c:v>215.80243614001859</c:v>
                </c:pt>
                <c:pt idx="3539">
                  <c:v>215.80243614001859</c:v>
                </c:pt>
                <c:pt idx="3540">
                  <c:v>213.74988306125746</c:v>
                </c:pt>
                <c:pt idx="3541">
                  <c:v>210.71392507217584</c:v>
                </c:pt>
                <c:pt idx="3542">
                  <c:v>209.59148360040513</c:v>
                </c:pt>
                <c:pt idx="3543">
                  <c:v>210.17962664619554</c:v>
                </c:pt>
                <c:pt idx="3544">
                  <c:v>212.80328631484238</c:v>
                </c:pt>
                <c:pt idx="3545">
                  <c:v>212.80328631484238</c:v>
                </c:pt>
                <c:pt idx="3546">
                  <c:v>212.80328631484238</c:v>
                </c:pt>
                <c:pt idx="3547">
                  <c:v>212.29278825523599</c:v>
                </c:pt>
                <c:pt idx="3548">
                  <c:v>211.44048366066039</c:v>
                </c:pt>
                <c:pt idx="3549">
                  <c:v>211.12446894259082</c:v>
                </c:pt>
                <c:pt idx="3550">
                  <c:v>212.6532296671829</c:v>
                </c:pt>
                <c:pt idx="3551">
                  <c:v>212.73263225660833</c:v>
                </c:pt>
                <c:pt idx="3552">
                  <c:v>212.73263225660833</c:v>
                </c:pt>
                <c:pt idx="3553">
                  <c:v>212.73263225660833</c:v>
                </c:pt>
                <c:pt idx="3554">
                  <c:v>213.80737453337929</c:v>
                </c:pt>
                <c:pt idx="3555">
                  <c:v>214.32296674091901</c:v>
                </c:pt>
                <c:pt idx="3556">
                  <c:v>214.38483320849846</c:v>
                </c:pt>
                <c:pt idx="3557">
                  <c:v>213.4910199618856</c:v>
                </c:pt>
                <c:pt idx="3558">
                  <c:v>214.05531729093863</c:v>
                </c:pt>
                <c:pt idx="3559">
                  <c:v>214.05531729093863</c:v>
                </c:pt>
                <c:pt idx="3560">
                  <c:v>214.05531729093863</c:v>
                </c:pt>
                <c:pt idx="3561">
                  <c:v>213.40469829458598</c:v>
                </c:pt>
                <c:pt idx="3562">
                  <c:v>214.04025589895295</c:v>
                </c:pt>
                <c:pt idx="3563">
                  <c:v>214.24652649356278</c:v>
                </c:pt>
                <c:pt idx="3564">
                  <c:v>213.72176819129157</c:v>
                </c:pt>
                <c:pt idx="3565">
                  <c:v>214.46486595598662</c:v>
                </c:pt>
                <c:pt idx="3566">
                  <c:v>214.47985061617095</c:v>
                </c:pt>
                <c:pt idx="3567">
                  <c:v>214.47985061617095</c:v>
                </c:pt>
                <c:pt idx="3568">
                  <c:v>214.57305498005471</c:v>
                </c:pt>
                <c:pt idx="3569">
                  <c:v>214.63018076448205</c:v>
                </c:pt>
                <c:pt idx="3570">
                  <c:v>214.7101498235331</c:v>
                </c:pt>
                <c:pt idx="3571">
                  <c:v>214.65287159686468</c:v>
                </c:pt>
                <c:pt idx="3572">
                  <c:v>215.34466989714809</c:v>
                </c:pt>
                <c:pt idx="3573">
                  <c:v>215.34466989714809</c:v>
                </c:pt>
                <c:pt idx="3574">
                  <c:v>215.34466989714809</c:v>
                </c:pt>
                <c:pt idx="3575">
                  <c:v>215.64316560443262</c:v>
                </c:pt>
                <c:pt idx="3576">
                  <c:v>216.12428275834938</c:v>
                </c:pt>
                <c:pt idx="3577">
                  <c:v>215.80412272959964</c:v>
                </c:pt>
                <c:pt idx="3578">
                  <c:v>215.87555605226436</c:v>
                </c:pt>
                <c:pt idx="3579">
                  <c:v>214.66428478352179</c:v>
                </c:pt>
                <c:pt idx="3580">
                  <c:v>214.66428478352179</c:v>
                </c:pt>
                <c:pt idx="3581">
                  <c:v>214.66428478352179</c:v>
                </c:pt>
                <c:pt idx="3582">
                  <c:v>215.23887238131616</c:v>
                </c:pt>
                <c:pt idx="3583">
                  <c:v>215.79901647996746</c:v>
                </c:pt>
                <c:pt idx="3584">
                  <c:v>215.16060961755412</c:v>
                </c:pt>
                <c:pt idx="3585">
                  <c:v>217.07873848141534</c:v>
                </c:pt>
                <c:pt idx="3586">
                  <c:v>217.55734500086962</c:v>
                </c:pt>
                <c:pt idx="3587">
                  <c:v>217.55734500086962</c:v>
                </c:pt>
                <c:pt idx="3588">
                  <c:v>217.55734500086962</c:v>
                </c:pt>
                <c:pt idx="3589">
                  <c:v>217.76200119531191</c:v>
                </c:pt>
                <c:pt idx="3590">
                  <c:v>218.59776957827953</c:v>
                </c:pt>
                <c:pt idx="3591">
                  <c:v>217.90716020278396</c:v>
                </c:pt>
                <c:pt idx="3592">
                  <c:v>219.41299237986408</c:v>
                </c:pt>
                <c:pt idx="3593">
                  <c:v>220.18367612733849</c:v>
                </c:pt>
                <c:pt idx="3594">
                  <c:v>220.18367612733849</c:v>
                </c:pt>
                <c:pt idx="3595">
                  <c:v>220.18367612733849</c:v>
                </c:pt>
                <c:pt idx="3596">
                  <c:v>220.05800189051527</c:v>
                </c:pt>
                <c:pt idx="3597">
                  <c:v>220.03382191726755</c:v>
                </c:pt>
                <c:pt idx="3598">
                  <c:v>221.41651665453384</c:v>
                </c:pt>
                <c:pt idx="3599">
                  <c:v>219.23500156753437</c:v>
                </c:pt>
                <c:pt idx="3600">
                  <c:v>220.47395337014291</c:v>
                </c:pt>
                <c:pt idx="3601">
                  <c:v>220.47395337014291</c:v>
                </c:pt>
                <c:pt idx="3602">
                  <c:v>220.47395337014291</c:v>
                </c:pt>
                <c:pt idx="3603">
                  <c:v>220.95897181542236</c:v>
                </c:pt>
                <c:pt idx="3604">
                  <c:v>221.90825354054607</c:v>
                </c:pt>
                <c:pt idx="3605">
                  <c:v>221.48426231683629</c:v>
                </c:pt>
                <c:pt idx="3606">
                  <c:v>220.41002599227505</c:v>
                </c:pt>
                <c:pt idx="3607">
                  <c:v>220.4673854974393</c:v>
                </c:pt>
                <c:pt idx="3608">
                  <c:v>220.4673854974393</c:v>
                </c:pt>
                <c:pt idx="3609">
                  <c:v>220.4673854974393</c:v>
                </c:pt>
                <c:pt idx="3610">
                  <c:v>218.51989346166923</c:v>
                </c:pt>
                <c:pt idx="3611">
                  <c:v>220.469468950763</c:v>
                </c:pt>
                <c:pt idx="3612">
                  <c:v>221.92730567664239</c:v>
                </c:pt>
                <c:pt idx="3613">
                  <c:v>221.27750918344034</c:v>
                </c:pt>
                <c:pt idx="3614">
                  <c:v>222.8091965275583</c:v>
                </c:pt>
                <c:pt idx="3615">
                  <c:v>222.8091965275583</c:v>
                </c:pt>
                <c:pt idx="3616">
                  <c:v>222.8091965275583</c:v>
                </c:pt>
                <c:pt idx="3617">
                  <c:v>221.72792132154578</c:v>
                </c:pt>
                <c:pt idx="3618">
                  <c:v>220.65391339896925</c:v>
                </c:pt>
                <c:pt idx="3619">
                  <c:v>221.52481453630278</c:v>
                </c:pt>
                <c:pt idx="3620">
                  <c:v>222.87437693518012</c:v>
                </c:pt>
                <c:pt idx="3621">
                  <c:v>223.11064606216908</c:v>
                </c:pt>
                <c:pt idx="3622">
                  <c:v>223.11313151476622</c:v>
                </c:pt>
                <c:pt idx="3623">
                  <c:v>223.11313151476622</c:v>
                </c:pt>
                <c:pt idx="3624">
                  <c:v>223.77387436035326</c:v>
                </c:pt>
                <c:pt idx="3625">
                  <c:v>224.42988761268933</c:v>
                </c:pt>
                <c:pt idx="3626">
                  <c:v>224.37759769317444</c:v>
                </c:pt>
                <c:pt idx="3627">
                  <c:v>224.80511779271512</c:v>
                </c:pt>
                <c:pt idx="3628">
                  <c:v>225.24026856312415</c:v>
                </c:pt>
                <c:pt idx="3629">
                  <c:v>225.24026856312415</c:v>
                </c:pt>
                <c:pt idx="3630">
                  <c:v>225.24026856312415</c:v>
                </c:pt>
                <c:pt idx="3631">
                  <c:v>225.429407321442</c:v>
                </c:pt>
                <c:pt idx="3632">
                  <c:v>225.61796324060791</c:v>
                </c:pt>
                <c:pt idx="3633">
                  <c:v>226.4757131008968</c:v>
                </c:pt>
                <c:pt idx="3634">
                  <c:v>227.12582522389573</c:v>
                </c:pt>
                <c:pt idx="3635">
                  <c:v>227.80165628691546</c:v>
                </c:pt>
                <c:pt idx="3636">
                  <c:v>227.80165628691546</c:v>
                </c:pt>
                <c:pt idx="3637">
                  <c:v>227.80165628691546</c:v>
                </c:pt>
                <c:pt idx="3638">
                  <c:v>227.34605753037476</c:v>
                </c:pt>
                <c:pt idx="3639">
                  <c:v>227.69749361302638</c:v>
                </c:pt>
                <c:pt idx="3640">
                  <c:v>227.17224558870973</c:v>
                </c:pt>
                <c:pt idx="3641">
                  <c:v>226.86818008143413</c:v>
                </c:pt>
                <c:pt idx="3642">
                  <c:v>227.8431755781975</c:v>
                </c:pt>
                <c:pt idx="3643">
                  <c:v>227.8431755781975</c:v>
                </c:pt>
                <c:pt idx="3644">
                  <c:v>227.8431755781975</c:v>
                </c:pt>
                <c:pt idx="3645">
                  <c:v>228.15128562610016</c:v>
                </c:pt>
                <c:pt idx="3646">
                  <c:v>228.74886175492489</c:v>
                </c:pt>
                <c:pt idx="3647">
                  <c:v>228.4372577679537</c:v>
                </c:pt>
                <c:pt idx="3648">
                  <c:v>228.15400242143917</c:v>
                </c:pt>
                <c:pt idx="3649">
                  <c:v>228.88978082692813</c:v>
                </c:pt>
                <c:pt idx="3650">
                  <c:v>228.88978082692813</c:v>
                </c:pt>
                <c:pt idx="3651">
                  <c:v>228.88978082692813</c:v>
                </c:pt>
                <c:pt idx="3652">
                  <c:v>229.18015040288518</c:v>
                </c:pt>
                <c:pt idx="3653">
                  <c:v>229.65035702566527</c:v>
                </c:pt>
                <c:pt idx="3654">
                  <c:v>230.18333876026475</c:v>
                </c:pt>
                <c:pt idx="3655">
                  <c:v>230.20199051620449</c:v>
                </c:pt>
                <c:pt idx="3656">
                  <c:v>229.82905178146871</c:v>
                </c:pt>
                <c:pt idx="3657">
                  <c:v>229.82905178146871</c:v>
                </c:pt>
                <c:pt idx="3658">
                  <c:v>229.82905178146871</c:v>
                </c:pt>
                <c:pt idx="3659">
                  <c:v>231.08984339715047</c:v>
                </c:pt>
                <c:pt idx="3660">
                  <c:v>230.71810534236653</c:v>
                </c:pt>
                <c:pt idx="3661">
                  <c:v>230.00860794636083</c:v>
                </c:pt>
                <c:pt idx="3662">
                  <c:v>227.93570826922408</c:v>
                </c:pt>
                <c:pt idx="3663">
                  <c:v>227.65683804758501</c:v>
                </c:pt>
                <c:pt idx="3664">
                  <c:v>227.65683804758501</c:v>
                </c:pt>
                <c:pt idx="3665">
                  <c:v>227.65683804758501</c:v>
                </c:pt>
                <c:pt idx="3666">
                  <c:v>227.70359648555163</c:v>
                </c:pt>
                <c:pt idx="3667">
                  <c:v>227.6214501360835</c:v>
                </c:pt>
                <c:pt idx="3668">
                  <c:v>227.34254102080277</c:v>
                </c:pt>
                <c:pt idx="3669">
                  <c:v>227.67549326582937</c:v>
                </c:pt>
                <c:pt idx="3670">
                  <c:v>225.71977443920548</c:v>
                </c:pt>
                <c:pt idx="3671">
                  <c:v>225.71977443920548</c:v>
                </c:pt>
                <c:pt idx="3672">
                  <c:v>225.71977443920548</c:v>
                </c:pt>
                <c:pt idx="3673">
                  <c:v>223.87401192806797</c:v>
                </c:pt>
                <c:pt idx="3674">
                  <c:v>225.3188724136505</c:v>
                </c:pt>
                <c:pt idx="3675">
                  <c:v>226.98309563080753</c:v>
                </c:pt>
                <c:pt idx="3676">
                  <c:v>226.47866201806335</c:v>
                </c:pt>
                <c:pt idx="3677">
                  <c:v>226.47114745605759</c:v>
                </c:pt>
                <c:pt idx="3678">
                  <c:v>226.47114745605759</c:v>
                </c:pt>
                <c:pt idx="3679">
                  <c:v>226.47114745605759</c:v>
                </c:pt>
                <c:pt idx="3680">
                  <c:v>225.2285817995793</c:v>
                </c:pt>
                <c:pt idx="3681">
                  <c:v>223.72315621111673</c:v>
                </c:pt>
                <c:pt idx="3682">
                  <c:v>225.15516786385598</c:v>
                </c:pt>
                <c:pt idx="3683">
                  <c:v>223.80630828421721</c:v>
                </c:pt>
                <c:pt idx="3684">
                  <c:v>223.31110773231828</c:v>
                </c:pt>
                <c:pt idx="3685">
                  <c:v>223.31110773231828</c:v>
                </c:pt>
                <c:pt idx="3686">
                  <c:v>223.31110773231828</c:v>
                </c:pt>
                <c:pt idx="3687">
                  <c:v>221.26372003707391</c:v>
                </c:pt>
                <c:pt idx="3688">
                  <c:v>222.5146499667639</c:v>
                </c:pt>
                <c:pt idx="3689">
                  <c:v>222.36321539658252</c:v>
                </c:pt>
                <c:pt idx="3690">
                  <c:v>223.80302166353971</c:v>
                </c:pt>
                <c:pt idx="3691">
                  <c:v>223.52806174718432</c:v>
                </c:pt>
                <c:pt idx="3692">
                  <c:v>223.52806174718432</c:v>
                </c:pt>
                <c:pt idx="3693">
                  <c:v>223.52806174718432</c:v>
                </c:pt>
                <c:pt idx="3694">
                  <c:v>223.73601660886959</c:v>
                </c:pt>
                <c:pt idx="3695">
                  <c:v>223.78063180794157</c:v>
                </c:pt>
                <c:pt idx="3696">
                  <c:v>224.39273897012586</c:v>
                </c:pt>
                <c:pt idx="3697">
                  <c:v>226.63896189754678</c:v>
                </c:pt>
                <c:pt idx="3698">
                  <c:v>226.77548920819387</c:v>
                </c:pt>
                <c:pt idx="3699">
                  <c:v>226.77548920819387</c:v>
                </c:pt>
                <c:pt idx="3700">
                  <c:v>226.77548920819387</c:v>
                </c:pt>
                <c:pt idx="3701">
                  <c:v>226.82741399195788</c:v>
                </c:pt>
                <c:pt idx="3702">
                  <c:v>227.39161089187667</c:v>
                </c:pt>
                <c:pt idx="3703">
                  <c:v>227.71934814673904</c:v>
                </c:pt>
                <c:pt idx="3704">
                  <c:v>227.2451430989648</c:v>
                </c:pt>
                <c:pt idx="3705">
                  <c:v>228.38820434836404</c:v>
                </c:pt>
                <c:pt idx="3706">
                  <c:v>228.38820434836404</c:v>
                </c:pt>
                <c:pt idx="3707">
                  <c:v>228.38820434836404</c:v>
                </c:pt>
                <c:pt idx="3708">
                  <c:v>228.61095136406499</c:v>
                </c:pt>
                <c:pt idx="3709">
                  <c:v>229.110299406801</c:v>
                </c:pt>
                <c:pt idx="3710">
                  <c:v>229.37426654715958</c:v>
                </c:pt>
                <c:pt idx="3711">
                  <c:v>229.70975164315411</c:v>
                </c:pt>
                <c:pt idx="3712">
                  <c:v>230.15616498030238</c:v>
                </c:pt>
                <c:pt idx="3713">
                  <c:v>230.15616498030238</c:v>
                </c:pt>
                <c:pt idx="3714">
                  <c:v>230.16057707398505</c:v>
                </c:pt>
                <c:pt idx="3715">
                  <c:v>231.58997322666266</c:v>
                </c:pt>
                <c:pt idx="3716">
                  <c:v>233.13309658856735</c:v>
                </c:pt>
                <c:pt idx="3717">
                  <c:v>232.9595802874384</c:v>
                </c:pt>
                <c:pt idx="3718">
                  <c:v>235.92126531950666</c:v>
                </c:pt>
                <c:pt idx="3719">
                  <c:v>236.33229914400957</c:v>
                </c:pt>
                <c:pt idx="3720">
                  <c:v>236.33229914400957</c:v>
                </c:pt>
                <c:pt idx="3721">
                  <c:v>236.33229914400957</c:v>
                </c:pt>
                <c:pt idx="3722">
                  <c:v>236.03403596587486</c:v>
                </c:pt>
                <c:pt idx="3723">
                  <c:v>235.81827489325809</c:v>
                </c:pt>
                <c:pt idx="3724">
                  <c:v>235.97765974889293</c:v>
                </c:pt>
                <c:pt idx="3725">
                  <c:v>237.38454203787964</c:v>
                </c:pt>
                <c:pt idx="3726">
                  <c:v>237.9611348474171</c:v>
                </c:pt>
                <c:pt idx="3727">
                  <c:v>237.9611348474171</c:v>
                </c:pt>
                <c:pt idx="3728">
                  <c:v>237.9611348474171</c:v>
                </c:pt>
                <c:pt idx="3729">
                  <c:v>237.42429214758999</c:v>
                </c:pt>
                <c:pt idx="3730">
                  <c:v>237.41019389312225</c:v>
                </c:pt>
                <c:pt idx="3731">
                  <c:v>236.67589128571666</c:v>
                </c:pt>
                <c:pt idx="3732">
                  <c:v>236.62342497413644</c:v>
                </c:pt>
                <c:pt idx="3733">
                  <c:v>236.41409132876456</c:v>
                </c:pt>
                <c:pt idx="3734">
                  <c:v>236.41409132876456</c:v>
                </c:pt>
                <c:pt idx="3735">
                  <c:v>236.41409132876456</c:v>
                </c:pt>
                <c:pt idx="3736">
                  <c:v>236.04497564383203</c:v>
                </c:pt>
                <c:pt idx="3737">
                  <c:v>235.48504863620778</c:v>
                </c:pt>
                <c:pt idx="3738">
                  <c:v>235.8400399921764</c:v>
                </c:pt>
                <c:pt idx="3739">
                  <c:v>236.35952484826717</c:v>
                </c:pt>
                <c:pt idx="3740">
                  <c:v>231.81587461313225</c:v>
                </c:pt>
                <c:pt idx="3741">
                  <c:v>231.81587461313225</c:v>
                </c:pt>
                <c:pt idx="3742">
                  <c:v>231.81587461313225</c:v>
                </c:pt>
                <c:pt idx="3743">
                  <c:v>233.46707590641412</c:v>
                </c:pt>
                <c:pt idx="3744">
                  <c:v>231.92977459037618</c:v>
                </c:pt>
                <c:pt idx="3745">
                  <c:v>232.52336173967629</c:v>
                </c:pt>
                <c:pt idx="3746">
                  <c:v>232.88501695035811</c:v>
                </c:pt>
                <c:pt idx="3747">
                  <c:v>232.89011713222931</c:v>
                </c:pt>
                <c:pt idx="3748">
                  <c:v>232.89011713222931</c:v>
                </c:pt>
                <c:pt idx="3749">
                  <c:v>232.89011713222931</c:v>
                </c:pt>
                <c:pt idx="3750">
                  <c:v>234.93395847128056</c:v>
                </c:pt>
                <c:pt idx="3751">
                  <c:v>238.66481545208583</c:v>
                </c:pt>
                <c:pt idx="3752">
                  <c:v>239.52741692127802</c:v>
                </c:pt>
                <c:pt idx="3753">
                  <c:v>238.73994658540764</c:v>
                </c:pt>
                <c:pt idx="3754">
                  <c:v>239.06441565941239</c:v>
                </c:pt>
                <c:pt idx="3755">
                  <c:v>239.06441565941239</c:v>
                </c:pt>
                <c:pt idx="3756">
                  <c:v>239.06441565941239</c:v>
                </c:pt>
                <c:pt idx="3757">
                  <c:v>237.5524384187095</c:v>
                </c:pt>
                <c:pt idx="3758">
                  <c:v>235.72545824769696</c:v>
                </c:pt>
                <c:pt idx="3759">
                  <c:v>236.5677312398164</c:v>
                </c:pt>
                <c:pt idx="3760">
                  <c:v>236.03010031676885</c:v>
                </c:pt>
                <c:pt idx="3761">
                  <c:v>235.69075040033943</c:v>
                </c:pt>
                <c:pt idx="3762">
                  <c:v>235.69075040033943</c:v>
                </c:pt>
                <c:pt idx="3763">
                  <c:v>235.69075040033943</c:v>
                </c:pt>
                <c:pt idx="3764">
                  <c:v>233.38968039201339</c:v>
                </c:pt>
                <c:pt idx="3765">
                  <c:v>235.51986768119696</c:v>
                </c:pt>
                <c:pt idx="3766">
                  <c:v>236.49683235472267</c:v>
                </c:pt>
                <c:pt idx="3767">
                  <c:v>236.93284500975682</c:v>
                </c:pt>
                <c:pt idx="3768">
                  <c:v>237.06472183128923</c:v>
                </c:pt>
                <c:pt idx="3769">
                  <c:v>237.06472183128923</c:v>
                </c:pt>
                <c:pt idx="3770">
                  <c:v>237.06472183128923</c:v>
                </c:pt>
                <c:pt idx="3771">
                  <c:v>238.36196606626942</c:v>
                </c:pt>
                <c:pt idx="3772">
                  <c:v>238.66462140544274</c:v>
                </c:pt>
                <c:pt idx="3773">
                  <c:v>238.76971975812486</c:v>
                </c:pt>
                <c:pt idx="3774">
                  <c:v>238.03939242860349</c:v>
                </c:pt>
                <c:pt idx="3775">
                  <c:v>237.23898735195624</c:v>
                </c:pt>
                <c:pt idx="3776">
                  <c:v>237.23898735195624</c:v>
                </c:pt>
                <c:pt idx="3777">
                  <c:v>237.23898735195624</c:v>
                </c:pt>
                <c:pt idx="3778">
                  <c:v>238.07631524064533</c:v>
                </c:pt>
                <c:pt idx="3779">
                  <c:v>238.43865548862584</c:v>
                </c:pt>
                <c:pt idx="3780">
                  <c:v>237.02805955591481</c:v>
                </c:pt>
                <c:pt idx="3781">
                  <c:v>234.78672459503468</c:v>
                </c:pt>
                <c:pt idx="3782">
                  <c:v>234.46844771117364</c:v>
                </c:pt>
                <c:pt idx="3783">
                  <c:v>234.46844771117364</c:v>
                </c:pt>
                <c:pt idx="3784">
                  <c:v>234.46844771117364</c:v>
                </c:pt>
                <c:pt idx="3785">
                  <c:v>233.42634097189895</c:v>
                </c:pt>
                <c:pt idx="3786">
                  <c:v>234.32228262234412</c:v>
                </c:pt>
                <c:pt idx="3787">
                  <c:v>235.33044252721263</c:v>
                </c:pt>
                <c:pt idx="3788">
                  <c:v>234.05581754474363</c:v>
                </c:pt>
                <c:pt idx="3789">
                  <c:v>233.89317215713177</c:v>
                </c:pt>
                <c:pt idx="3790">
                  <c:v>233.89317215713177</c:v>
                </c:pt>
                <c:pt idx="3791">
                  <c:v>233.89317215713177</c:v>
                </c:pt>
                <c:pt idx="3792">
                  <c:v>234.54123868068132</c:v>
                </c:pt>
                <c:pt idx="3793">
                  <c:v>232.04247619578791</c:v>
                </c:pt>
                <c:pt idx="3794">
                  <c:v>230.19087005273602</c:v>
                </c:pt>
                <c:pt idx="3795">
                  <c:v>230.36099261524848</c:v>
                </c:pt>
                <c:pt idx="3796">
                  <c:v>228.91815878854183</c:v>
                </c:pt>
                <c:pt idx="3797">
                  <c:v>228.91815878854183</c:v>
                </c:pt>
                <c:pt idx="3798">
                  <c:v>228.91815878854183</c:v>
                </c:pt>
                <c:pt idx="3799">
                  <c:v>226.69636841742218</c:v>
                </c:pt>
                <c:pt idx="3800">
                  <c:v>225.51944475025525</c:v>
                </c:pt>
                <c:pt idx="3801">
                  <c:v>226.48994738398792</c:v>
                </c:pt>
                <c:pt idx="3802">
                  <c:v>226.89433839034359</c:v>
                </c:pt>
                <c:pt idx="3803">
                  <c:v>227.3067233882548</c:v>
                </c:pt>
                <c:pt idx="3804">
                  <c:v>227.3067233882548</c:v>
                </c:pt>
                <c:pt idx="3805">
                  <c:v>227.3067233882548</c:v>
                </c:pt>
                <c:pt idx="3806">
                  <c:v>229.4742816603422</c:v>
                </c:pt>
                <c:pt idx="3807">
                  <c:v>229.8868901872244</c:v>
                </c:pt>
                <c:pt idx="3808">
                  <c:v>231.67900332497462</c:v>
                </c:pt>
                <c:pt idx="3809">
                  <c:v>228.20637832808674</c:v>
                </c:pt>
                <c:pt idx="3810">
                  <c:v>228.48571890960679</c:v>
                </c:pt>
                <c:pt idx="3811">
                  <c:v>228.48571890960679</c:v>
                </c:pt>
                <c:pt idx="3812">
                  <c:v>228.48571890960679</c:v>
                </c:pt>
                <c:pt idx="3813">
                  <c:v>228.47430833280444</c:v>
                </c:pt>
                <c:pt idx="3814">
                  <c:v>228.64071988002175</c:v>
                </c:pt>
                <c:pt idx="3815">
                  <c:v>231.2441854514868</c:v>
                </c:pt>
                <c:pt idx="3816">
                  <c:v>229.45077579610148</c:v>
                </c:pt>
                <c:pt idx="3817">
                  <c:v>227.01359784025823</c:v>
                </c:pt>
                <c:pt idx="3818">
                  <c:v>227.01359784025823</c:v>
                </c:pt>
                <c:pt idx="3819">
                  <c:v>227.01359784025823</c:v>
                </c:pt>
                <c:pt idx="3820">
                  <c:v>225.41180805498519</c:v>
                </c:pt>
                <c:pt idx="3821">
                  <c:v>227.47435540222338</c:v>
                </c:pt>
                <c:pt idx="3822">
                  <c:v>227.22236386079589</c:v>
                </c:pt>
                <c:pt idx="3823">
                  <c:v>223.76907700264138</c:v>
                </c:pt>
                <c:pt idx="3824">
                  <c:v>223.13373393768933</c:v>
                </c:pt>
                <c:pt idx="3825">
                  <c:v>223.13373393768933</c:v>
                </c:pt>
                <c:pt idx="3826">
                  <c:v>223.13373393768933</c:v>
                </c:pt>
                <c:pt idx="3827">
                  <c:v>222.44143921477428</c:v>
                </c:pt>
                <c:pt idx="3828">
                  <c:v>222.12207336725047</c:v>
                </c:pt>
                <c:pt idx="3829">
                  <c:v>221.58866275660415</c:v>
                </c:pt>
                <c:pt idx="3830">
                  <c:v>222.01825669709038</c:v>
                </c:pt>
                <c:pt idx="3831">
                  <c:v>225.75189553649656</c:v>
                </c:pt>
                <c:pt idx="3832">
                  <c:v>225.75189553649656</c:v>
                </c:pt>
                <c:pt idx="3833">
                  <c:v>225.75189553649656</c:v>
                </c:pt>
                <c:pt idx="3834">
                  <c:v>225.99013828441309</c:v>
                </c:pt>
                <c:pt idx="3835">
                  <c:v>224.73500261578977</c:v>
                </c:pt>
                <c:pt idx="3836">
                  <c:v>226.55629777663864</c:v>
                </c:pt>
                <c:pt idx="3837">
                  <c:v>224.51176085742017</c:v>
                </c:pt>
                <c:pt idx="3838">
                  <c:v>221.63975477482705</c:v>
                </c:pt>
                <c:pt idx="3839">
                  <c:v>221.63975477482705</c:v>
                </c:pt>
                <c:pt idx="3840">
                  <c:v>221.63975477482705</c:v>
                </c:pt>
                <c:pt idx="3841">
                  <c:v>219.02421062549988</c:v>
                </c:pt>
                <c:pt idx="3842">
                  <c:v>217.70549213622903</c:v>
                </c:pt>
                <c:pt idx="3843">
                  <c:v>222.10791518176848</c:v>
                </c:pt>
                <c:pt idx="3844">
                  <c:v>221.2884813448926</c:v>
                </c:pt>
                <c:pt idx="3845">
                  <c:v>221.03745390453977</c:v>
                </c:pt>
                <c:pt idx="3846">
                  <c:v>221.03745390453977</c:v>
                </c:pt>
                <c:pt idx="3847">
                  <c:v>221.03745390453977</c:v>
                </c:pt>
                <c:pt idx="3848">
                  <c:v>221.5837744963593</c:v>
                </c:pt>
                <c:pt idx="3849">
                  <c:v>222.61652107334319</c:v>
                </c:pt>
                <c:pt idx="3850">
                  <c:v>225.62931066595013</c:v>
                </c:pt>
                <c:pt idx="3851">
                  <c:v>228.00910197580262</c:v>
                </c:pt>
                <c:pt idx="3852">
                  <c:v>228.95686969007645</c:v>
                </c:pt>
                <c:pt idx="3853">
                  <c:v>228.95686969007645</c:v>
                </c:pt>
                <c:pt idx="3854">
                  <c:v>228.95686969007645</c:v>
                </c:pt>
                <c:pt idx="3855">
                  <c:v>228.6627883283717</c:v>
                </c:pt>
                <c:pt idx="3856">
                  <c:v>229.02422645137079</c:v>
                </c:pt>
                <c:pt idx="3857">
                  <c:v>228.34432681078914</c:v>
                </c:pt>
                <c:pt idx="3858">
                  <c:v>229.82657148908621</c:v>
                </c:pt>
                <c:pt idx="3859">
                  <c:v>229.91707949120433</c:v>
                </c:pt>
                <c:pt idx="3860">
                  <c:v>229.91707949120433</c:v>
                </c:pt>
                <c:pt idx="3861">
                  <c:v>229.91707949120433</c:v>
                </c:pt>
                <c:pt idx="3862">
                  <c:v>230.92150214218202</c:v>
                </c:pt>
                <c:pt idx="3863">
                  <c:v>232.91716271113509</c:v>
                </c:pt>
                <c:pt idx="3864">
                  <c:v>232.97288348397049</c:v>
                </c:pt>
                <c:pt idx="3865">
                  <c:v>231.46826539165062</c:v>
                </c:pt>
                <c:pt idx="3866">
                  <c:v>231.85743530093623</c:v>
                </c:pt>
                <c:pt idx="3867">
                  <c:v>231.85743530093623</c:v>
                </c:pt>
                <c:pt idx="3868">
                  <c:v>231.85743530093623</c:v>
                </c:pt>
                <c:pt idx="3869">
                  <c:v>233.03607561756547</c:v>
                </c:pt>
                <c:pt idx="3870">
                  <c:v>232.58927321942318</c:v>
                </c:pt>
                <c:pt idx="3871">
                  <c:v>231.12127671792786</c:v>
                </c:pt>
                <c:pt idx="3872">
                  <c:v>231.46043101302203</c:v>
                </c:pt>
                <c:pt idx="3873">
                  <c:v>232.89411775415547</c:v>
                </c:pt>
                <c:pt idx="3874">
                  <c:v>232.89411775415547</c:v>
                </c:pt>
                <c:pt idx="3875">
                  <c:v>232.89411775415547</c:v>
                </c:pt>
                <c:pt idx="3876">
                  <c:v>230.19340769644296</c:v>
                </c:pt>
                <c:pt idx="3877">
                  <c:v>228.90636873080322</c:v>
                </c:pt>
                <c:pt idx="3878">
                  <c:v>229.69906004039959</c:v>
                </c:pt>
                <c:pt idx="3879">
                  <c:v>228.98411482505205</c:v>
                </c:pt>
                <c:pt idx="3880">
                  <c:v>228.86354094954979</c:v>
                </c:pt>
                <c:pt idx="3881">
                  <c:v>228.86354094954979</c:v>
                </c:pt>
                <c:pt idx="3882">
                  <c:v>228.86354094954979</c:v>
                </c:pt>
                <c:pt idx="3883">
                  <c:v>228.68716268444621</c:v>
                </c:pt>
                <c:pt idx="3884">
                  <c:v>229.19710990164461</c:v>
                </c:pt>
                <c:pt idx="3885">
                  <c:v>230.09187708293183</c:v>
                </c:pt>
                <c:pt idx="3886">
                  <c:v>229.13898378685568</c:v>
                </c:pt>
                <c:pt idx="3887">
                  <c:v>227.22213765771559</c:v>
                </c:pt>
                <c:pt idx="3888">
                  <c:v>227.22213765771559</c:v>
                </c:pt>
                <c:pt idx="3889">
                  <c:v>227.22213765771559</c:v>
                </c:pt>
                <c:pt idx="3890">
                  <c:v>227.36784158126721</c:v>
                </c:pt>
                <c:pt idx="3891">
                  <c:v>226.29515193618462</c:v>
                </c:pt>
                <c:pt idx="3892">
                  <c:v>228.18287893821801</c:v>
                </c:pt>
                <c:pt idx="3893">
                  <c:v>231.11257596662554</c:v>
                </c:pt>
                <c:pt idx="3894">
                  <c:v>228.16279833678465</c:v>
                </c:pt>
                <c:pt idx="3895">
                  <c:v>228.16579183269883</c:v>
                </c:pt>
                <c:pt idx="3896">
                  <c:v>228.16579183269883</c:v>
                </c:pt>
                <c:pt idx="3897">
                  <c:v>228.07424943535761</c:v>
                </c:pt>
                <c:pt idx="3898">
                  <c:v>228.45125160818927</c:v>
                </c:pt>
                <c:pt idx="3899">
                  <c:v>229.71471724679594</c:v>
                </c:pt>
                <c:pt idx="3900">
                  <c:v>228.83545430362059</c:v>
                </c:pt>
                <c:pt idx="3901">
                  <c:v>226.72654565878565</c:v>
                </c:pt>
                <c:pt idx="3902">
                  <c:v>226.72654565878565</c:v>
                </c:pt>
                <c:pt idx="3903">
                  <c:v>226.72654565878565</c:v>
                </c:pt>
                <c:pt idx="3904">
                  <c:v>222.86423628083369</c:v>
                </c:pt>
                <c:pt idx="3905">
                  <c:v>223.11828368105495</c:v>
                </c:pt>
                <c:pt idx="3906">
                  <c:v>222.878552009971</c:v>
                </c:pt>
                <c:pt idx="3907">
                  <c:v>222.62492959049678</c:v>
                </c:pt>
                <c:pt idx="3908">
                  <c:v>226.24228637893671</c:v>
                </c:pt>
                <c:pt idx="3909">
                  <c:v>226.24228637893671</c:v>
                </c:pt>
                <c:pt idx="3910">
                  <c:v>226.24228637893671</c:v>
                </c:pt>
                <c:pt idx="3911">
                  <c:v>226.17684806002447</c:v>
                </c:pt>
                <c:pt idx="3912">
                  <c:v>226.70454578777029</c:v>
                </c:pt>
                <c:pt idx="3913">
                  <c:v>224.36138201159886</c:v>
                </c:pt>
                <c:pt idx="3914">
                  <c:v>222.29251878470407</c:v>
                </c:pt>
                <c:pt idx="3915">
                  <c:v>223.86454702537242</c:v>
                </c:pt>
                <c:pt idx="3916">
                  <c:v>223.86454702537242</c:v>
                </c:pt>
                <c:pt idx="3917">
                  <c:v>223.86454702537242</c:v>
                </c:pt>
                <c:pt idx="3918">
                  <c:v>225.45600680611221</c:v>
                </c:pt>
                <c:pt idx="3919">
                  <c:v>225.2709570248459</c:v>
                </c:pt>
                <c:pt idx="3920">
                  <c:v>225.17440589266505</c:v>
                </c:pt>
                <c:pt idx="3921">
                  <c:v>226.16447974142264</c:v>
                </c:pt>
                <c:pt idx="3922">
                  <c:v>228.17933159689824</c:v>
                </c:pt>
                <c:pt idx="3923">
                  <c:v>228.17933159689824</c:v>
                </c:pt>
                <c:pt idx="3924">
                  <c:v>228.17933159689824</c:v>
                </c:pt>
                <c:pt idx="3925">
                  <c:v>228.72524380236388</c:v>
                </c:pt>
                <c:pt idx="3926">
                  <c:v>227.98532907492543</c:v>
                </c:pt>
                <c:pt idx="3927">
                  <c:v>227.444283411378</c:v>
                </c:pt>
                <c:pt idx="3928">
                  <c:v>228.32866866522343</c:v>
                </c:pt>
                <c:pt idx="3929">
                  <c:v>227.45510144520378</c:v>
                </c:pt>
                <c:pt idx="3930">
                  <c:v>227.45510144520378</c:v>
                </c:pt>
                <c:pt idx="3931">
                  <c:v>227.45510144520378</c:v>
                </c:pt>
                <c:pt idx="3932">
                  <c:v>228.11262865246158</c:v>
                </c:pt>
                <c:pt idx="3933">
                  <c:v>228.10961756576336</c:v>
                </c:pt>
                <c:pt idx="3934">
                  <c:v>227.48144017652606</c:v>
                </c:pt>
                <c:pt idx="3935">
                  <c:v>224.55375859108298</c:v>
                </c:pt>
                <c:pt idx="3936">
                  <c:v>222.34755833260215</c:v>
                </c:pt>
                <c:pt idx="3937">
                  <c:v>222.34755833260215</c:v>
                </c:pt>
                <c:pt idx="3938">
                  <c:v>222.34755833260215</c:v>
                </c:pt>
                <c:pt idx="3939">
                  <c:v>219.76991866446161</c:v>
                </c:pt>
                <c:pt idx="3940">
                  <c:v>219.13213537200141</c:v>
                </c:pt>
                <c:pt idx="3941">
                  <c:v>220.24288987034586</c:v>
                </c:pt>
                <c:pt idx="3942">
                  <c:v>214.73916321036432</c:v>
                </c:pt>
                <c:pt idx="3943">
                  <c:v>215.89150080276704</c:v>
                </c:pt>
                <c:pt idx="3944">
                  <c:v>215.89150080276704</c:v>
                </c:pt>
                <c:pt idx="3945">
                  <c:v>215.89150080276704</c:v>
                </c:pt>
                <c:pt idx="3946">
                  <c:v>216.0209342342433</c:v>
                </c:pt>
                <c:pt idx="3947">
                  <c:v>217.61150069342875</c:v>
                </c:pt>
                <c:pt idx="3948">
                  <c:v>217.22278779808511</c:v>
                </c:pt>
                <c:pt idx="3949">
                  <c:v>217.50620705823675</c:v>
                </c:pt>
                <c:pt idx="3950">
                  <c:v>222.30477027167964</c:v>
                </c:pt>
                <c:pt idx="3951">
                  <c:v>222.30477027167964</c:v>
                </c:pt>
                <c:pt idx="3952">
                  <c:v>222.30477027167964</c:v>
                </c:pt>
                <c:pt idx="3953">
                  <c:v>222.75421049488102</c:v>
                </c:pt>
                <c:pt idx="3954">
                  <c:v>222.71577202831801</c:v>
                </c:pt>
                <c:pt idx="3955">
                  <c:v>223.39966089516992</c:v>
                </c:pt>
                <c:pt idx="3956">
                  <c:v>221.16569332817411</c:v>
                </c:pt>
                <c:pt idx="3957">
                  <c:v>222.78840813669225</c:v>
                </c:pt>
                <c:pt idx="3958">
                  <c:v>222.78840813669225</c:v>
                </c:pt>
                <c:pt idx="3959">
                  <c:v>222.78840813669225</c:v>
                </c:pt>
                <c:pt idx="3960">
                  <c:v>222.25372041293235</c:v>
                </c:pt>
                <c:pt idx="3961">
                  <c:v>222.35811520794749</c:v>
                </c:pt>
                <c:pt idx="3962">
                  <c:v>223.44050114683213</c:v>
                </c:pt>
                <c:pt idx="3963">
                  <c:v>224.19535019185648</c:v>
                </c:pt>
                <c:pt idx="3964">
                  <c:v>223.86885001946507</c:v>
                </c:pt>
                <c:pt idx="3965">
                  <c:v>223.86885001946507</c:v>
                </c:pt>
                <c:pt idx="3966">
                  <c:v>223.86885001946507</c:v>
                </c:pt>
                <c:pt idx="3967">
                  <c:v>224.4739518502482</c:v>
                </c:pt>
                <c:pt idx="3968">
                  <c:v>223.82158116190197</c:v>
                </c:pt>
                <c:pt idx="3969">
                  <c:v>222.46157632650372</c:v>
                </c:pt>
                <c:pt idx="3970">
                  <c:v>222.60871686231758</c:v>
                </c:pt>
                <c:pt idx="3971">
                  <c:v>224.51402041776785</c:v>
                </c:pt>
                <c:pt idx="3972">
                  <c:v>224.51402041776785</c:v>
                </c:pt>
                <c:pt idx="3973">
                  <c:v>224.51402041776785</c:v>
                </c:pt>
                <c:pt idx="3974">
                  <c:v>222.93013237736582</c:v>
                </c:pt>
                <c:pt idx="3975">
                  <c:v>225.64495323644414</c:v>
                </c:pt>
                <c:pt idx="3976">
                  <c:v>225.96518178472868</c:v>
                </c:pt>
                <c:pt idx="3977">
                  <c:v>227.51736373422978</c:v>
                </c:pt>
                <c:pt idx="3978">
                  <c:v>226.98981239741829</c:v>
                </c:pt>
                <c:pt idx="3979">
                  <c:v>226.98981239741829</c:v>
                </c:pt>
                <c:pt idx="3980">
                  <c:v>226.98981239741829</c:v>
                </c:pt>
                <c:pt idx="3981">
                  <c:v>226.81154821815011</c:v>
                </c:pt>
                <c:pt idx="3982">
                  <c:v>226.57869441028743</c:v>
                </c:pt>
                <c:pt idx="3983">
                  <c:v>228.66738064947836</c:v>
                </c:pt>
                <c:pt idx="3984">
                  <c:v>229.73921783614426</c:v>
                </c:pt>
                <c:pt idx="3985">
                  <c:v>231.13639756594438</c:v>
                </c:pt>
                <c:pt idx="3986">
                  <c:v>231.13639756594438</c:v>
                </c:pt>
                <c:pt idx="3987">
                  <c:v>231.14330392150364</c:v>
                </c:pt>
                <c:pt idx="3988">
                  <c:v>229.40067757031079</c:v>
                </c:pt>
                <c:pt idx="3989">
                  <c:v>229.22178174591437</c:v>
                </c:pt>
                <c:pt idx="3990">
                  <c:v>231.18170362302993</c:v>
                </c:pt>
                <c:pt idx="3991">
                  <c:v>232.11358088761514</c:v>
                </c:pt>
                <c:pt idx="3992">
                  <c:v>231.81226960599332</c:v>
                </c:pt>
                <c:pt idx="3993">
                  <c:v>231.81226960599332</c:v>
                </c:pt>
                <c:pt idx="3994">
                  <c:v>231.81226960599332</c:v>
                </c:pt>
                <c:pt idx="3995">
                  <c:v>232.05036166998295</c:v>
                </c:pt>
                <c:pt idx="3996">
                  <c:v>231.97020451355129</c:v>
                </c:pt>
                <c:pt idx="3997">
                  <c:v>231.89697151998635</c:v>
                </c:pt>
                <c:pt idx="3998">
                  <c:v>231.87991317876134</c:v>
                </c:pt>
                <c:pt idx="3999">
                  <c:v>234.15757449515189</c:v>
                </c:pt>
                <c:pt idx="4000">
                  <c:v>234.15757449515189</c:v>
                </c:pt>
                <c:pt idx="4001">
                  <c:v>234.15757449515189</c:v>
                </c:pt>
                <c:pt idx="4002">
                  <c:v>235.23242098462975</c:v>
                </c:pt>
                <c:pt idx="4003">
                  <c:v>234.97227039329022</c:v>
                </c:pt>
                <c:pt idx="4004">
                  <c:v>234.44666092164746</c:v>
                </c:pt>
                <c:pt idx="4005">
                  <c:v>235.27550020200377</c:v>
                </c:pt>
                <c:pt idx="4006">
                  <c:v>236.17818877189379</c:v>
                </c:pt>
                <c:pt idx="4007">
                  <c:v>236.17818877189379</c:v>
                </c:pt>
                <c:pt idx="4008">
                  <c:v>236.17818877189379</c:v>
                </c:pt>
                <c:pt idx="4009">
                  <c:v>234.24200942746936</c:v>
                </c:pt>
                <c:pt idx="4010">
                  <c:v>232.02733789787612</c:v>
                </c:pt>
                <c:pt idx="4011">
                  <c:v>232.2468148770671</c:v>
                </c:pt>
                <c:pt idx="4012">
                  <c:v>233.77159418065213</c:v>
                </c:pt>
                <c:pt idx="4013">
                  <c:v>230.96909823072752</c:v>
                </c:pt>
                <c:pt idx="4014">
                  <c:v>230.96909823072752</c:v>
                </c:pt>
                <c:pt idx="4015">
                  <c:v>230.96909823072752</c:v>
                </c:pt>
                <c:pt idx="4016">
                  <c:v>230.70806157528912</c:v>
                </c:pt>
                <c:pt idx="4017">
                  <c:v>229.86681923496405</c:v>
                </c:pt>
                <c:pt idx="4018">
                  <c:v>228.39478890327442</c:v>
                </c:pt>
                <c:pt idx="4019">
                  <c:v>227.8346415476976</c:v>
                </c:pt>
                <c:pt idx="4020">
                  <c:v>228.25588045976232</c:v>
                </c:pt>
                <c:pt idx="4021">
                  <c:v>228.25588045976232</c:v>
                </c:pt>
                <c:pt idx="4022">
                  <c:v>228.25588045976232</c:v>
                </c:pt>
                <c:pt idx="4023">
                  <c:v>228.67260722071771</c:v>
                </c:pt>
                <c:pt idx="4024">
                  <c:v>228.00820124716398</c:v>
                </c:pt>
                <c:pt idx="4025">
                  <c:v>229.64449754325022</c:v>
                </c:pt>
                <c:pt idx="4026">
                  <c:v>230.65165630546059</c:v>
                </c:pt>
                <c:pt idx="4027">
                  <c:v>232.04720723238708</c:v>
                </c:pt>
                <c:pt idx="4028">
                  <c:v>232.04720723238708</c:v>
                </c:pt>
                <c:pt idx="4029">
                  <c:v>232.04720723238708</c:v>
                </c:pt>
                <c:pt idx="4030">
                  <c:v>232.82954975062694</c:v>
                </c:pt>
                <c:pt idx="4031">
                  <c:v>230.52237887816955</c:v>
                </c:pt>
                <c:pt idx="4032">
                  <c:v>228.92863013866227</c:v>
                </c:pt>
                <c:pt idx="4033">
                  <c:v>228.59093293777212</c:v>
                </c:pt>
                <c:pt idx="4034">
                  <c:v>228.25120109324001</c:v>
                </c:pt>
                <c:pt idx="4035">
                  <c:v>228.25120109324001</c:v>
                </c:pt>
                <c:pt idx="4036">
                  <c:v>228.25120109324001</c:v>
                </c:pt>
                <c:pt idx="4037">
                  <c:v>228.89537163296535</c:v>
                </c:pt>
                <c:pt idx="4038">
                  <c:v>227.02426870650538</c:v>
                </c:pt>
                <c:pt idx="4039">
                  <c:v>226.87667568893391</c:v>
                </c:pt>
                <c:pt idx="4040">
                  <c:v>225.25742736057416</c:v>
                </c:pt>
                <c:pt idx="4041">
                  <c:v>225.98693254937845</c:v>
                </c:pt>
                <c:pt idx="4042">
                  <c:v>225.98693254937845</c:v>
                </c:pt>
                <c:pt idx="4043">
                  <c:v>225.98693254937845</c:v>
                </c:pt>
                <c:pt idx="4044">
                  <c:v>225.23243675728381</c:v>
                </c:pt>
                <c:pt idx="4045">
                  <c:v>224.18517349609348</c:v>
                </c:pt>
                <c:pt idx="4046">
                  <c:v>226.88566998454792</c:v>
                </c:pt>
                <c:pt idx="4047">
                  <c:v>222.04420885645175</c:v>
                </c:pt>
                <c:pt idx="4048">
                  <c:v>220.4216252411174</c:v>
                </c:pt>
                <c:pt idx="4049">
                  <c:v>220.4216252411174</c:v>
                </c:pt>
                <c:pt idx="4050">
                  <c:v>220.4216252411174</c:v>
                </c:pt>
                <c:pt idx="4051">
                  <c:v>221.50717529483484</c:v>
                </c:pt>
                <c:pt idx="4052">
                  <c:v>225.41441124215652</c:v>
                </c:pt>
                <c:pt idx="4053">
                  <c:v>226.30939211226413</c:v>
                </c:pt>
                <c:pt idx="4054">
                  <c:v>225.31634876276945</c:v>
                </c:pt>
                <c:pt idx="4055">
                  <c:v>223.18665187477328</c:v>
                </c:pt>
                <c:pt idx="4056">
                  <c:v>223.18665187477328</c:v>
                </c:pt>
                <c:pt idx="4057">
                  <c:v>223.18665187477328</c:v>
                </c:pt>
                <c:pt idx="4058">
                  <c:v>222.40348544961165</c:v>
                </c:pt>
                <c:pt idx="4059">
                  <c:v>220.5001497490293</c:v>
                </c:pt>
                <c:pt idx="4060">
                  <c:v>219.16319560105902</c:v>
                </c:pt>
                <c:pt idx="4061">
                  <c:v>219.26423421749499</c:v>
                </c:pt>
                <c:pt idx="4062">
                  <c:v>218.07434203445519</c:v>
                </c:pt>
                <c:pt idx="4063">
                  <c:v>218.07434203445519</c:v>
                </c:pt>
                <c:pt idx="4064">
                  <c:v>218.07434203445519</c:v>
                </c:pt>
                <c:pt idx="4065">
                  <c:v>219.45375601979018</c:v>
                </c:pt>
                <c:pt idx="4066">
                  <c:v>222.1579661501938</c:v>
                </c:pt>
                <c:pt idx="4067">
                  <c:v>221.32843941248728</c:v>
                </c:pt>
                <c:pt idx="4068">
                  <c:v>220.03621995883066</c:v>
                </c:pt>
                <c:pt idx="4069">
                  <c:v>222.82934653281484</c:v>
                </c:pt>
                <c:pt idx="4070">
                  <c:v>222.82934653281484</c:v>
                </c:pt>
                <c:pt idx="4071">
                  <c:v>222.82934653281484</c:v>
                </c:pt>
                <c:pt idx="4072">
                  <c:v>223.49690983062519</c:v>
                </c:pt>
                <c:pt idx="4073">
                  <c:v>224.92429966488766</c:v>
                </c:pt>
                <c:pt idx="4074">
                  <c:v>223.85042108856763</c:v>
                </c:pt>
                <c:pt idx="4075">
                  <c:v>223.92732713923681</c:v>
                </c:pt>
                <c:pt idx="4076">
                  <c:v>225.18255848933561</c:v>
                </c:pt>
                <c:pt idx="4077">
                  <c:v>225.18255848933561</c:v>
                </c:pt>
                <c:pt idx="4078">
                  <c:v>225.18255848933561</c:v>
                </c:pt>
                <c:pt idx="4079">
                  <c:v>225.83018352755096</c:v>
                </c:pt>
                <c:pt idx="4080">
                  <c:v>226.59605723706076</c:v>
                </c:pt>
                <c:pt idx="4081">
                  <c:v>225.14142158166689</c:v>
                </c:pt>
                <c:pt idx="4082">
                  <c:v>226.35950646626441</c:v>
                </c:pt>
                <c:pt idx="4083">
                  <c:v>228.48762762990205</c:v>
                </c:pt>
                <c:pt idx="4084">
                  <c:v>228.48762762990205</c:v>
                </c:pt>
                <c:pt idx="4085">
                  <c:v>228.48762762990205</c:v>
                </c:pt>
                <c:pt idx="4086">
                  <c:v>227.51188035561367</c:v>
                </c:pt>
                <c:pt idx="4087">
                  <c:v>228.02918776869106</c:v>
                </c:pt>
                <c:pt idx="4088">
                  <c:v>229.25095219471254</c:v>
                </c:pt>
                <c:pt idx="4089">
                  <c:v>232.79679501238437</c:v>
                </c:pt>
                <c:pt idx="4090">
                  <c:v>232.88204054278202</c:v>
                </c:pt>
                <c:pt idx="4091">
                  <c:v>232.88204054278202</c:v>
                </c:pt>
                <c:pt idx="4092">
                  <c:v>232.88204054278202</c:v>
                </c:pt>
                <c:pt idx="4093">
                  <c:v>232.95341190174716</c:v>
                </c:pt>
                <c:pt idx="4094">
                  <c:v>231.81288131521268</c:v>
                </c:pt>
                <c:pt idx="4095">
                  <c:v>231.61782932061644</c:v>
                </c:pt>
                <c:pt idx="4096">
                  <c:v>231.53007858980004</c:v>
                </c:pt>
                <c:pt idx="4097">
                  <c:v>230.93499303590619</c:v>
                </c:pt>
                <c:pt idx="4098">
                  <c:v>230.93499303590619</c:v>
                </c:pt>
                <c:pt idx="4099">
                  <c:v>230.93499303590619</c:v>
                </c:pt>
                <c:pt idx="4100">
                  <c:v>232.22179976670117</c:v>
                </c:pt>
                <c:pt idx="4101">
                  <c:v>232.69999554121677</c:v>
                </c:pt>
                <c:pt idx="4102">
                  <c:v>232.16483209147108</c:v>
                </c:pt>
                <c:pt idx="4103">
                  <c:v>231.98779479875972</c:v>
                </c:pt>
                <c:pt idx="4104">
                  <c:v>232.33448663881882</c:v>
                </c:pt>
                <c:pt idx="4105">
                  <c:v>232.33448663881882</c:v>
                </c:pt>
                <c:pt idx="4106">
                  <c:v>232.33448663881882</c:v>
                </c:pt>
                <c:pt idx="4107">
                  <c:v>231.37162282584157</c:v>
                </c:pt>
                <c:pt idx="4108">
                  <c:v>231.42736950464524</c:v>
                </c:pt>
                <c:pt idx="4109">
                  <c:v>235.04623862424219</c:v>
                </c:pt>
                <c:pt idx="4110">
                  <c:v>232.98623932830444</c:v>
                </c:pt>
                <c:pt idx="4111">
                  <c:v>233.08931943017049</c:v>
                </c:pt>
                <c:pt idx="4112">
                  <c:v>233.08931943017049</c:v>
                </c:pt>
                <c:pt idx="4113">
                  <c:v>233.08931943017049</c:v>
                </c:pt>
                <c:pt idx="4114">
                  <c:v>232.38115212166414</c:v>
                </c:pt>
                <c:pt idx="4115">
                  <c:v>231.11358729880914</c:v>
                </c:pt>
                <c:pt idx="4116">
                  <c:v>231.14092341391483</c:v>
                </c:pt>
                <c:pt idx="4117">
                  <c:v>231.33238899782472</c:v>
                </c:pt>
                <c:pt idx="4118">
                  <c:v>230.32356464267244</c:v>
                </c:pt>
                <c:pt idx="4119">
                  <c:v>230.32356464267244</c:v>
                </c:pt>
                <c:pt idx="4120">
                  <c:v>230.32356464267244</c:v>
                </c:pt>
                <c:pt idx="4121">
                  <c:v>231.0836692577636</c:v>
                </c:pt>
                <c:pt idx="4122">
                  <c:v>231.5202487015822</c:v>
                </c:pt>
                <c:pt idx="4123">
                  <c:v>231.09742790178348</c:v>
                </c:pt>
                <c:pt idx="4124">
                  <c:v>229.68912479809856</c:v>
                </c:pt>
                <c:pt idx="4125">
                  <c:v>228.15859590878893</c:v>
                </c:pt>
                <c:pt idx="4126">
                  <c:v>228.15859590878893</c:v>
                </c:pt>
                <c:pt idx="4127">
                  <c:v>228.15859590878893</c:v>
                </c:pt>
                <c:pt idx="4128">
                  <c:v>227.27506771723384</c:v>
                </c:pt>
                <c:pt idx="4129">
                  <c:v>227.25503342001457</c:v>
                </c:pt>
                <c:pt idx="4130">
                  <c:v>229.55037061641573</c:v>
                </c:pt>
                <c:pt idx="4131">
                  <c:v>228.95450146886594</c:v>
                </c:pt>
                <c:pt idx="4132">
                  <c:v>228.74151883341955</c:v>
                </c:pt>
                <c:pt idx="4133">
                  <c:v>228.74151883341955</c:v>
                </c:pt>
                <c:pt idx="4134">
                  <c:v>228.74151883341955</c:v>
                </c:pt>
                <c:pt idx="4135">
                  <c:v>228.76499228808225</c:v>
                </c:pt>
                <c:pt idx="4136">
                  <c:v>228.93457348921547</c:v>
                </c:pt>
                <c:pt idx="4137">
                  <c:v>228.08195245716959</c:v>
                </c:pt>
                <c:pt idx="4138">
                  <c:v>229.34845732687137</c:v>
                </c:pt>
                <c:pt idx="4139">
                  <c:v>228.60188222858093</c:v>
                </c:pt>
                <c:pt idx="4140">
                  <c:v>228.60567473380709</c:v>
                </c:pt>
                <c:pt idx="4141">
                  <c:v>228.60567473380709</c:v>
                </c:pt>
                <c:pt idx="4142">
                  <c:v>228.8504976951065</c:v>
                </c:pt>
                <c:pt idx="4143">
                  <c:v>229.83082457208303</c:v>
                </c:pt>
                <c:pt idx="4144">
                  <c:v>231.12347127195679</c:v>
                </c:pt>
                <c:pt idx="4145">
                  <c:v>231.2668371611868</c:v>
                </c:pt>
                <c:pt idx="4146">
                  <c:v>232.74607535571064</c:v>
                </c:pt>
                <c:pt idx="4147">
                  <c:v>232.74607535571064</c:v>
                </c:pt>
                <c:pt idx="4148">
                  <c:v>232.74607535571064</c:v>
                </c:pt>
                <c:pt idx="4149">
                  <c:v>232.29985225257792</c:v>
                </c:pt>
                <c:pt idx="4150">
                  <c:v>232.89765269236469</c:v>
                </c:pt>
                <c:pt idx="4151">
                  <c:v>234.85714175124494</c:v>
                </c:pt>
                <c:pt idx="4152">
                  <c:v>235.67326797025908</c:v>
                </c:pt>
                <c:pt idx="4153">
                  <c:v>235.90972367347896</c:v>
                </c:pt>
                <c:pt idx="4154">
                  <c:v>235.90972367347896</c:v>
                </c:pt>
                <c:pt idx="4155">
                  <c:v>235.90972367347896</c:v>
                </c:pt>
                <c:pt idx="4156">
                  <c:v>236.17328437586423</c:v>
                </c:pt>
                <c:pt idx="4157">
                  <c:v>235.31195804601259</c:v>
                </c:pt>
                <c:pt idx="4158">
                  <c:v>233.85367336713153</c:v>
                </c:pt>
                <c:pt idx="4159">
                  <c:v>232.5506500532768</c:v>
                </c:pt>
                <c:pt idx="4160">
                  <c:v>233.80682587618909</c:v>
                </c:pt>
                <c:pt idx="4161">
                  <c:v>233.80682587618909</c:v>
                </c:pt>
                <c:pt idx="4162">
                  <c:v>233.80682587618909</c:v>
                </c:pt>
                <c:pt idx="4163">
                  <c:v>234.66986064606806</c:v>
                </c:pt>
                <c:pt idx="4164">
                  <c:v>235.30869771430764</c:v>
                </c:pt>
                <c:pt idx="4165">
                  <c:v>234.92783646853516</c:v>
                </c:pt>
                <c:pt idx="4166">
                  <c:v>235.66213866059306</c:v>
                </c:pt>
                <c:pt idx="4167">
                  <c:v>235.54560373302542</c:v>
                </c:pt>
                <c:pt idx="4168">
                  <c:v>235.54560373302542</c:v>
                </c:pt>
                <c:pt idx="4169">
                  <c:v>235.54560373302542</c:v>
                </c:pt>
                <c:pt idx="4170">
                  <c:v>235.07495064038233</c:v>
                </c:pt>
                <c:pt idx="4171">
                  <c:v>236.65748931259043</c:v>
                </c:pt>
                <c:pt idx="4172">
                  <c:v>237.32367067870581</c:v>
                </c:pt>
                <c:pt idx="4173">
                  <c:v>240.30711163430527</c:v>
                </c:pt>
                <c:pt idx="4174">
                  <c:v>242.11006380076398</c:v>
                </c:pt>
                <c:pt idx="4175">
                  <c:v>242.11006380076398</c:v>
                </c:pt>
                <c:pt idx="4176">
                  <c:v>242.11006380076398</c:v>
                </c:pt>
                <c:pt idx="4177">
                  <c:v>240.78163009169558</c:v>
                </c:pt>
                <c:pt idx="4178">
                  <c:v>241.61155862211194</c:v>
                </c:pt>
                <c:pt idx="4179">
                  <c:v>240.2327104504426</c:v>
                </c:pt>
                <c:pt idx="4180">
                  <c:v>238.92952246838919</c:v>
                </c:pt>
                <c:pt idx="4181">
                  <c:v>238.81788503831106</c:v>
                </c:pt>
                <c:pt idx="4182">
                  <c:v>238.81788503831106</c:v>
                </c:pt>
                <c:pt idx="4183">
                  <c:v>238.81788503831106</c:v>
                </c:pt>
                <c:pt idx="4184">
                  <c:v>239.64460807548471</c:v>
                </c:pt>
                <c:pt idx="4185">
                  <c:v>239.47858229101001</c:v>
                </c:pt>
                <c:pt idx="4186">
                  <c:v>241.50203741379133</c:v>
                </c:pt>
                <c:pt idx="4187">
                  <c:v>240.92472196331292</c:v>
                </c:pt>
                <c:pt idx="4188">
                  <c:v>239.72045733133209</c:v>
                </c:pt>
                <c:pt idx="4189">
                  <c:v>239.72045733133209</c:v>
                </c:pt>
                <c:pt idx="4190">
                  <c:v>239.72045733133209</c:v>
                </c:pt>
                <c:pt idx="4191">
                  <c:v>239.74225511251723</c:v>
                </c:pt>
                <c:pt idx="4192">
                  <c:v>236.50983186363811</c:v>
                </c:pt>
                <c:pt idx="4193">
                  <c:v>237.10151087510968</c:v>
                </c:pt>
                <c:pt idx="4194">
                  <c:v>237.56365254300169</c:v>
                </c:pt>
                <c:pt idx="4195">
                  <c:v>237.14404623915152</c:v>
                </c:pt>
                <c:pt idx="4196">
                  <c:v>237.14404623915152</c:v>
                </c:pt>
                <c:pt idx="4197">
                  <c:v>237.14404623915152</c:v>
                </c:pt>
                <c:pt idx="4198">
                  <c:v>237.20841187618177</c:v>
                </c:pt>
                <c:pt idx="4199">
                  <c:v>235.72584032528266</c:v>
                </c:pt>
                <c:pt idx="4200">
                  <c:v>236.83936912158646</c:v>
                </c:pt>
                <c:pt idx="4201">
                  <c:v>238.44899105237272</c:v>
                </c:pt>
                <c:pt idx="4202">
                  <c:v>239.71002854155319</c:v>
                </c:pt>
                <c:pt idx="4203">
                  <c:v>239.71002854155319</c:v>
                </c:pt>
                <c:pt idx="4204">
                  <c:v>239.71002854155319</c:v>
                </c:pt>
                <c:pt idx="4205">
                  <c:v>239.55525257032448</c:v>
                </c:pt>
                <c:pt idx="4206">
                  <c:v>239.72049299244247</c:v>
                </c:pt>
                <c:pt idx="4207">
                  <c:v>240.22544263608665</c:v>
                </c:pt>
                <c:pt idx="4208">
                  <c:v>238.34181332008725</c:v>
                </c:pt>
                <c:pt idx="4209">
                  <c:v>234.57552883574883</c:v>
                </c:pt>
                <c:pt idx="4210">
                  <c:v>234.57552883574883</c:v>
                </c:pt>
                <c:pt idx="4211">
                  <c:v>234.57552883574883</c:v>
                </c:pt>
                <c:pt idx="4212">
                  <c:v>233.35094136199353</c:v>
                </c:pt>
                <c:pt idx="4213">
                  <c:v>234.81378107724123</c:v>
                </c:pt>
                <c:pt idx="4214">
                  <c:v>232.83919677009555</c:v>
                </c:pt>
                <c:pt idx="4215">
                  <c:v>234.23875825600109</c:v>
                </c:pt>
                <c:pt idx="4216">
                  <c:v>233.10826344896805</c:v>
                </c:pt>
                <c:pt idx="4217">
                  <c:v>233.10826344896805</c:v>
                </c:pt>
                <c:pt idx="4218">
                  <c:v>233.10826344896805</c:v>
                </c:pt>
                <c:pt idx="4219">
                  <c:v>232.96659423293957</c:v>
                </c:pt>
                <c:pt idx="4220">
                  <c:v>235.51009322311759</c:v>
                </c:pt>
                <c:pt idx="4221">
                  <c:v>234.91520650314067</c:v>
                </c:pt>
                <c:pt idx="4222">
                  <c:v>235.13505189914665</c:v>
                </c:pt>
                <c:pt idx="4223">
                  <c:v>235.36492697993481</c:v>
                </c:pt>
                <c:pt idx="4224">
                  <c:v>235.36492697993481</c:v>
                </c:pt>
                <c:pt idx="4225">
                  <c:v>235.36492697993481</c:v>
                </c:pt>
                <c:pt idx="4226">
                  <c:v>235.08109570719117</c:v>
                </c:pt>
                <c:pt idx="4227">
                  <c:v>234.57588997683973</c:v>
                </c:pt>
                <c:pt idx="4228">
                  <c:v>236.61081471055874</c:v>
                </c:pt>
                <c:pt idx="4229">
                  <c:v>237.26454673052254</c:v>
                </c:pt>
                <c:pt idx="4230">
                  <c:v>238.64079736118745</c:v>
                </c:pt>
                <c:pt idx="4231">
                  <c:v>238.64079736118745</c:v>
                </c:pt>
                <c:pt idx="4232">
                  <c:v>238.64079736118745</c:v>
                </c:pt>
                <c:pt idx="4233">
                  <c:v>238.97238636271285</c:v>
                </c:pt>
                <c:pt idx="4234">
                  <c:v>236.99251686976484</c:v>
                </c:pt>
                <c:pt idx="4235">
                  <c:v>237.71771871123664</c:v>
                </c:pt>
                <c:pt idx="4236">
                  <c:v>238.58672673528898</c:v>
                </c:pt>
                <c:pt idx="4237">
                  <c:v>238.55830389853301</c:v>
                </c:pt>
                <c:pt idx="4238">
                  <c:v>238.55830389853301</c:v>
                </c:pt>
                <c:pt idx="4239">
                  <c:v>238.55830389853301</c:v>
                </c:pt>
                <c:pt idx="4240">
                  <c:v>238.94814395084876</c:v>
                </c:pt>
                <c:pt idx="4241">
                  <c:v>238.79062455539349</c:v>
                </c:pt>
                <c:pt idx="4242">
                  <c:v>239.22779765501699</c:v>
                </c:pt>
                <c:pt idx="4243">
                  <c:v>239.75945512024751</c:v>
                </c:pt>
                <c:pt idx="4244">
                  <c:v>239.77525287074536</c:v>
                </c:pt>
                <c:pt idx="4245">
                  <c:v>239.77525287074536</c:v>
                </c:pt>
                <c:pt idx="4246">
                  <c:v>239.77525287074536</c:v>
                </c:pt>
                <c:pt idx="4247">
                  <c:v>240.6313632178628</c:v>
                </c:pt>
                <c:pt idx="4248">
                  <c:v>240.4734946057101</c:v>
                </c:pt>
                <c:pt idx="4249">
                  <c:v>240.13249116668447</c:v>
                </c:pt>
                <c:pt idx="4250">
                  <c:v>240.3450540465403</c:v>
                </c:pt>
                <c:pt idx="4251">
                  <c:v>241.4492569076431</c:v>
                </c:pt>
                <c:pt idx="4252">
                  <c:v>241.4492569076431</c:v>
                </c:pt>
                <c:pt idx="4253">
                  <c:v>241.4492569076431</c:v>
                </c:pt>
                <c:pt idx="4254">
                  <c:v>241.11144283781104</c:v>
                </c:pt>
                <c:pt idx="4255">
                  <c:v>240.79683821608182</c:v>
                </c:pt>
                <c:pt idx="4256">
                  <c:v>239.52643503311629</c:v>
                </c:pt>
                <c:pt idx="4257">
                  <c:v>240.74254667274468</c:v>
                </c:pt>
                <c:pt idx="4258">
                  <c:v>240.92196246307799</c:v>
                </c:pt>
                <c:pt idx="4259">
                  <c:v>240.92196246307799</c:v>
                </c:pt>
                <c:pt idx="4260">
                  <c:v>240.92996107223178</c:v>
                </c:pt>
                <c:pt idx="4261">
                  <c:v>241.29495309815891</c:v>
                </c:pt>
                <c:pt idx="4262">
                  <c:v>240.481002484671</c:v>
                </c:pt>
                <c:pt idx="4263">
                  <c:v>240.11679641121799</c:v>
                </c:pt>
                <c:pt idx="4264">
                  <c:v>238.40004535775651</c:v>
                </c:pt>
                <c:pt idx="4265">
                  <c:v>238.93667670785544</c:v>
                </c:pt>
                <c:pt idx="4266">
                  <c:v>238.93667670785544</c:v>
                </c:pt>
                <c:pt idx="4267">
                  <c:v>238.93667670785544</c:v>
                </c:pt>
                <c:pt idx="4268">
                  <c:v>238.86394199409878</c:v>
                </c:pt>
                <c:pt idx="4269">
                  <c:v>238.61158223938202</c:v>
                </c:pt>
                <c:pt idx="4270">
                  <c:v>239.27447862046452</c:v>
                </c:pt>
                <c:pt idx="4271">
                  <c:v>240.28472657488234</c:v>
                </c:pt>
                <c:pt idx="4272">
                  <c:v>240.47097847499234</c:v>
                </c:pt>
                <c:pt idx="4273">
                  <c:v>240.47097847499234</c:v>
                </c:pt>
                <c:pt idx="4274">
                  <c:v>240.47097847499234</c:v>
                </c:pt>
                <c:pt idx="4275">
                  <c:v>240.62681809730284</c:v>
                </c:pt>
                <c:pt idx="4276">
                  <c:v>240.2196678960095</c:v>
                </c:pt>
                <c:pt idx="4277">
                  <c:v>240.54591022697906</c:v>
                </c:pt>
                <c:pt idx="4278">
                  <c:v>242.20380074944546</c:v>
                </c:pt>
                <c:pt idx="4279">
                  <c:v>242.2561313026354</c:v>
                </c:pt>
                <c:pt idx="4280">
                  <c:v>242.2561313026354</c:v>
                </c:pt>
                <c:pt idx="4281">
                  <c:v>242.2561313026354</c:v>
                </c:pt>
                <c:pt idx="4282">
                  <c:v>242.54777376886537</c:v>
                </c:pt>
                <c:pt idx="4283">
                  <c:v>240.85463022642801</c:v>
                </c:pt>
                <c:pt idx="4284">
                  <c:v>239.35027388295046</c:v>
                </c:pt>
                <c:pt idx="4285">
                  <c:v>239.67999324624063</c:v>
                </c:pt>
                <c:pt idx="4286">
                  <c:v>241.14109207226946</c:v>
                </c:pt>
                <c:pt idx="4287">
                  <c:v>241.14109207226946</c:v>
                </c:pt>
                <c:pt idx="4288">
                  <c:v>241.14109207226946</c:v>
                </c:pt>
                <c:pt idx="4289">
                  <c:v>240.95010591593731</c:v>
                </c:pt>
                <c:pt idx="4290">
                  <c:v>240.02683330008861</c:v>
                </c:pt>
                <c:pt idx="4291">
                  <c:v>238.61542031411241</c:v>
                </c:pt>
                <c:pt idx="4292">
                  <c:v>239.23202880790029</c:v>
                </c:pt>
                <c:pt idx="4293">
                  <c:v>242.1275521376941</c:v>
                </c:pt>
                <c:pt idx="4294">
                  <c:v>242.1275521376941</c:v>
                </c:pt>
                <c:pt idx="4295">
                  <c:v>242.1275521376941</c:v>
                </c:pt>
                <c:pt idx="4296">
                  <c:v>242.62300321998035</c:v>
                </c:pt>
                <c:pt idx="4297">
                  <c:v>243.40709040571642</c:v>
                </c:pt>
                <c:pt idx="4298">
                  <c:v>242.02170730775055</c:v>
                </c:pt>
                <c:pt idx="4299">
                  <c:v>241.46470644946712</c:v>
                </c:pt>
                <c:pt idx="4300">
                  <c:v>240.88332221716047</c:v>
                </c:pt>
                <c:pt idx="4301">
                  <c:v>240.88332221716047</c:v>
                </c:pt>
                <c:pt idx="4302">
                  <c:v>240.88332221716047</c:v>
                </c:pt>
                <c:pt idx="4303">
                  <c:v>242.13657069532613</c:v>
                </c:pt>
                <c:pt idx="4304">
                  <c:v>242.35989809720982</c:v>
                </c:pt>
                <c:pt idx="4305">
                  <c:v>242.31022158889684</c:v>
                </c:pt>
                <c:pt idx="4306">
                  <c:v>243.23543470798973</c:v>
                </c:pt>
                <c:pt idx="4307">
                  <c:v>242.69786250609593</c:v>
                </c:pt>
                <c:pt idx="4308">
                  <c:v>242.69786250609593</c:v>
                </c:pt>
                <c:pt idx="4309">
                  <c:v>242.69786250609593</c:v>
                </c:pt>
                <c:pt idx="4310">
                  <c:v>241.64047888570801</c:v>
                </c:pt>
                <c:pt idx="4311">
                  <c:v>241.96168190867164</c:v>
                </c:pt>
                <c:pt idx="4312">
                  <c:v>240.92404133389039</c:v>
                </c:pt>
                <c:pt idx="4313">
                  <c:v>240.52435075855786</c:v>
                </c:pt>
                <c:pt idx="4314">
                  <c:v>239.5357980821837</c:v>
                </c:pt>
                <c:pt idx="4315">
                  <c:v>239.5357980821837</c:v>
                </c:pt>
                <c:pt idx="4316">
                  <c:v>239.5357980821837</c:v>
                </c:pt>
                <c:pt idx="4317">
                  <c:v>238.77526234184083</c:v>
                </c:pt>
                <c:pt idx="4318">
                  <c:v>239.21394264156785</c:v>
                </c:pt>
                <c:pt idx="4319">
                  <c:v>241.1670575033323</c:v>
                </c:pt>
                <c:pt idx="4320">
                  <c:v>241.17599274281281</c:v>
                </c:pt>
                <c:pt idx="4321">
                  <c:v>241.92482249443989</c:v>
                </c:pt>
                <c:pt idx="4322">
                  <c:v>241.92482249443989</c:v>
                </c:pt>
                <c:pt idx="4323">
                  <c:v>241.92482249443989</c:v>
                </c:pt>
                <c:pt idx="4324">
                  <c:v>241.90543463916518</c:v>
                </c:pt>
                <c:pt idx="4325">
                  <c:v>241.54688482299736</c:v>
                </c:pt>
                <c:pt idx="4326">
                  <c:v>240.32773247763677</c:v>
                </c:pt>
                <c:pt idx="4327">
                  <c:v>238.01287412891625</c:v>
                </c:pt>
                <c:pt idx="4328">
                  <c:v>236.05088640489677</c:v>
                </c:pt>
                <c:pt idx="4329">
                  <c:v>236.05088640489677</c:v>
                </c:pt>
                <c:pt idx="4330">
                  <c:v>236.05088640489677</c:v>
                </c:pt>
                <c:pt idx="4331">
                  <c:v>236.45167012339707</c:v>
                </c:pt>
                <c:pt idx="4332">
                  <c:v>236.2304364827628</c:v>
                </c:pt>
                <c:pt idx="4333">
                  <c:v>238.10075789135396</c:v>
                </c:pt>
                <c:pt idx="4334">
                  <c:v>239.12116249937316</c:v>
                </c:pt>
                <c:pt idx="4335">
                  <c:v>239.43043463731496</c:v>
                </c:pt>
                <c:pt idx="4336">
                  <c:v>239.43043463731496</c:v>
                </c:pt>
                <c:pt idx="4337">
                  <c:v>239.43043463731496</c:v>
                </c:pt>
                <c:pt idx="4338">
                  <c:v>239.71511263549004</c:v>
                </c:pt>
                <c:pt idx="4339">
                  <c:v>241.06384574522235</c:v>
                </c:pt>
                <c:pt idx="4340">
                  <c:v>243.69768280681163</c:v>
                </c:pt>
                <c:pt idx="4341">
                  <c:v>243.17064026518216</c:v>
                </c:pt>
                <c:pt idx="4342">
                  <c:v>243.21394895621341</c:v>
                </c:pt>
                <c:pt idx="4343">
                  <c:v>243.21394895621341</c:v>
                </c:pt>
                <c:pt idx="4344">
                  <c:v>243.21394895621341</c:v>
                </c:pt>
                <c:pt idx="4345">
                  <c:v>243.68432716563424</c:v>
                </c:pt>
                <c:pt idx="4346">
                  <c:v>243.71480232758958</c:v>
                </c:pt>
                <c:pt idx="4347">
                  <c:v>242.84919071557059</c:v>
                </c:pt>
                <c:pt idx="4348">
                  <c:v>243.55599842816443</c:v>
                </c:pt>
                <c:pt idx="4349">
                  <c:v>243.69346874035725</c:v>
                </c:pt>
                <c:pt idx="4350">
                  <c:v>243.69346874035725</c:v>
                </c:pt>
                <c:pt idx="4351">
                  <c:v>243.69346874035725</c:v>
                </c:pt>
                <c:pt idx="4352">
                  <c:v>243.66373326330157</c:v>
                </c:pt>
                <c:pt idx="4353">
                  <c:v>243.7302485892078</c:v>
                </c:pt>
                <c:pt idx="4354">
                  <c:v>242.29755831655569</c:v>
                </c:pt>
                <c:pt idx="4355">
                  <c:v>240.95874315807757</c:v>
                </c:pt>
                <c:pt idx="4356">
                  <c:v>240.75529687205434</c:v>
                </c:pt>
                <c:pt idx="4357">
                  <c:v>240.75529687205434</c:v>
                </c:pt>
                <c:pt idx="4358">
                  <c:v>240.75529687205434</c:v>
                </c:pt>
                <c:pt idx="4359">
                  <c:v>240.93973709743506</c:v>
                </c:pt>
                <c:pt idx="4360">
                  <c:v>241.20203132343141</c:v>
                </c:pt>
                <c:pt idx="4361">
                  <c:v>241.15487150226704</c:v>
                </c:pt>
                <c:pt idx="4362">
                  <c:v>241.84690640237093</c:v>
                </c:pt>
                <c:pt idx="4363">
                  <c:v>240.17059052155511</c:v>
                </c:pt>
                <c:pt idx="4364">
                  <c:v>240.17059052155511</c:v>
                </c:pt>
                <c:pt idx="4365">
                  <c:v>240.17059052155511</c:v>
                </c:pt>
                <c:pt idx="4366">
                  <c:v>240.66625218456758</c:v>
                </c:pt>
                <c:pt idx="4367">
                  <c:v>238.09491137300211</c:v>
                </c:pt>
                <c:pt idx="4368">
                  <c:v>237.02489141274981</c:v>
                </c:pt>
                <c:pt idx="4369">
                  <c:v>235.57272049152698</c:v>
                </c:pt>
                <c:pt idx="4370">
                  <c:v>235.33404763403379</c:v>
                </c:pt>
                <c:pt idx="4371">
                  <c:v>235.33404763403379</c:v>
                </c:pt>
                <c:pt idx="4372">
                  <c:v>235.33404763403379</c:v>
                </c:pt>
                <c:pt idx="4373">
                  <c:v>235.69531363723775</c:v>
                </c:pt>
                <c:pt idx="4374">
                  <c:v>236.05898443532061</c:v>
                </c:pt>
                <c:pt idx="4375">
                  <c:v>238.7919620488002</c:v>
                </c:pt>
                <c:pt idx="4376">
                  <c:v>238.33514347372235</c:v>
                </c:pt>
                <c:pt idx="4377">
                  <c:v>239.3425670583743</c:v>
                </c:pt>
                <c:pt idx="4378">
                  <c:v>239.3425670583743</c:v>
                </c:pt>
                <c:pt idx="4379">
                  <c:v>239.3425670583743</c:v>
                </c:pt>
                <c:pt idx="4380">
                  <c:v>240.03074634801158</c:v>
                </c:pt>
                <c:pt idx="4381">
                  <c:v>242.32997446389709</c:v>
                </c:pt>
                <c:pt idx="4382">
                  <c:v>241.79193649149411</c:v>
                </c:pt>
                <c:pt idx="4383">
                  <c:v>241.91559372365461</c:v>
                </c:pt>
                <c:pt idx="4384">
                  <c:v>242.48079322105087</c:v>
                </c:pt>
                <c:pt idx="4385">
                  <c:v>242.48079322105087</c:v>
                </c:pt>
                <c:pt idx="4386">
                  <c:v>242.48079322105087</c:v>
                </c:pt>
                <c:pt idx="4387">
                  <c:v>242.35472503184732</c:v>
                </c:pt>
                <c:pt idx="4388">
                  <c:v>241.81767180827126</c:v>
                </c:pt>
                <c:pt idx="4389">
                  <c:v>242.15996230453916</c:v>
                </c:pt>
                <c:pt idx="4390">
                  <c:v>242.6188796491025</c:v>
                </c:pt>
                <c:pt idx="4391">
                  <c:v>242.85332227250743</c:v>
                </c:pt>
                <c:pt idx="4392">
                  <c:v>242.85332227250743</c:v>
                </c:pt>
                <c:pt idx="4393">
                  <c:v>242.85332227250743</c:v>
                </c:pt>
                <c:pt idx="4394">
                  <c:v>242.77783374581225</c:v>
                </c:pt>
                <c:pt idx="4395">
                  <c:v>242.65624332333732</c:v>
                </c:pt>
                <c:pt idx="4396">
                  <c:v>242.84344776193643</c:v>
                </c:pt>
                <c:pt idx="4397">
                  <c:v>245.45453936722441</c:v>
                </c:pt>
                <c:pt idx="4398">
                  <c:v>245.24169591795751</c:v>
                </c:pt>
                <c:pt idx="4399">
                  <c:v>245.24169591795751</c:v>
                </c:pt>
                <c:pt idx="4400">
                  <c:v>245.24169591795751</c:v>
                </c:pt>
                <c:pt idx="4401">
                  <c:v>244.36486611562333</c:v>
                </c:pt>
                <c:pt idx="4402">
                  <c:v>243.97355976821507</c:v>
                </c:pt>
                <c:pt idx="4403">
                  <c:v>243.92338416591315</c:v>
                </c:pt>
                <c:pt idx="4404">
                  <c:v>242.23740280919526</c:v>
                </c:pt>
                <c:pt idx="4405">
                  <c:v>242.33594498465803</c:v>
                </c:pt>
                <c:pt idx="4406">
                  <c:v>242.33594498465803</c:v>
                </c:pt>
                <c:pt idx="4407">
                  <c:v>242.33594498465803</c:v>
                </c:pt>
                <c:pt idx="4408">
                  <c:v>242.25382460298107</c:v>
                </c:pt>
                <c:pt idx="4409">
                  <c:v>241.13683097834866</c:v>
                </c:pt>
                <c:pt idx="4410">
                  <c:v>241.08991298514519</c:v>
                </c:pt>
                <c:pt idx="4411">
                  <c:v>240.8459034733138</c:v>
                </c:pt>
                <c:pt idx="4412">
                  <c:v>241.18598752285425</c:v>
                </c:pt>
                <c:pt idx="4413">
                  <c:v>241.1902589266933</c:v>
                </c:pt>
                <c:pt idx="4414">
                  <c:v>241.1902589266933</c:v>
                </c:pt>
                <c:pt idx="4415">
                  <c:v>240.33666730513102</c:v>
                </c:pt>
                <c:pt idx="4416">
                  <c:v>239.21653981328868</c:v>
                </c:pt>
                <c:pt idx="4417">
                  <c:v>239.29037399830204</c:v>
                </c:pt>
                <c:pt idx="4418">
                  <c:v>239.77325240141568</c:v>
                </c:pt>
                <c:pt idx="4419">
                  <c:v>240.7776817375854</c:v>
                </c:pt>
                <c:pt idx="4420">
                  <c:v>240.7776817375854</c:v>
                </c:pt>
                <c:pt idx="4421">
                  <c:v>240.7776817375854</c:v>
                </c:pt>
                <c:pt idx="4422">
                  <c:v>241.23457183534336</c:v>
                </c:pt>
                <c:pt idx="4423">
                  <c:v>243.2700464315013</c:v>
                </c:pt>
                <c:pt idx="4424">
                  <c:v>243.7612500111544</c:v>
                </c:pt>
                <c:pt idx="4425">
                  <c:v>244.46615148109916</c:v>
                </c:pt>
                <c:pt idx="4426">
                  <c:v>244.04751786465687</c:v>
                </c:pt>
                <c:pt idx="4427">
                  <c:v>244.04751786465687</c:v>
                </c:pt>
                <c:pt idx="4428">
                  <c:v>244.04751786465687</c:v>
                </c:pt>
                <c:pt idx="4429">
                  <c:v>244.14550294307952</c:v>
                </c:pt>
                <c:pt idx="4430">
                  <c:v>244.19193209337419</c:v>
                </c:pt>
                <c:pt idx="4431">
                  <c:v>241.89090174958102</c:v>
                </c:pt>
                <c:pt idx="4432">
                  <c:v>239.80570542013893</c:v>
                </c:pt>
                <c:pt idx="4433">
                  <c:v>237.90520683577148</c:v>
                </c:pt>
                <c:pt idx="4434">
                  <c:v>237.90520683577148</c:v>
                </c:pt>
                <c:pt idx="4435">
                  <c:v>237.90520683577148</c:v>
                </c:pt>
                <c:pt idx="4436">
                  <c:v>237.20907716815344</c:v>
                </c:pt>
                <c:pt idx="4437">
                  <c:v>238.38631023677743</c:v>
                </c:pt>
                <c:pt idx="4438">
                  <c:v>238.10284269141178</c:v>
                </c:pt>
                <c:pt idx="4439">
                  <c:v>236.43618469931099</c:v>
                </c:pt>
                <c:pt idx="4440">
                  <c:v>234.87658778726447</c:v>
                </c:pt>
                <c:pt idx="4441">
                  <c:v>234.87658778726447</c:v>
                </c:pt>
                <c:pt idx="4442">
                  <c:v>234.87658778726447</c:v>
                </c:pt>
                <c:pt idx="4443">
                  <c:v>236.38437334503303</c:v>
                </c:pt>
                <c:pt idx="4444">
                  <c:v>236.81198794872674</c:v>
                </c:pt>
                <c:pt idx="4445">
                  <c:v>238.7368384129318</c:v>
                </c:pt>
                <c:pt idx="4446">
                  <c:v>241.38040962257236</c:v>
                </c:pt>
                <c:pt idx="4447">
                  <c:v>240.55877243245399</c:v>
                </c:pt>
                <c:pt idx="4448">
                  <c:v>240.55877243245399</c:v>
                </c:pt>
                <c:pt idx="4449">
                  <c:v>240.55877243245399</c:v>
                </c:pt>
                <c:pt idx="4450">
                  <c:v>240.87513849084309</c:v>
                </c:pt>
                <c:pt idx="4451">
                  <c:v>241.90302015182232</c:v>
                </c:pt>
                <c:pt idx="4452">
                  <c:v>242.59483618012433</c:v>
                </c:pt>
                <c:pt idx="4453">
                  <c:v>242.92871702721069</c:v>
                </c:pt>
                <c:pt idx="4454">
                  <c:v>243.54554219118882</c:v>
                </c:pt>
                <c:pt idx="4455">
                  <c:v>243.54554219118882</c:v>
                </c:pt>
                <c:pt idx="4456">
                  <c:v>243.54554219118882</c:v>
                </c:pt>
                <c:pt idx="4457">
                  <c:v>243.27011166661396</c:v>
                </c:pt>
                <c:pt idx="4458">
                  <c:v>243.84819686566846</c:v>
                </c:pt>
                <c:pt idx="4459">
                  <c:v>244.48599401698047</c:v>
                </c:pt>
                <c:pt idx="4460">
                  <c:v>244.74212487889247</c:v>
                </c:pt>
                <c:pt idx="4461">
                  <c:v>245.49757039575618</c:v>
                </c:pt>
                <c:pt idx="4462">
                  <c:v>245.49757039575618</c:v>
                </c:pt>
                <c:pt idx="4463">
                  <c:v>245.49757039575618</c:v>
                </c:pt>
                <c:pt idx="4464">
                  <c:v>245.47646005967786</c:v>
                </c:pt>
                <c:pt idx="4465">
                  <c:v>245.10092771631398</c:v>
                </c:pt>
                <c:pt idx="4466">
                  <c:v>245.92365309836077</c:v>
                </c:pt>
                <c:pt idx="4467">
                  <c:v>245.50636492531041</c:v>
                </c:pt>
                <c:pt idx="4468">
                  <c:v>244.69709983954345</c:v>
                </c:pt>
                <c:pt idx="4469">
                  <c:v>244.69709983954345</c:v>
                </c:pt>
                <c:pt idx="4470">
                  <c:v>244.69709983954345</c:v>
                </c:pt>
                <c:pt idx="4471">
                  <c:v>244.37276606856113</c:v>
                </c:pt>
                <c:pt idx="4472">
                  <c:v>243.73203778202299</c:v>
                </c:pt>
                <c:pt idx="4473">
                  <c:v>243.54836375567083</c:v>
                </c:pt>
                <c:pt idx="4474">
                  <c:v>244.10824978265782</c:v>
                </c:pt>
                <c:pt idx="4475">
                  <c:v>245.27991811888214</c:v>
                </c:pt>
                <c:pt idx="4476">
                  <c:v>245.27991811888214</c:v>
                </c:pt>
                <c:pt idx="4477">
                  <c:v>245.27991811888214</c:v>
                </c:pt>
                <c:pt idx="4478">
                  <c:v>244.74144039784068</c:v>
                </c:pt>
                <c:pt idx="4479">
                  <c:v>244.7826842253765</c:v>
                </c:pt>
                <c:pt idx="4480">
                  <c:v>245.36654722727141</c:v>
                </c:pt>
                <c:pt idx="4481">
                  <c:v>246.06825874735935</c:v>
                </c:pt>
                <c:pt idx="4482">
                  <c:v>246.66737836170967</c:v>
                </c:pt>
                <c:pt idx="4483">
                  <c:v>246.66737836170967</c:v>
                </c:pt>
                <c:pt idx="4484">
                  <c:v>246.66737836170967</c:v>
                </c:pt>
                <c:pt idx="4485">
                  <c:v>246.76894118807635</c:v>
                </c:pt>
                <c:pt idx="4486">
                  <c:v>247.50784142867579</c:v>
                </c:pt>
                <c:pt idx="4487">
                  <c:v>249.14580129676091</c:v>
                </c:pt>
                <c:pt idx="4488">
                  <c:v>248.1675377823432</c:v>
                </c:pt>
                <c:pt idx="4489">
                  <c:v>248.54014396859574</c:v>
                </c:pt>
                <c:pt idx="4490">
                  <c:v>248.54014396859574</c:v>
                </c:pt>
                <c:pt idx="4491">
                  <c:v>248.54014396859574</c:v>
                </c:pt>
                <c:pt idx="4492">
                  <c:v>249.40570738857932</c:v>
                </c:pt>
                <c:pt idx="4493">
                  <c:v>249.26383544598841</c:v>
                </c:pt>
                <c:pt idx="4494">
                  <c:v>250.09305646208986</c:v>
                </c:pt>
                <c:pt idx="4495">
                  <c:v>251.03571971515959</c:v>
                </c:pt>
                <c:pt idx="4496">
                  <c:v>250.90796010632496</c:v>
                </c:pt>
                <c:pt idx="4497">
                  <c:v>250.90796010632496</c:v>
                </c:pt>
                <c:pt idx="4498">
                  <c:v>250.90796010632496</c:v>
                </c:pt>
                <c:pt idx="4499">
                  <c:v>250.87862394762934</c:v>
                </c:pt>
                <c:pt idx="4500">
                  <c:v>251.26599057814943</c:v>
                </c:pt>
                <c:pt idx="4501">
                  <c:v>251.45131432216021</c:v>
                </c:pt>
                <c:pt idx="4502">
                  <c:v>251.96135565361814</c:v>
                </c:pt>
                <c:pt idx="4503">
                  <c:v>251.95793149879481</c:v>
                </c:pt>
                <c:pt idx="4504">
                  <c:v>251.95793149879481</c:v>
                </c:pt>
                <c:pt idx="4505">
                  <c:v>251.96569936182291</c:v>
                </c:pt>
                <c:pt idx="4506">
                  <c:v>251.96101028015778</c:v>
                </c:pt>
                <c:pt idx="4507">
                  <c:v>251.39601039109544</c:v>
                </c:pt>
                <c:pt idx="4508">
                  <c:v>250.02498705298615</c:v>
                </c:pt>
                <c:pt idx="4509">
                  <c:v>249.3194265405221</c:v>
                </c:pt>
                <c:pt idx="4510">
                  <c:v>248.33077777971261</c:v>
                </c:pt>
                <c:pt idx="4511">
                  <c:v>248.33077777971261</c:v>
                </c:pt>
                <c:pt idx="4512">
                  <c:v>248.33077777971261</c:v>
                </c:pt>
                <c:pt idx="4513">
                  <c:v>249.52923949643196</c:v>
                </c:pt>
                <c:pt idx="4514">
                  <c:v>250.14156179252467</c:v>
                </c:pt>
                <c:pt idx="4515">
                  <c:v>250.53789358727562</c:v>
                </c:pt>
                <c:pt idx="4516">
                  <c:v>250.63133169468901</c:v>
                </c:pt>
                <c:pt idx="4517">
                  <c:v>251.64638357542586</c:v>
                </c:pt>
                <c:pt idx="4518">
                  <c:v>251.64638357542586</c:v>
                </c:pt>
                <c:pt idx="4519">
                  <c:v>251.64638357542586</c:v>
                </c:pt>
                <c:pt idx="4520">
                  <c:v>251.39190868649905</c:v>
                </c:pt>
                <c:pt idx="4521">
                  <c:v>251.18616200667276</c:v>
                </c:pt>
                <c:pt idx="4522">
                  <c:v>248.65020660994634</c:v>
                </c:pt>
                <c:pt idx="4523">
                  <c:v>249.4452681320837</c:v>
                </c:pt>
                <c:pt idx="4524">
                  <c:v>250.87931900076433</c:v>
                </c:pt>
                <c:pt idx="4525">
                  <c:v>250.87931900076433</c:v>
                </c:pt>
                <c:pt idx="4526">
                  <c:v>250.87931900076433</c:v>
                </c:pt>
                <c:pt idx="4527">
                  <c:v>251.40493626200282</c:v>
                </c:pt>
                <c:pt idx="4528">
                  <c:v>251.48133319403411</c:v>
                </c:pt>
                <c:pt idx="4529">
                  <c:v>251.77450007301837</c:v>
                </c:pt>
                <c:pt idx="4530">
                  <c:v>252.69620875161067</c:v>
                </c:pt>
                <c:pt idx="4531">
                  <c:v>253.68713924549547</c:v>
                </c:pt>
                <c:pt idx="4532">
                  <c:v>253.68713924549547</c:v>
                </c:pt>
                <c:pt idx="4533">
                  <c:v>253.68713924549547</c:v>
                </c:pt>
                <c:pt idx="4534">
                  <c:v>255.01916162317485</c:v>
                </c:pt>
                <c:pt idx="4535">
                  <c:v>255.65819883913667</c:v>
                </c:pt>
                <c:pt idx="4536">
                  <c:v>253.55820194121608</c:v>
                </c:pt>
                <c:pt idx="4537">
                  <c:v>254.86651155159237</c:v>
                </c:pt>
                <c:pt idx="4538">
                  <c:v>255.22830985673053</c:v>
                </c:pt>
                <c:pt idx="4539">
                  <c:v>255.22830985673053</c:v>
                </c:pt>
                <c:pt idx="4540">
                  <c:v>255.22830985673053</c:v>
                </c:pt>
                <c:pt idx="4541">
                  <c:v>256.23252606012659</c:v>
                </c:pt>
                <c:pt idx="4542">
                  <c:v>256.57883200607262</c:v>
                </c:pt>
                <c:pt idx="4543">
                  <c:v>256.60144943011397</c:v>
                </c:pt>
                <c:pt idx="4544">
                  <c:v>255.77480529476037</c:v>
                </c:pt>
                <c:pt idx="4545">
                  <c:v>256.23997270215779</c:v>
                </c:pt>
                <c:pt idx="4546">
                  <c:v>256.23997270215779</c:v>
                </c:pt>
                <c:pt idx="4547">
                  <c:v>256.23997270215779</c:v>
                </c:pt>
                <c:pt idx="4548">
                  <c:v>256.3399421651078</c:v>
                </c:pt>
                <c:pt idx="4549">
                  <c:v>254.510392729887</c:v>
                </c:pt>
                <c:pt idx="4550">
                  <c:v>257.04375863787317</c:v>
                </c:pt>
                <c:pt idx="4551">
                  <c:v>257.22473029614213</c:v>
                </c:pt>
                <c:pt idx="4552">
                  <c:v>258.56887098554114</c:v>
                </c:pt>
                <c:pt idx="4553">
                  <c:v>258.56887098554114</c:v>
                </c:pt>
                <c:pt idx="4554">
                  <c:v>258.56887098554114</c:v>
                </c:pt>
                <c:pt idx="4555">
                  <c:v>258.82734677173312</c:v>
                </c:pt>
                <c:pt idx="4556">
                  <c:v>257.7857116442911</c:v>
                </c:pt>
                <c:pt idx="4557">
                  <c:v>258.25363911235354</c:v>
                </c:pt>
                <c:pt idx="4558">
                  <c:v>261.0141690766261</c:v>
                </c:pt>
                <c:pt idx="4559">
                  <c:v>261.02327847112684</c:v>
                </c:pt>
                <c:pt idx="4560">
                  <c:v>261.02327847112684</c:v>
                </c:pt>
                <c:pt idx="4561">
                  <c:v>261.02327847112684</c:v>
                </c:pt>
                <c:pt idx="4562">
                  <c:v>260.67714855271021</c:v>
                </c:pt>
                <c:pt idx="4563">
                  <c:v>260.53333557662518</c:v>
                </c:pt>
                <c:pt idx="4564">
                  <c:v>259.89096197909407</c:v>
                </c:pt>
                <c:pt idx="4565">
                  <c:v>260.64058107418805</c:v>
                </c:pt>
                <c:pt idx="4566">
                  <c:v>261.99385564158916</c:v>
                </c:pt>
                <c:pt idx="4567">
                  <c:v>261.99385564158916</c:v>
                </c:pt>
                <c:pt idx="4568">
                  <c:v>261.99385564158916</c:v>
                </c:pt>
                <c:pt idx="4569">
                  <c:v>261.6029319896478</c:v>
                </c:pt>
                <c:pt idx="4570">
                  <c:v>260.12206319238743</c:v>
                </c:pt>
                <c:pt idx="4571">
                  <c:v>260.94198354289358</c:v>
                </c:pt>
                <c:pt idx="4572">
                  <c:v>262.50753367677737</c:v>
                </c:pt>
                <c:pt idx="4573">
                  <c:v>261.06276833860517</c:v>
                </c:pt>
                <c:pt idx="4574">
                  <c:v>261.06276833860517</c:v>
                </c:pt>
                <c:pt idx="4575">
                  <c:v>261.06276833860517</c:v>
                </c:pt>
                <c:pt idx="4576">
                  <c:v>261.30709437286561</c:v>
                </c:pt>
                <c:pt idx="4577">
                  <c:v>263.7923103683886</c:v>
                </c:pt>
                <c:pt idx="4578">
                  <c:v>263.83727376769087</c:v>
                </c:pt>
                <c:pt idx="4579">
                  <c:v>263.96325870428768</c:v>
                </c:pt>
                <c:pt idx="4580">
                  <c:v>262.01772806453806</c:v>
                </c:pt>
                <c:pt idx="4581">
                  <c:v>262.01772806453806</c:v>
                </c:pt>
                <c:pt idx="4582">
                  <c:v>262.01772806453806</c:v>
                </c:pt>
                <c:pt idx="4583">
                  <c:v>262.86604190127434</c:v>
                </c:pt>
                <c:pt idx="4584">
                  <c:v>263.57833001501422</c:v>
                </c:pt>
                <c:pt idx="4585">
                  <c:v>264.46293315572751</c:v>
                </c:pt>
                <c:pt idx="4586">
                  <c:v>266.57958604290337</c:v>
                </c:pt>
                <c:pt idx="4587">
                  <c:v>267.96659962908461</c:v>
                </c:pt>
                <c:pt idx="4588">
                  <c:v>267.96659962908461</c:v>
                </c:pt>
                <c:pt idx="4589">
                  <c:v>267.96659962908461</c:v>
                </c:pt>
                <c:pt idx="4590">
                  <c:v>266.25680658415928</c:v>
                </c:pt>
                <c:pt idx="4591">
                  <c:v>266.45945996478662</c:v>
                </c:pt>
                <c:pt idx="4592">
                  <c:v>267.49398881809992</c:v>
                </c:pt>
                <c:pt idx="4593">
                  <c:v>267.58592917699661</c:v>
                </c:pt>
                <c:pt idx="4594">
                  <c:v>267.71887121833032</c:v>
                </c:pt>
                <c:pt idx="4595">
                  <c:v>267.71887121833032</c:v>
                </c:pt>
                <c:pt idx="4596">
                  <c:v>267.72972721855825</c:v>
                </c:pt>
                <c:pt idx="4597">
                  <c:v>268.03450538542933</c:v>
                </c:pt>
                <c:pt idx="4598">
                  <c:v>266.62501645506444</c:v>
                </c:pt>
                <c:pt idx="4599">
                  <c:v>266.04416319171645</c:v>
                </c:pt>
                <c:pt idx="4600">
                  <c:v>265.38569856693368</c:v>
                </c:pt>
                <c:pt idx="4601">
                  <c:v>265.85751187727391</c:v>
                </c:pt>
                <c:pt idx="4602">
                  <c:v>265.85751187727391</c:v>
                </c:pt>
                <c:pt idx="4603">
                  <c:v>265.85751187727391</c:v>
                </c:pt>
                <c:pt idx="4604">
                  <c:v>265.64954749718299</c:v>
                </c:pt>
                <c:pt idx="4605">
                  <c:v>264.98767368010732</c:v>
                </c:pt>
                <c:pt idx="4606">
                  <c:v>264.89332746877028</c:v>
                </c:pt>
                <c:pt idx="4607">
                  <c:v>265.6240569040591</c:v>
                </c:pt>
                <c:pt idx="4608">
                  <c:v>265.7971162896132</c:v>
                </c:pt>
                <c:pt idx="4609">
                  <c:v>265.7971162896132</c:v>
                </c:pt>
                <c:pt idx="4610">
                  <c:v>265.7971162896132</c:v>
                </c:pt>
                <c:pt idx="4611">
                  <c:v>263.96143900741112</c:v>
                </c:pt>
                <c:pt idx="4612">
                  <c:v>262.2029120630574</c:v>
                </c:pt>
                <c:pt idx="4613">
                  <c:v>261.7766015923923</c:v>
                </c:pt>
                <c:pt idx="4614">
                  <c:v>261.74651298980524</c:v>
                </c:pt>
                <c:pt idx="4615">
                  <c:v>260.93487108007054</c:v>
                </c:pt>
                <c:pt idx="4616">
                  <c:v>260.93487108007054</c:v>
                </c:pt>
                <c:pt idx="4617">
                  <c:v>260.93487108007054</c:v>
                </c:pt>
                <c:pt idx="4618">
                  <c:v>264.1162725274375</c:v>
                </c:pt>
                <c:pt idx="4619">
                  <c:v>264.63050162772299</c:v>
                </c:pt>
                <c:pt idx="4620">
                  <c:v>264.56483356874406</c:v>
                </c:pt>
                <c:pt idx="4621">
                  <c:v>263.32637118938038</c:v>
                </c:pt>
                <c:pt idx="4622">
                  <c:v>266.08311126998859</c:v>
                </c:pt>
                <c:pt idx="4623">
                  <c:v>266.08311126998859</c:v>
                </c:pt>
                <c:pt idx="4624">
                  <c:v>266.08311126998859</c:v>
                </c:pt>
                <c:pt idx="4625">
                  <c:v>265.56034044210759</c:v>
                </c:pt>
                <c:pt idx="4626">
                  <c:v>264.41330300803259</c:v>
                </c:pt>
                <c:pt idx="4627">
                  <c:v>264.51137390211829</c:v>
                </c:pt>
                <c:pt idx="4628">
                  <c:v>266.00235045361984</c:v>
                </c:pt>
                <c:pt idx="4629">
                  <c:v>267.94667069404903</c:v>
                </c:pt>
                <c:pt idx="4630">
                  <c:v>267.94667069404903</c:v>
                </c:pt>
                <c:pt idx="4631">
                  <c:v>267.94667069404903</c:v>
                </c:pt>
                <c:pt idx="4632">
                  <c:v>268.71889031952253</c:v>
                </c:pt>
                <c:pt idx="4633">
                  <c:v>270.89536822290989</c:v>
                </c:pt>
                <c:pt idx="4634">
                  <c:v>271.87772151460399</c:v>
                </c:pt>
                <c:pt idx="4635">
                  <c:v>272.52880340697834</c:v>
                </c:pt>
                <c:pt idx="4636">
                  <c:v>272.88330614916208</c:v>
                </c:pt>
                <c:pt idx="4637">
                  <c:v>272.88330614916208</c:v>
                </c:pt>
                <c:pt idx="4638">
                  <c:v>272.88330614916208</c:v>
                </c:pt>
                <c:pt idx="4639">
                  <c:v>271.80942301680716</c:v>
                </c:pt>
                <c:pt idx="4640">
                  <c:v>272.33934538601494</c:v>
                </c:pt>
                <c:pt idx="4641">
                  <c:v>273.74534900104584</c:v>
                </c:pt>
                <c:pt idx="4642">
                  <c:v>273.68080532265839</c:v>
                </c:pt>
                <c:pt idx="4643">
                  <c:v>273.03167550455385</c:v>
                </c:pt>
                <c:pt idx="4644">
                  <c:v>273.03167550455385</c:v>
                </c:pt>
                <c:pt idx="4645">
                  <c:v>273.03167550455385</c:v>
                </c:pt>
                <c:pt idx="4646">
                  <c:v>273.38368432251485</c:v>
                </c:pt>
                <c:pt idx="4647">
                  <c:v>273.23512489461717</c:v>
                </c:pt>
                <c:pt idx="4648">
                  <c:v>272.70048845808714</c:v>
                </c:pt>
                <c:pt idx="4649">
                  <c:v>271.79348390647067</c:v>
                </c:pt>
                <c:pt idx="4650">
                  <c:v>271.36763244001634</c:v>
                </c:pt>
                <c:pt idx="4651">
                  <c:v>271.36763244001634</c:v>
                </c:pt>
                <c:pt idx="4652">
                  <c:v>271.36763244001634</c:v>
                </c:pt>
                <c:pt idx="4653">
                  <c:v>271.21039117907532</c:v>
                </c:pt>
                <c:pt idx="4654">
                  <c:v>269.74201201546532</c:v>
                </c:pt>
                <c:pt idx="4655">
                  <c:v>267.93579252880858</c:v>
                </c:pt>
                <c:pt idx="4656">
                  <c:v>267.1988136965947</c:v>
                </c:pt>
                <c:pt idx="4657">
                  <c:v>268.59463625145247</c:v>
                </c:pt>
                <c:pt idx="4658">
                  <c:v>268.59463625145247</c:v>
                </c:pt>
                <c:pt idx="4659">
                  <c:v>268.59463625145247</c:v>
                </c:pt>
                <c:pt idx="4660">
                  <c:v>269.00554575572176</c:v>
                </c:pt>
                <c:pt idx="4661">
                  <c:v>269.43564258249785</c:v>
                </c:pt>
                <c:pt idx="4662">
                  <c:v>271.66395078863508</c:v>
                </c:pt>
                <c:pt idx="4663">
                  <c:v>272.28355921095425</c:v>
                </c:pt>
                <c:pt idx="4664">
                  <c:v>271.56802796853941</c:v>
                </c:pt>
                <c:pt idx="4665">
                  <c:v>271.56802796853941</c:v>
                </c:pt>
                <c:pt idx="4666">
                  <c:v>271.56802796853941</c:v>
                </c:pt>
                <c:pt idx="4667">
                  <c:v>270.79803212907825</c:v>
                </c:pt>
                <c:pt idx="4668">
                  <c:v>270.41882552074696</c:v>
                </c:pt>
                <c:pt idx="4669">
                  <c:v>271.85941420900235</c:v>
                </c:pt>
                <c:pt idx="4670">
                  <c:v>271.84462777546355</c:v>
                </c:pt>
                <c:pt idx="4671">
                  <c:v>272.06008095365331</c:v>
                </c:pt>
                <c:pt idx="4672">
                  <c:v>272.06008095365331</c:v>
                </c:pt>
                <c:pt idx="4673">
                  <c:v>272.06008095365331</c:v>
                </c:pt>
                <c:pt idx="4674">
                  <c:v>271.87605951489627</c:v>
                </c:pt>
                <c:pt idx="4675">
                  <c:v>273.40843726790069</c:v>
                </c:pt>
                <c:pt idx="4676">
                  <c:v>273.38171159315777</c:v>
                </c:pt>
                <c:pt idx="4677">
                  <c:v>274.30878725060978</c:v>
                </c:pt>
                <c:pt idx="4678">
                  <c:v>274.14378777199067</c:v>
                </c:pt>
                <c:pt idx="4679">
                  <c:v>274.14378777199067</c:v>
                </c:pt>
                <c:pt idx="4680">
                  <c:v>274.14378777199067</c:v>
                </c:pt>
                <c:pt idx="4681">
                  <c:v>273.94627813865247</c:v>
                </c:pt>
                <c:pt idx="4682">
                  <c:v>274.42025998908792</c:v>
                </c:pt>
                <c:pt idx="4683">
                  <c:v>274.449120767831</c:v>
                </c:pt>
                <c:pt idx="4684">
                  <c:v>273.83165964694513</c:v>
                </c:pt>
                <c:pt idx="4685">
                  <c:v>273.18646022880159</c:v>
                </c:pt>
                <c:pt idx="4686">
                  <c:v>273.18646022880159</c:v>
                </c:pt>
                <c:pt idx="4687">
                  <c:v>273.1966746705495</c:v>
                </c:pt>
                <c:pt idx="4688">
                  <c:v>272.4189520369311</c:v>
                </c:pt>
                <c:pt idx="4689">
                  <c:v>272.03019929561628</c:v>
                </c:pt>
                <c:pt idx="4690">
                  <c:v>272.74760005750068</c:v>
                </c:pt>
                <c:pt idx="4691">
                  <c:v>273.8546225616621</c:v>
                </c:pt>
                <c:pt idx="4692">
                  <c:v>274.1208393788005</c:v>
                </c:pt>
                <c:pt idx="4693">
                  <c:v>274.1208393788005</c:v>
                </c:pt>
                <c:pt idx="4694">
                  <c:v>274.1208393788005</c:v>
                </c:pt>
                <c:pt idx="4695">
                  <c:v>273.85715980219362</c:v>
                </c:pt>
                <c:pt idx="4696">
                  <c:v>273.71256596038967</c:v>
                </c:pt>
                <c:pt idx="4697">
                  <c:v>275.03674082336983</c:v>
                </c:pt>
                <c:pt idx="4698">
                  <c:v>274.65998174395293</c:v>
                </c:pt>
                <c:pt idx="4699">
                  <c:v>274.51281892573451</c:v>
                </c:pt>
                <c:pt idx="4700">
                  <c:v>274.51281892573451</c:v>
                </c:pt>
                <c:pt idx="4701">
                  <c:v>274.51281892573451</c:v>
                </c:pt>
                <c:pt idx="4702">
                  <c:v>274.05977669502039</c:v>
                </c:pt>
                <c:pt idx="4703">
                  <c:v>274.46146885032005</c:v>
                </c:pt>
                <c:pt idx="4704">
                  <c:v>272.5784079248408</c:v>
                </c:pt>
                <c:pt idx="4705">
                  <c:v>271.88036187998608</c:v>
                </c:pt>
                <c:pt idx="4706">
                  <c:v>270.81129567143057</c:v>
                </c:pt>
                <c:pt idx="4707">
                  <c:v>270.81129567143057</c:v>
                </c:pt>
                <c:pt idx="4708">
                  <c:v>270.81129567143057</c:v>
                </c:pt>
                <c:pt idx="4709">
                  <c:v>272.47176159027515</c:v>
                </c:pt>
                <c:pt idx="4710">
                  <c:v>273.01133741975241</c:v>
                </c:pt>
                <c:pt idx="4711">
                  <c:v>270.96116697173892</c:v>
                </c:pt>
                <c:pt idx="4712">
                  <c:v>269.42854558066671</c:v>
                </c:pt>
                <c:pt idx="4713">
                  <c:v>271.93142360912191</c:v>
                </c:pt>
                <c:pt idx="4714">
                  <c:v>271.93142360912191</c:v>
                </c:pt>
                <c:pt idx="4715">
                  <c:v>271.93142360912191</c:v>
                </c:pt>
                <c:pt idx="4716">
                  <c:v>271.95846175057136</c:v>
                </c:pt>
                <c:pt idx="4717">
                  <c:v>271.24726589683206</c:v>
                </c:pt>
                <c:pt idx="4718">
                  <c:v>273.54173295669011</c:v>
                </c:pt>
                <c:pt idx="4719">
                  <c:v>273.06116663397978</c:v>
                </c:pt>
                <c:pt idx="4720">
                  <c:v>270.00082268648276</c:v>
                </c:pt>
                <c:pt idx="4721">
                  <c:v>270.00082268648276</c:v>
                </c:pt>
                <c:pt idx="4722">
                  <c:v>270.00082268648276</c:v>
                </c:pt>
                <c:pt idx="4723">
                  <c:v>265.33078045696828</c:v>
                </c:pt>
                <c:pt idx="4724">
                  <c:v>267.20769855822726</c:v>
                </c:pt>
                <c:pt idx="4725">
                  <c:v>268.4268016179754</c:v>
                </c:pt>
                <c:pt idx="4726">
                  <c:v>269.92170000313405</c:v>
                </c:pt>
                <c:pt idx="4727">
                  <c:v>270.6657688605797</c:v>
                </c:pt>
                <c:pt idx="4728">
                  <c:v>270.6657688605797</c:v>
                </c:pt>
                <c:pt idx="4729">
                  <c:v>270.6657688605797</c:v>
                </c:pt>
                <c:pt idx="4730">
                  <c:v>270.65532928187474</c:v>
                </c:pt>
                <c:pt idx="4731">
                  <c:v>272.52530319120297</c:v>
                </c:pt>
                <c:pt idx="4732">
                  <c:v>273.72671191355016</c:v>
                </c:pt>
                <c:pt idx="4733">
                  <c:v>275.56942097728233</c:v>
                </c:pt>
                <c:pt idx="4734">
                  <c:v>275.48317050421065</c:v>
                </c:pt>
                <c:pt idx="4735">
                  <c:v>275.48317050421065</c:v>
                </c:pt>
                <c:pt idx="4736">
                  <c:v>275.48317050421065</c:v>
                </c:pt>
                <c:pt idx="4737">
                  <c:v>275.5816006410318</c:v>
                </c:pt>
                <c:pt idx="4738">
                  <c:v>274.99561219287671</c:v>
                </c:pt>
                <c:pt idx="4739">
                  <c:v>275.30905769156635</c:v>
                </c:pt>
                <c:pt idx="4740">
                  <c:v>274.29568084038124</c:v>
                </c:pt>
                <c:pt idx="4741">
                  <c:v>274.76410106046598</c:v>
                </c:pt>
                <c:pt idx="4742">
                  <c:v>274.76410106046598</c:v>
                </c:pt>
                <c:pt idx="4743">
                  <c:v>274.76410106046598</c:v>
                </c:pt>
                <c:pt idx="4744">
                  <c:v>274.37709857176333</c:v>
                </c:pt>
                <c:pt idx="4745">
                  <c:v>274.5748887908108</c:v>
                </c:pt>
                <c:pt idx="4746">
                  <c:v>274.64874394439772</c:v>
                </c:pt>
                <c:pt idx="4747">
                  <c:v>275.91195513783327</c:v>
                </c:pt>
                <c:pt idx="4748">
                  <c:v>276.80347632903556</c:v>
                </c:pt>
                <c:pt idx="4749">
                  <c:v>276.80752873192904</c:v>
                </c:pt>
              </c:numCache>
            </c:numRef>
          </c:val>
          <c:smooth val="0"/>
          <c:extLst>
            <c:ext xmlns:c16="http://schemas.microsoft.com/office/drawing/2014/chart" uri="{C3380CC4-5D6E-409C-BE32-E72D297353CC}">
              <c16:uniqueId val="{00000000-B508-4CA1-A7A2-49E4517BE268}"/>
            </c:ext>
          </c:extLst>
        </c:ser>
        <c:ser>
          <c:idx val="1"/>
          <c:order val="1"/>
          <c:tx>
            <c:strRef>
              <c:f>Data!$D$8</c:f>
              <c:strCache>
                <c:ptCount val="1"/>
                <c:pt idx="0">
                  <c:v>Smoothed Balanced Portfolio</c:v>
                </c:pt>
              </c:strCache>
            </c:strRef>
          </c:tx>
          <c:spPr>
            <a:ln w="28575" cap="rnd">
              <a:solidFill>
                <a:srgbClr val="FF6120"/>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D$9:$D$4758</c:f>
              <c:numCache>
                <c:formatCode>General</c:formatCode>
                <c:ptCount val="4750"/>
                <c:pt idx="0">
                  <c:v>100</c:v>
                </c:pt>
                <c:pt idx="1">
                  <c:v>100.02144611225137</c:v>
                </c:pt>
                <c:pt idx="2">
                  <c:v>100.04289682386005</c:v>
                </c:pt>
                <c:pt idx="3">
                  <c:v>100.06435213581241</c:v>
                </c:pt>
                <c:pt idx="4">
                  <c:v>100.08581204909507</c:v>
                </c:pt>
                <c:pt idx="5">
                  <c:v>100.10727656469481</c:v>
                </c:pt>
                <c:pt idx="6">
                  <c:v>100.12874568359867</c:v>
                </c:pt>
                <c:pt idx="7">
                  <c:v>100.15021940679385</c:v>
                </c:pt>
                <c:pt idx="8">
                  <c:v>100.17169773526783</c:v>
                </c:pt>
                <c:pt idx="9">
                  <c:v>100.19318067000823</c:v>
                </c:pt>
                <c:pt idx="10">
                  <c:v>100.21466821200293</c:v>
                </c:pt>
                <c:pt idx="11">
                  <c:v>100.23616036224001</c:v>
                </c:pt>
                <c:pt idx="12">
                  <c:v>100.25765712170777</c:v>
                </c:pt>
                <c:pt idx="13">
                  <c:v>100.27915849139468</c:v>
                </c:pt>
                <c:pt idx="14">
                  <c:v>100.30066447228947</c:v>
                </c:pt>
                <c:pt idx="15">
                  <c:v>100.32217506538106</c:v>
                </c:pt>
                <c:pt idx="16">
                  <c:v>100.34369027165859</c:v>
                </c:pt>
                <c:pt idx="17">
                  <c:v>100.36521009211141</c:v>
                </c:pt>
                <c:pt idx="18">
                  <c:v>100.38673452772909</c:v>
                </c:pt>
                <c:pt idx="19">
                  <c:v>100.40826357950139</c:v>
                </c:pt>
                <c:pt idx="20">
                  <c:v>100.4297972484183</c:v>
                </c:pt>
                <c:pt idx="21">
                  <c:v>100.45133553547001</c:v>
                </c:pt>
                <c:pt idx="22">
                  <c:v>100.47287844164694</c:v>
                </c:pt>
                <c:pt idx="23">
                  <c:v>100.49442596793972</c:v>
                </c:pt>
                <c:pt idx="24">
                  <c:v>100.51597811533917</c:v>
                </c:pt>
                <c:pt idx="25">
                  <c:v>100.53753488483635</c:v>
                </c:pt>
                <c:pt idx="26">
                  <c:v>100.55909627742251</c:v>
                </c:pt>
                <c:pt idx="27">
                  <c:v>100.58066229408912</c:v>
                </c:pt>
                <c:pt idx="28">
                  <c:v>100.60223293582789</c:v>
                </c:pt>
                <c:pt idx="29">
                  <c:v>100.62380820363069</c:v>
                </c:pt>
                <c:pt idx="30">
                  <c:v>100.64538809848963</c:v>
                </c:pt>
                <c:pt idx="31">
                  <c:v>100.66697262139706</c:v>
                </c:pt>
                <c:pt idx="32">
                  <c:v>100.6885617733455</c:v>
                </c:pt>
                <c:pt idx="33">
                  <c:v>100.7101555553277</c:v>
                </c:pt>
                <c:pt idx="34">
                  <c:v>100.73175396833662</c:v>
                </c:pt>
                <c:pt idx="35">
                  <c:v>100.75335701336545</c:v>
                </c:pt>
                <c:pt idx="36">
                  <c:v>100.77496469140755</c:v>
                </c:pt>
                <c:pt idx="37">
                  <c:v>100.79657700345655</c:v>
                </c:pt>
                <c:pt idx="38">
                  <c:v>100.81819395050624</c:v>
                </c:pt>
                <c:pt idx="39">
                  <c:v>100.83981553355066</c:v>
                </c:pt>
                <c:pt idx="40">
                  <c:v>100.86144175358406</c:v>
                </c:pt>
                <c:pt idx="41">
                  <c:v>100.88307261160088</c:v>
                </c:pt>
                <c:pt idx="42">
                  <c:v>100.9047081085958</c:v>
                </c:pt>
                <c:pt idx="43">
                  <c:v>100.92634824556369</c:v>
                </c:pt>
                <c:pt idx="44">
                  <c:v>100.94799302349963</c:v>
                </c:pt>
                <c:pt idx="45">
                  <c:v>100.96964244339895</c:v>
                </c:pt>
                <c:pt idx="46">
                  <c:v>100.99129650625717</c:v>
                </c:pt>
                <c:pt idx="47">
                  <c:v>101.01295521307001</c:v>
                </c:pt>
                <c:pt idx="48">
                  <c:v>101.03461856483344</c:v>
                </c:pt>
                <c:pt idx="49">
                  <c:v>101.05628656254359</c:v>
                </c:pt>
                <c:pt idx="50">
                  <c:v>101.07795920719686</c:v>
                </c:pt>
                <c:pt idx="51">
                  <c:v>101.09963649978982</c:v>
                </c:pt>
                <c:pt idx="52">
                  <c:v>101.12131844131929</c:v>
                </c:pt>
                <c:pt idx="53">
                  <c:v>101.14300503278227</c:v>
                </c:pt>
                <c:pt idx="54">
                  <c:v>101.164696275176</c:v>
                </c:pt>
                <c:pt idx="55">
                  <c:v>101.18639216949792</c:v>
                </c:pt>
                <c:pt idx="56">
                  <c:v>101.2080927167457</c:v>
                </c:pt>
                <c:pt idx="57">
                  <c:v>101.2297979179172</c:v>
                </c:pt>
                <c:pt idx="58">
                  <c:v>101.25150777401051</c:v>
                </c:pt>
                <c:pt idx="59">
                  <c:v>101.27322228602392</c:v>
                </c:pt>
                <c:pt idx="60">
                  <c:v>101.29494145495596</c:v>
                </c:pt>
                <c:pt idx="61">
                  <c:v>101.31666528180534</c:v>
                </c:pt>
                <c:pt idx="62">
                  <c:v>101.33839376757102</c:v>
                </c:pt>
                <c:pt idx="63">
                  <c:v>101.36012691325215</c:v>
                </c:pt>
                <c:pt idx="64">
                  <c:v>101.38186471984808</c:v>
                </c:pt>
                <c:pt idx="65">
                  <c:v>101.40360718835844</c:v>
                </c:pt>
                <c:pt idx="66">
                  <c:v>101.42535431978298</c:v>
                </c:pt>
                <c:pt idx="67">
                  <c:v>101.44710611512176</c:v>
                </c:pt>
                <c:pt idx="68">
                  <c:v>101.46886257537497</c:v>
                </c:pt>
                <c:pt idx="69">
                  <c:v>101.49062370154307</c:v>
                </c:pt>
                <c:pt idx="70">
                  <c:v>101.51238949462672</c:v>
                </c:pt>
                <c:pt idx="71">
                  <c:v>101.53415995562678</c:v>
                </c:pt>
                <c:pt idx="72">
                  <c:v>101.55593508554435</c:v>
                </c:pt>
                <c:pt idx="73">
                  <c:v>101.57771488538071</c:v>
                </c:pt>
                <c:pt idx="74">
                  <c:v>101.5994993561374</c:v>
                </c:pt>
                <c:pt idx="75">
                  <c:v>101.62128849881614</c:v>
                </c:pt>
                <c:pt idx="76">
                  <c:v>101.64308231441888</c:v>
                </c:pt>
                <c:pt idx="77">
                  <c:v>101.66488080394778</c:v>
                </c:pt>
                <c:pt idx="78">
                  <c:v>101.68668396840522</c:v>
                </c:pt>
                <c:pt idx="79">
                  <c:v>101.70849180879378</c:v>
                </c:pt>
                <c:pt idx="80">
                  <c:v>101.73030432611627</c:v>
                </c:pt>
                <c:pt idx="81">
                  <c:v>101.7521215213757</c:v>
                </c:pt>
                <c:pt idx="82">
                  <c:v>101.77394339557532</c:v>
                </c:pt>
                <c:pt idx="83">
                  <c:v>101.79576994971858</c:v>
                </c:pt>
                <c:pt idx="84">
                  <c:v>101.81760118480913</c:v>
                </c:pt>
                <c:pt idx="85">
                  <c:v>101.83943710185088</c:v>
                </c:pt>
                <c:pt idx="86">
                  <c:v>101.8612777018479</c:v>
                </c:pt>
                <c:pt idx="87">
                  <c:v>101.8831229858045</c:v>
                </c:pt>
                <c:pt idx="88">
                  <c:v>101.90497295472524</c:v>
                </c:pt>
                <c:pt idx="89">
                  <c:v>101.92682760961483</c:v>
                </c:pt>
                <c:pt idx="90">
                  <c:v>101.94868695147825</c:v>
                </c:pt>
                <c:pt idx="91">
                  <c:v>101.97055098132066</c:v>
                </c:pt>
                <c:pt idx="92">
                  <c:v>101.99241970014745</c:v>
                </c:pt>
                <c:pt idx="93">
                  <c:v>102.01429310896422</c:v>
                </c:pt>
                <c:pt idx="94">
                  <c:v>102.03617120877681</c:v>
                </c:pt>
                <c:pt idx="95">
                  <c:v>102.05805400059124</c:v>
                </c:pt>
                <c:pt idx="96">
                  <c:v>102.07994148541377</c:v>
                </c:pt>
                <c:pt idx="97">
                  <c:v>102.10183366425086</c:v>
                </c:pt>
                <c:pt idx="98">
                  <c:v>102.1237305381092</c:v>
                </c:pt>
                <c:pt idx="99">
                  <c:v>102.14563210799568</c:v>
                </c:pt>
                <c:pt idx="100">
                  <c:v>102.16753837491743</c:v>
                </c:pt>
                <c:pt idx="101">
                  <c:v>102.18944933988178</c:v>
                </c:pt>
                <c:pt idx="102">
                  <c:v>102.21136500389626</c:v>
                </c:pt>
                <c:pt idx="103">
                  <c:v>102.23328536796865</c:v>
                </c:pt>
                <c:pt idx="104">
                  <c:v>102.25521043310692</c:v>
                </c:pt>
                <c:pt idx="105">
                  <c:v>102.27714020031928</c:v>
                </c:pt>
                <c:pt idx="106">
                  <c:v>102.29907467061413</c:v>
                </c:pt>
                <c:pt idx="107">
                  <c:v>102.3210138450001</c:v>
                </c:pt>
                <c:pt idx="108">
                  <c:v>102.34295772448603</c:v>
                </c:pt>
                <c:pt idx="109">
                  <c:v>102.36490631008098</c:v>
                </c:pt>
                <c:pt idx="110">
                  <c:v>102.38685960279425</c:v>
                </c:pt>
                <c:pt idx="111">
                  <c:v>102.40881760363531</c:v>
                </c:pt>
                <c:pt idx="112">
                  <c:v>102.43078031361388</c:v>
                </c:pt>
                <c:pt idx="113">
                  <c:v>102.45274773373988</c:v>
                </c:pt>
                <c:pt idx="114">
                  <c:v>102.47471986502347</c:v>
                </c:pt>
                <c:pt idx="115">
                  <c:v>102.496696708475</c:v>
                </c:pt>
                <c:pt idx="116">
                  <c:v>102.51867826510504</c:v>
                </c:pt>
                <c:pt idx="117">
                  <c:v>102.54066453592439</c:v>
                </c:pt>
                <c:pt idx="118">
                  <c:v>102.56265552194407</c:v>
                </c:pt>
                <c:pt idx="119">
                  <c:v>102.58465122417529</c:v>
                </c:pt>
                <c:pt idx="120">
                  <c:v>102.6066516436295</c:v>
                </c:pt>
                <c:pt idx="121">
                  <c:v>102.62865678131837</c:v>
                </c:pt>
                <c:pt idx="122">
                  <c:v>102.65066663825377</c:v>
                </c:pt>
                <c:pt idx="123">
                  <c:v>102.67268121544778</c:v>
                </c:pt>
                <c:pt idx="124">
                  <c:v>102.69470051391274</c:v>
                </c:pt>
                <c:pt idx="125">
                  <c:v>102.71672453466115</c:v>
                </c:pt>
                <c:pt idx="126">
                  <c:v>102.73875327870579</c:v>
                </c:pt>
                <c:pt idx="127">
                  <c:v>102.7607867470596</c:v>
                </c:pt>
                <c:pt idx="128">
                  <c:v>102.78282494073576</c:v>
                </c:pt>
                <c:pt idx="129">
                  <c:v>102.80486786074768</c:v>
                </c:pt>
                <c:pt idx="130">
                  <c:v>102.82691550810897</c:v>
                </c:pt>
                <c:pt idx="131">
                  <c:v>102.84896788383345</c:v>
                </c:pt>
                <c:pt idx="132">
                  <c:v>102.87102498893519</c:v>
                </c:pt>
                <c:pt idx="133">
                  <c:v>102.89308682442845</c:v>
                </c:pt>
                <c:pt idx="134">
                  <c:v>102.91515339132772</c:v>
                </c:pt>
                <c:pt idx="135">
                  <c:v>102.9372246906477</c:v>
                </c:pt>
                <c:pt idx="136">
                  <c:v>102.95930072340329</c:v>
                </c:pt>
                <c:pt idx="137">
                  <c:v>102.98138149060965</c:v>
                </c:pt>
                <c:pt idx="138">
                  <c:v>103.00346699328213</c:v>
                </c:pt>
                <c:pt idx="139">
                  <c:v>103.02555723243631</c:v>
                </c:pt>
                <c:pt idx="140">
                  <c:v>103.04765220908797</c:v>
                </c:pt>
                <c:pt idx="141">
                  <c:v>103.06975192425313</c:v>
                </c:pt>
                <c:pt idx="142">
                  <c:v>103.09185637894801</c:v>
                </c:pt>
                <c:pt idx="143">
                  <c:v>103.11396557418905</c:v>
                </c:pt>
                <c:pt idx="144">
                  <c:v>103.13607951099293</c:v>
                </c:pt>
                <c:pt idx="145">
                  <c:v>103.15819819037651</c:v>
                </c:pt>
                <c:pt idx="146">
                  <c:v>103.18032161335691</c:v>
                </c:pt>
                <c:pt idx="147">
                  <c:v>103.20244978095143</c:v>
                </c:pt>
                <c:pt idx="148">
                  <c:v>103.22458269417761</c:v>
                </c:pt>
                <c:pt idx="149">
                  <c:v>103.24672035405321</c:v>
                </c:pt>
                <c:pt idx="150">
                  <c:v>103.2688627615962</c:v>
                </c:pt>
                <c:pt idx="151">
                  <c:v>103.29100991782475</c:v>
                </c:pt>
                <c:pt idx="152">
                  <c:v>103.3131618237573</c:v>
                </c:pt>
                <c:pt idx="153">
                  <c:v>103.33531848041245</c:v>
                </c:pt>
                <c:pt idx="154">
                  <c:v>103.35747988880907</c:v>
                </c:pt>
                <c:pt idx="155">
                  <c:v>103.3796460499662</c:v>
                </c:pt>
                <c:pt idx="156">
                  <c:v>103.40181696490313</c:v>
                </c:pt>
                <c:pt idx="157">
                  <c:v>103.42399263463938</c:v>
                </c:pt>
                <c:pt idx="158">
                  <c:v>103.44617306019465</c:v>
                </c:pt>
                <c:pt idx="159">
                  <c:v>103.46835824258889</c:v>
                </c:pt>
                <c:pt idx="160">
                  <c:v>103.49054818284225</c:v>
                </c:pt>
                <c:pt idx="161">
                  <c:v>103.5127428819751</c:v>
                </c:pt>
                <c:pt idx="162">
                  <c:v>103.53494234100803</c:v>
                </c:pt>
                <c:pt idx="163">
                  <c:v>103.55714656096187</c:v>
                </c:pt>
                <c:pt idx="164">
                  <c:v>103.57935554285764</c:v>
                </c:pt>
                <c:pt idx="165">
                  <c:v>103.6015692877166</c:v>
                </c:pt>
                <c:pt idx="166">
                  <c:v>103.62378779656022</c:v>
                </c:pt>
                <c:pt idx="167">
                  <c:v>103.6460110704102</c:v>
                </c:pt>
                <c:pt idx="168">
                  <c:v>103.66823911028843</c:v>
                </c:pt>
                <c:pt idx="169">
                  <c:v>103.69047191721704</c:v>
                </c:pt>
                <c:pt idx="170">
                  <c:v>103.71270949221838</c:v>
                </c:pt>
                <c:pt idx="171">
                  <c:v>103.73495183631502</c:v>
                </c:pt>
                <c:pt idx="172">
                  <c:v>103.75719895052974</c:v>
                </c:pt>
                <c:pt idx="173">
                  <c:v>103.77945083588554</c:v>
                </c:pt>
                <c:pt idx="174">
                  <c:v>103.80170749340566</c:v>
                </c:pt>
                <c:pt idx="175">
                  <c:v>103.82396892411353</c:v>
                </c:pt>
                <c:pt idx="176">
                  <c:v>103.84623512903282</c:v>
                </c:pt>
                <c:pt idx="177">
                  <c:v>103.86850610918741</c:v>
                </c:pt>
                <c:pt idx="178">
                  <c:v>103.8907818656014</c:v>
                </c:pt>
                <c:pt idx="179">
                  <c:v>103.91306239929912</c:v>
                </c:pt>
                <c:pt idx="180">
                  <c:v>103.93534771130511</c:v>
                </c:pt>
                <c:pt idx="181">
                  <c:v>103.95763780264413</c:v>
                </c:pt>
                <c:pt idx="182">
                  <c:v>103.97993267434116</c:v>
                </c:pt>
                <c:pt idx="183">
                  <c:v>104.0022323274214</c:v>
                </c:pt>
                <c:pt idx="184">
                  <c:v>104.02453676291026</c:v>
                </c:pt>
                <c:pt idx="185">
                  <c:v>104.0468459818334</c:v>
                </c:pt>
                <c:pt idx="186">
                  <c:v>104.06915998521667</c:v>
                </c:pt>
                <c:pt idx="187">
                  <c:v>104.09147877408616</c:v>
                </c:pt>
                <c:pt idx="188">
                  <c:v>104.11380234946816</c:v>
                </c:pt>
                <c:pt idx="189">
                  <c:v>104.13613071238919</c:v>
                </c:pt>
                <c:pt idx="190">
                  <c:v>104.15846386387599</c:v>
                </c:pt>
                <c:pt idx="191">
                  <c:v>104.18080180495554</c:v>
                </c:pt>
                <c:pt idx="192">
                  <c:v>104.203144536655</c:v>
                </c:pt>
                <c:pt idx="193">
                  <c:v>104.22549206000178</c:v>
                </c:pt>
                <c:pt idx="194">
                  <c:v>104.24784437602351</c:v>
                </c:pt>
                <c:pt idx="195">
                  <c:v>104.27020148574802</c:v>
                </c:pt>
                <c:pt idx="196">
                  <c:v>104.29256339020338</c:v>
                </c:pt>
                <c:pt idx="197">
                  <c:v>104.31493009041787</c:v>
                </c:pt>
                <c:pt idx="198">
                  <c:v>104.33730158742</c:v>
                </c:pt>
                <c:pt idx="199">
                  <c:v>104.35967788223849</c:v>
                </c:pt>
                <c:pt idx="200">
                  <c:v>104.38205897590228</c:v>
                </c:pt>
                <c:pt idx="201">
                  <c:v>104.40444486944054</c:v>
                </c:pt>
                <c:pt idx="202">
                  <c:v>104.42683556388266</c:v>
                </c:pt>
                <c:pt idx="203">
                  <c:v>104.44923106025824</c:v>
                </c:pt>
                <c:pt idx="204">
                  <c:v>104.47163135959711</c:v>
                </c:pt>
                <c:pt idx="205">
                  <c:v>104.49403646292933</c:v>
                </c:pt>
                <c:pt idx="206">
                  <c:v>104.51644637128516</c:v>
                </c:pt>
                <c:pt idx="207">
                  <c:v>104.53886108569507</c:v>
                </c:pt>
                <c:pt idx="208">
                  <c:v>104.56128060718981</c:v>
                </c:pt>
                <c:pt idx="209">
                  <c:v>104.5837049368003</c:v>
                </c:pt>
                <c:pt idx="210">
                  <c:v>104.60613407555769</c:v>
                </c:pt>
                <c:pt idx="211">
                  <c:v>104.62856802449335</c:v>
                </c:pt>
                <c:pt idx="212">
                  <c:v>104.65100678463888</c:v>
                </c:pt>
                <c:pt idx="213">
                  <c:v>104.6734503570261</c:v>
                </c:pt>
                <c:pt idx="214">
                  <c:v>104.69589874268705</c:v>
                </c:pt>
                <c:pt idx="215">
                  <c:v>104.71835194265398</c:v>
                </c:pt>
                <c:pt idx="216">
                  <c:v>104.74080995795939</c:v>
                </c:pt>
                <c:pt idx="217">
                  <c:v>104.76327278963596</c:v>
                </c:pt>
                <c:pt idx="218">
                  <c:v>104.78574043871663</c:v>
                </c:pt>
                <c:pt idx="219">
                  <c:v>104.80821290623454</c:v>
                </c:pt>
                <c:pt idx="220">
                  <c:v>104.83069019322306</c:v>
                </c:pt>
                <c:pt idx="221">
                  <c:v>104.85317230071578</c:v>
                </c:pt>
                <c:pt idx="222">
                  <c:v>104.87565922974652</c:v>
                </c:pt>
                <c:pt idx="223">
                  <c:v>104.89815098134929</c:v>
                </c:pt>
                <c:pt idx="224">
                  <c:v>104.92064755655835</c:v>
                </c:pt>
                <c:pt idx="225">
                  <c:v>104.94314895640819</c:v>
                </c:pt>
                <c:pt idx="226">
                  <c:v>104.9656551819335</c:v>
                </c:pt>
                <c:pt idx="227">
                  <c:v>104.9881662341692</c:v>
                </c:pt>
                <c:pt idx="228">
                  <c:v>105.01068211415043</c:v>
                </c:pt>
                <c:pt idx="229">
                  <c:v>105.03320282291256</c:v>
                </c:pt>
                <c:pt idx="230">
                  <c:v>105.05572836149116</c:v>
                </c:pt>
                <c:pt idx="231">
                  <c:v>105.07825873092206</c:v>
                </c:pt>
                <c:pt idx="232">
                  <c:v>105.10079393224127</c:v>
                </c:pt>
                <c:pt idx="233">
                  <c:v>105.12333396648506</c:v>
                </c:pt>
                <c:pt idx="234">
                  <c:v>105.1458788346899</c:v>
                </c:pt>
                <c:pt idx="235">
                  <c:v>105.16842853789247</c:v>
                </c:pt>
                <c:pt idx="236">
                  <c:v>105.1909830771297</c:v>
                </c:pt>
                <c:pt idx="237">
                  <c:v>105.21354245343873</c:v>
                </c:pt>
                <c:pt idx="238">
                  <c:v>105.23610666785694</c:v>
                </c:pt>
                <c:pt idx="239">
                  <c:v>105.25867572142189</c:v>
                </c:pt>
                <c:pt idx="240">
                  <c:v>105.28124961517142</c:v>
                </c:pt>
                <c:pt idx="241">
                  <c:v>105.30382835014353</c:v>
                </c:pt>
                <c:pt idx="242">
                  <c:v>105.3264119273765</c:v>
                </c:pt>
                <c:pt idx="243">
                  <c:v>105.34900034790878</c:v>
                </c:pt>
                <c:pt idx="244">
                  <c:v>105.37159361277909</c:v>
                </c:pt>
                <c:pt idx="245">
                  <c:v>105.39419172302634</c:v>
                </c:pt>
                <c:pt idx="246">
                  <c:v>105.41679467968967</c:v>
                </c:pt>
                <c:pt idx="247">
                  <c:v>105.43940248380846</c:v>
                </c:pt>
                <c:pt idx="248">
                  <c:v>105.46201513642231</c:v>
                </c:pt>
                <c:pt idx="249">
                  <c:v>105.48463263857101</c:v>
                </c:pt>
                <c:pt idx="250">
                  <c:v>105.50725499129463</c:v>
                </c:pt>
                <c:pt idx="251">
                  <c:v>105.52988219563341</c:v>
                </c:pt>
                <c:pt idx="252">
                  <c:v>105.55251425262782</c:v>
                </c:pt>
                <c:pt idx="253">
                  <c:v>105.57515116331858</c:v>
                </c:pt>
                <c:pt idx="254">
                  <c:v>105.59779292874661</c:v>
                </c:pt>
                <c:pt idx="255">
                  <c:v>105.62043954995308</c:v>
                </c:pt>
                <c:pt idx="256">
                  <c:v>105.64309102797935</c:v>
                </c:pt>
                <c:pt idx="257">
                  <c:v>105.66574736386703</c:v>
                </c:pt>
                <c:pt idx="258">
                  <c:v>105.68840855865793</c:v>
                </c:pt>
                <c:pt idx="259">
                  <c:v>105.7110746133941</c:v>
                </c:pt>
                <c:pt idx="260">
                  <c:v>105.73374552911781</c:v>
                </c:pt>
                <c:pt idx="261">
                  <c:v>105.75642130687156</c:v>
                </c:pt>
                <c:pt idx="262">
                  <c:v>105.77910194769805</c:v>
                </c:pt>
                <c:pt idx="263">
                  <c:v>105.80178745264024</c:v>
                </c:pt>
                <c:pt idx="264">
                  <c:v>105.82447782274129</c:v>
                </c:pt>
                <c:pt idx="265">
                  <c:v>105.84717305904458</c:v>
                </c:pt>
                <c:pt idx="266">
                  <c:v>105.86987316259372</c:v>
                </c:pt>
                <c:pt idx="267">
                  <c:v>105.89257813443255</c:v>
                </c:pt>
                <c:pt idx="268">
                  <c:v>105.91528797560512</c:v>
                </c:pt>
                <c:pt idx="269">
                  <c:v>105.93800268715573</c:v>
                </c:pt>
                <c:pt idx="270">
                  <c:v>105.96072227012887</c:v>
                </c:pt>
                <c:pt idx="271">
                  <c:v>104.01104651803114</c:v>
                </c:pt>
                <c:pt idx="272">
                  <c:v>104.03335284382122</c:v>
                </c:pt>
                <c:pt idx="273">
                  <c:v>104.05566395345096</c:v>
                </c:pt>
                <c:pt idx="274">
                  <c:v>104.07797984794632</c:v>
                </c:pt>
                <c:pt idx="275">
                  <c:v>104.10030052833346</c:v>
                </c:pt>
                <c:pt idx="276">
                  <c:v>104.12262599563878</c:v>
                </c:pt>
                <c:pt idx="277">
                  <c:v>104.14495625088888</c:v>
                </c:pt>
                <c:pt idx="278">
                  <c:v>104.16729129511059</c:v>
                </c:pt>
                <c:pt idx="279">
                  <c:v>104.18963112933095</c:v>
                </c:pt>
                <c:pt idx="280">
                  <c:v>104.21197575457722</c:v>
                </c:pt>
                <c:pt idx="281">
                  <c:v>104.23432517187692</c:v>
                </c:pt>
                <c:pt idx="282">
                  <c:v>104.25667938225773</c:v>
                </c:pt>
                <c:pt idx="283">
                  <c:v>104.2790383867476</c:v>
                </c:pt>
                <c:pt idx="284">
                  <c:v>104.30140218637467</c:v>
                </c:pt>
                <c:pt idx="285">
                  <c:v>104.32377078216732</c:v>
                </c:pt>
                <c:pt idx="286">
                  <c:v>104.34614417515412</c:v>
                </c:pt>
                <c:pt idx="287">
                  <c:v>104.36852236636391</c:v>
                </c:pt>
                <c:pt idx="288">
                  <c:v>104.39090535682568</c:v>
                </c:pt>
                <c:pt idx="289">
                  <c:v>104.41329314756872</c:v>
                </c:pt>
                <c:pt idx="290">
                  <c:v>104.4356857396225</c:v>
                </c:pt>
                <c:pt idx="291">
                  <c:v>104.4580831340167</c:v>
                </c:pt>
                <c:pt idx="292">
                  <c:v>104.48048533178125</c:v>
                </c:pt>
                <c:pt idx="293">
                  <c:v>104.50289233394628</c:v>
                </c:pt>
                <c:pt idx="294">
                  <c:v>104.52530414154214</c:v>
                </c:pt>
                <c:pt idx="295">
                  <c:v>104.54772075559941</c:v>
                </c:pt>
                <c:pt idx="296">
                  <c:v>104.57014217714891</c:v>
                </c:pt>
                <c:pt idx="297">
                  <c:v>104.59256840722163</c:v>
                </c:pt>
                <c:pt idx="298">
                  <c:v>104.61499944684883</c:v>
                </c:pt>
                <c:pt idx="299">
                  <c:v>104.63743529706197</c:v>
                </c:pt>
                <c:pt idx="300">
                  <c:v>104.65987595889273</c:v>
                </c:pt>
                <c:pt idx="301">
                  <c:v>104.682321433373</c:v>
                </c:pt>
                <c:pt idx="302">
                  <c:v>104.70477172153494</c:v>
                </c:pt>
                <c:pt idx="303">
                  <c:v>104.72722682441088</c:v>
                </c:pt>
                <c:pt idx="304">
                  <c:v>104.74968674303338</c:v>
                </c:pt>
                <c:pt idx="305">
                  <c:v>104.77215147843525</c:v>
                </c:pt>
                <c:pt idx="306">
                  <c:v>104.79462103164948</c:v>
                </c:pt>
                <c:pt idx="307">
                  <c:v>104.81709540370933</c:v>
                </c:pt>
                <c:pt idx="308">
                  <c:v>104.83957459564823</c:v>
                </c:pt>
                <c:pt idx="309">
                  <c:v>104.86205860849986</c:v>
                </c:pt>
                <c:pt idx="310">
                  <c:v>104.88454744329813</c:v>
                </c:pt>
                <c:pt idx="311">
                  <c:v>104.90704110107716</c:v>
                </c:pt>
                <c:pt idx="312">
                  <c:v>104.92953958287129</c:v>
                </c:pt>
                <c:pt idx="313">
                  <c:v>104.95204288971507</c:v>
                </c:pt>
                <c:pt idx="314">
                  <c:v>104.97455102264331</c:v>
                </c:pt>
                <c:pt idx="315">
                  <c:v>104.99706398269099</c:v>
                </c:pt>
                <c:pt idx="316">
                  <c:v>105.01958177089335</c:v>
                </c:pt>
                <c:pt idx="317">
                  <c:v>105.04210438828585</c:v>
                </c:pt>
                <c:pt idx="318">
                  <c:v>105.06463183590417</c:v>
                </c:pt>
                <c:pt idx="319">
                  <c:v>105.08716411478417</c:v>
                </c:pt>
                <c:pt idx="320">
                  <c:v>105.10970122596201</c:v>
                </c:pt>
                <c:pt idx="321">
                  <c:v>105.13224317047401</c:v>
                </c:pt>
                <c:pt idx="322">
                  <c:v>105.15478994935673</c:v>
                </c:pt>
                <c:pt idx="323">
                  <c:v>105.17734156364695</c:v>
                </c:pt>
                <c:pt idx="324">
                  <c:v>105.19989801438169</c:v>
                </c:pt>
                <c:pt idx="325">
                  <c:v>105.22245930259818</c:v>
                </c:pt>
                <c:pt idx="326">
                  <c:v>105.24502542933386</c:v>
                </c:pt>
                <c:pt idx="327">
                  <c:v>105.26759639562641</c:v>
                </c:pt>
                <c:pt idx="328">
                  <c:v>105.29017220251373</c:v>
                </c:pt>
                <c:pt idx="329">
                  <c:v>105.31275285103393</c:v>
                </c:pt>
                <c:pt idx="330">
                  <c:v>105.33533834222537</c:v>
                </c:pt>
                <c:pt idx="331">
                  <c:v>105.35792867712659</c:v>
                </c:pt>
                <c:pt idx="332">
                  <c:v>105.38052385677641</c:v>
                </c:pt>
                <c:pt idx="333">
                  <c:v>105.40312388221381</c:v>
                </c:pt>
                <c:pt idx="334">
                  <c:v>105.42572875447803</c:v>
                </c:pt>
                <c:pt idx="335">
                  <c:v>105.44833847460853</c:v>
                </c:pt>
                <c:pt idx="336">
                  <c:v>105.470953043645</c:v>
                </c:pt>
                <c:pt idx="337">
                  <c:v>105.49357246262733</c:v>
                </c:pt>
                <c:pt idx="338">
                  <c:v>105.51619673259565</c:v>
                </c:pt>
                <c:pt idx="339">
                  <c:v>105.53882585459029</c:v>
                </c:pt>
                <c:pt idx="340">
                  <c:v>105.56145982965184</c:v>
                </c:pt>
                <c:pt idx="341">
                  <c:v>105.58409865882109</c:v>
                </c:pt>
                <c:pt idx="342">
                  <c:v>105.60674234313906</c:v>
                </c:pt>
                <c:pt idx="343">
                  <c:v>105.62939088364698</c:v>
                </c:pt>
                <c:pt idx="344">
                  <c:v>105.65204428138632</c:v>
                </c:pt>
                <c:pt idx="345">
                  <c:v>105.67470253739877</c:v>
                </c:pt>
                <c:pt idx="346">
                  <c:v>105.69736565272625</c:v>
                </c:pt>
                <c:pt idx="347">
                  <c:v>105.72003362841087</c:v>
                </c:pt>
                <c:pt idx="348">
                  <c:v>105.742706465495</c:v>
                </c:pt>
                <c:pt idx="349">
                  <c:v>105.76538416502123</c:v>
                </c:pt>
                <c:pt idx="350">
                  <c:v>105.78806672803235</c:v>
                </c:pt>
                <c:pt idx="351">
                  <c:v>105.81075415557139</c:v>
                </c:pt>
                <c:pt idx="352">
                  <c:v>105.83344644868161</c:v>
                </c:pt>
                <c:pt idx="353">
                  <c:v>105.85614360840648</c:v>
                </c:pt>
                <c:pt idx="354">
                  <c:v>105.87884563578972</c:v>
                </c:pt>
                <c:pt idx="355">
                  <c:v>105.90155253187523</c:v>
                </c:pt>
                <c:pt idx="356">
                  <c:v>105.92426429770715</c:v>
                </c:pt>
                <c:pt idx="357">
                  <c:v>105.94698093432987</c:v>
                </c:pt>
                <c:pt idx="358">
                  <c:v>105.96970244278798</c:v>
                </c:pt>
                <c:pt idx="359">
                  <c:v>105.99242882412629</c:v>
                </c:pt>
                <c:pt idx="360">
                  <c:v>106.01516007938986</c:v>
                </c:pt>
                <c:pt idx="361">
                  <c:v>106.03789620962395</c:v>
                </c:pt>
                <c:pt idx="362">
                  <c:v>106.06063721587405</c:v>
                </c:pt>
                <c:pt idx="363">
                  <c:v>106.08338309918588</c:v>
                </c:pt>
                <c:pt idx="364">
                  <c:v>106.10613386060538</c:v>
                </c:pt>
                <c:pt idx="365">
                  <c:v>106.12888950117872</c:v>
                </c:pt>
                <c:pt idx="366">
                  <c:v>106.15165002195226</c:v>
                </c:pt>
                <c:pt idx="367">
                  <c:v>106.17441542397265</c:v>
                </c:pt>
                <c:pt idx="368">
                  <c:v>106.19718570828671</c:v>
                </c:pt>
                <c:pt idx="369">
                  <c:v>106.2199608759415</c:v>
                </c:pt>
                <c:pt idx="370">
                  <c:v>106.24274092798431</c:v>
                </c:pt>
                <c:pt idx="371">
                  <c:v>106.26552586546266</c:v>
                </c:pt>
                <c:pt idx="372">
                  <c:v>106.28831568942428</c:v>
                </c:pt>
                <c:pt idx="373">
                  <c:v>106.31111040091712</c:v>
                </c:pt>
                <c:pt idx="374">
                  <c:v>106.33391000098938</c:v>
                </c:pt>
                <c:pt idx="375">
                  <c:v>106.35671449068946</c:v>
                </c:pt>
                <c:pt idx="376">
                  <c:v>106.379523871066</c:v>
                </c:pt>
                <c:pt idx="377">
                  <c:v>106.40233814316785</c:v>
                </c:pt>
                <c:pt idx="378">
                  <c:v>106.42515730804412</c:v>
                </c:pt>
                <c:pt idx="379">
                  <c:v>106.4479813667441</c:v>
                </c:pt>
                <c:pt idx="380">
                  <c:v>106.47081032031733</c:v>
                </c:pt>
                <c:pt idx="381">
                  <c:v>106.49364416981356</c:v>
                </c:pt>
                <c:pt idx="382">
                  <c:v>106.5164829162828</c:v>
                </c:pt>
                <c:pt idx="383">
                  <c:v>106.53932656077524</c:v>
                </c:pt>
                <c:pt idx="384">
                  <c:v>106.56217510434131</c:v>
                </c:pt>
                <c:pt idx="385">
                  <c:v>106.58502854803169</c:v>
                </c:pt>
                <c:pt idx="386">
                  <c:v>106.60788689289726</c:v>
                </c:pt>
                <c:pt idx="387">
                  <c:v>106.63075013998912</c:v>
                </c:pt>
                <c:pt idx="388">
                  <c:v>106.65361829035861</c:v>
                </c:pt>
                <c:pt idx="389">
                  <c:v>106.6764913450573</c:v>
                </c:pt>
                <c:pt idx="390">
                  <c:v>106.69936930513698</c:v>
                </c:pt>
                <c:pt idx="391">
                  <c:v>106.72225217164966</c:v>
                </c:pt>
                <c:pt idx="392">
                  <c:v>106.74513994564758</c:v>
                </c:pt>
                <c:pt idx="393">
                  <c:v>106.76803262818321</c:v>
                </c:pt>
                <c:pt idx="394">
                  <c:v>106.79093022030922</c:v>
                </c:pt>
                <c:pt idx="395">
                  <c:v>106.81383272307855</c:v>
                </c:pt>
                <c:pt idx="396">
                  <c:v>106.83674013754433</c:v>
                </c:pt>
                <c:pt idx="397">
                  <c:v>106.85965246475992</c:v>
                </c:pt>
                <c:pt idx="398">
                  <c:v>106.88256970577893</c:v>
                </c:pt>
                <c:pt idx="399">
                  <c:v>106.90549186165518</c:v>
                </c:pt>
                <c:pt idx="400">
                  <c:v>106.9284189334427</c:v>
                </c:pt>
                <c:pt idx="401">
                  <c:v>106.95135092219577</c:v>
                </c:pt>
                <c:pt idx="402">
                  <c:v>106.9742878289689</c:v>
                </c:pt>
                <c:pt idx="403">
                  <c:v>106.99722965481679</c:v>
                </c:pt>
                <c:pt idx="404">
                  <c:v>107.02017640079441</c:v>
                </c:pt>
                <c:pt idx="405">
                  <c:v>107.04312806795694</c:v>
                </c:pt>
                <c:pt idx="406">
                  <c:v>107.06608465735977</c:v>
                </c:pt>
                <c:pt idx="407">
                  <c:v>107.08904617005852</c:v>
                </c:pt>
                <c:pt idx="408">
                  <c:v>107.11201260710907</c:v>
                </c:pt>
                <c:pt idx="409">
                  <c:v>107.13498396956749</c:v>
                </c:pt>
                <c:pt idx="410">
                  <c:v>107.15796025849008</c:v>
                </c:pt>
                <c:pt idx="411">
                  <c:v>107.18094147493339</c:v>
                </c:pt>
                <c:pt idx="412">
                  <c:v>107.20392761995417</c:v>
                </c:pt>
                <c:pt idx="413">
                  <c:v>107.22691869460942</c:v>
                </c:pt>
                <c:pt idx="414">
                  <c:v>107.24991469995635</c:v>
                </c:pt>
                <c:pt idx="415">
                  <c:v>107.27291563705239</c:v>
                </c:pt>
                <c:pt idx="416">
                  <c:v>107.29592150695522</c:v>
                </c:pt>
                <c:pt idx="417">
                  <c:v>107.31893231072274</c:v>
                </c:pt>
                <c:pt idx="418">
                  <c:v>107.34194804941306</c:v>
                </c:pt>
                <c:pt idx="419">
                  <c:v>107.36496872408455</c:v>
                </c:pt>
                <c:pt idx="420">
                  <c:v>107.38799433579575</c:v>
                </c:pt>
                <c:pt idx="421">
                  <c:v>107.4110248856055</c:v>
                </c:pt>
                <c:pt idx="422">
                  <c:v>107.43406037457281</c:v>
                </c:pt>
                <c:pt idx="423">
                  <c:v>107.45710080375694</c:v>
                </c:pt>
                <c:pt idx="424">
                  <c:v>107.48014617421738</c:v>
                </c:pt>
                <c:pt idx="425">
                  <c:v>107.50319648701384</c:v>
                </c:pt>
                <c:pt idx="426">
                  <c:v>107.52625174320625</c:v>
                </c:pt>
                <c:pt idx="427">
                  <c:v>107.54931194385478</c:v>
                </c:pt>
                <c:pt idx="428">
                  <c:v>107.57237709001983</c:v>
                </c:pt>
                <c:pt idx="429">
                  <c:v>107.59544718276202</c:v>
                </c:pt>
                <c:pt idx="430">
                  <c:v>107.61852222314219</c:v>
                </c:pt>
                <c:pt idx="431">
                  <c:v>107.64160221222143</c:v>
                </c:pt>
                <c:pt idx="432">
                  <c:v>107.66468715106103</c:v>
                </c:pt>
                <c:pt idx="433">
                  <c:v>107.68777704072254</c:v>
                </c:pt>
                <c:pt idx="434">
                  <c:v>107.7108718822677</c:v>
                </c:pt>
                <c:pt idx="435">
                  <c:v>107.73397167675849</c:v>
                </c:pt>
                <c:pt idx="436">
                  <c:v>107.75707642525714</c:v>
                </c:pt>
                <c:pt idx="437">
                  <c:v>107.78018612882609</c:v>
                </c:pt>
                <c:pt idx="438">
                  <c:v>107.80330078852801</c:v>
                </c:pt>
                <c:pt idx="439">
                  <c:v>107.82642040542579</c:v>
                </c:pt>
                <c:pt idx="440">
                  <c:v>107.84954498058256</c:v>
                </c:pt>
                <c:pt idx="441">
                  <c:v>107.87267451506169</c:v>
                </c:pt>
                <c:pt idx="442">
                  <c:v>107.89580900992674</c:v>
                </c:pt>
                <c:pt idx="443">
                  <c:v>107.91894846624153</c:v>
                </c:pt>
                <c:pt idx="444">
                  <c:v>107.9420928850701</c:v>
                </c:pt>
                <c:pt idx="445">
                  <c:v>107.9652422674767</c:v>
                </c:pt>
                <c:pt idx="446">
                  <c:v>107.98839661452584</c:v>
                </c:pt>
                <c:pt idx="447">
                  <c:v>108.01155592728225</c:v>
                </c:pt>
                <c:pt idx="448">
                  <c:v>108.03472020681086</c:v>
                </c:pt>
                <c:pt idx="449">
                  <c:v>108.05788945417686</c:v>
                </c:pt>
                <c:pt idx="450">
                  <c:v>108.08106367044566</c:v>
                </c:pt>
                <c:pt idx="451">
                  <c:v>108.10424285668289</c:v>
                </c:pt>
                <c:pt idx="452">
                  <c:v>108.12742701395442</c:v>
                </c:pt>
                <c:pt idx="453">
                  <c:v>108.15061614332635</c:v>
                </c:pt>
                <c:pt idx="454">
                  <c:v>108.17381024586498</c:v>
                </c:pt>
                <c:pt idx="455">
                  <c:v>108.19700932263689</c:v>
                </c:pt>
                <c:pt idx="456">
                  <c:v>108.22021337470885</c:v>
                </c:pt>
                <c:pt idx="457">
                  <c:v>108.24342240314786</c:v>
                </c:pt>
                <c:pt idx="458">
                  <c:v>108.26663640902116</c:v>
                </c:pt>
                <c:pt idx="459">
                  <c:v>108.28985539339622</c:v>
                </c:pt>
                <c:pt idx="460">
                  <c:v>108.31307935734074</c:v>
                </c:pt>
                <c:pt idx="461">
                  <c:v>108.33630830192263</c:v>
                </c:pt>
                <c:pt idx="462">
                  <c:v>108.35954222821005</c:v>
                </c:pt>
                <c:pt idx="463">
                  <c:v>108.38278113727138</c:v>
                </c:pt>
                <c:pt idx="464">
                  <c:v>108.40602503017523</c:v>
                </c:pt>
                <c:pt idx="465">
                  <c:v>108.42927390799045</c:v>
                </c:pt>
                <c:pt idx="466">
                  <c:v>108.45252777178609</c:v>
                </c:pt>
                <c:pt idx="467">
                  <c:v>108.47578662263147</c:v>
                </c:pt>
                <c:pt idx="468">
                  <c:v>108.49905046159611</c:v>
                </c:pt>
                <c:pt idx="469">
                  <c:v>108.52231928974977</c:v>
                </c:pt>
                <c:pt idx="470">
                  <c:v>108.54559310816244</c:v>
                </c:pt>
                <c:pt idx="471">
                  <c:v>108.56887191790432</c:v>
                </c:pt>
                <c:pt idx="472">
                  <c:v>108.59215572004588</c:v>
                </c:pt>
                <c:pt idx="473">
                  <c:v>108.61544451565779</c:v>
                </c:pt>
                <c:pt idx="474">
                  <c:v>108.63873830581093</c:v>
                </c:pt>
                <c:pt idx="475">
                  <c:v>108.66203709157647</c:v>
                </c:pt>
                <c:pt idx="476">
                  <c:v>108.68534087402574</c:v>
                </c:pt>
                <c:pt idx="477">
                  <c:v>108.70864965423037</c:v>
                </c:pt>
                <c:pt idx="478">
                  <c:v>108.73196343326217</c:v>
                </c:pt>
                <c:pt idx="479">
                  <c:v>108.75528221219318</c:v>
                </c:pt>
                <c:pt idx="480">
                  <c:v>108.77860599209569</c:v>
                </c:pt>
                <c:pt idx="481">
                  <c:v>108.80193477404222</c:v>
                </c:pt>
                <c:pt idx="482">
                  <c:v>108.82526855910552</c:v>
                </c:pt>
                <c:pt idx="483">
                  <c:v>108.84860734835856</c:v>
                </c:pt>
                <c:pt idx="484">
                  <c:v>108.87195114287454</c:v>
                </c:pt>
                <c:pt idx="485">
                  <c:v>108.8952999437269</c:v>
                </c:pt>
                <c:pt idx="486">
                  <c:v>108.9186537519893</c:v>
                </c:pt>
                <c:pt idx="487">
                  <c:v>108.94201256873562</c:v>
                </c:pt>
                <c:pt idx="488">
                  <c:v>108.96537639504001</c:v>
                </c:pt>
                <c:pt idx="489">
                  <c:v>108.98874523197682</c:v>
                </c:pt>
                <c:pt idx="490">
                  <c:v>109.01211908062062</c:v>
                </c:pt>
                <c:pt idx="491">
                  <c:v>109.03549794204625</c:v>
                </c:pt>
                <c:pt idx="492">
                  <c:v>109.05888181732874</c:v>
                </c:pt>
                <c:pt idx="493">
                  <c:v>109.08227070754337</c:v>
                </c:pt>
                <c:pt idx="494">
                  <c:v>109.10566461376565</c:v>
                </c:pt>
                <c:pt idx="495">
                  <c:v>109.12906353707132</c:v>
                </c:pt>
                <c:pt idx="496">
                  <c:v>109.15246747853634</c:v>
                </c:pt>
                <c:pt idx="497">
                  <c:v>109.17587643923692</c:v>
                </c:pt>
                <c:pt idx="498">
                  <c:v>109.19929042024948</c:v>
                </c:pt>
                <c:pt idx="499">
                  <c:v>109.22270942265071</c:v>
                </c:pt>
                <c:pt idx="500">
                  <c:v>109.24613344751748</c:v>
                </c:pt>
                <c:pt idx="501">
                  <c:v>109.26956249592691</c:v>
                </c:pt>
                <c:pt idx="502">
                  <c:v>109.29299656895635</c:v>
                </c:pt>
                <c:pt idx="503">
                  <c:v>109.31643566768342</c:v>
                </c:pt>
                <c:pt idx="504">
                  <c:v>109.3398797931859</c:v>
                </c:pt>
                <c:pt idx="505">
                  <c:v>109.36332894654186</c:v>
                </c:pt>
                <c:pt idx="506">
                  <c:v>109.38678312882956</c:v>
                </c:pt>
                <c:pt idx="507">
                  <c:v>109.41024234112753</c:v>
                </c:pt>
                <c:pt idx="508">
                  <c:v>109.4337065845145</c:v>
                </c:pt>
                <c:pt idx="509">
                  <c:v>109.45717586006944</c:v>
                </c:pt>
                <c:pt idx="510">
                  <c:v>109.48065016887156</c:v>
                </c:pt>
                <c:pt idx="511">
                  <c:v>109.5041295120003</c:v>
                </c:pt>
                <c:pt idx="512">
                  <c:v>109.52761389053533</c:v>
                </c:pt>
                <c:pt idx="513">
                  <c:v>109.55110330555654</c:v>
                </c:pt>
                <c:pt idx="514">
                  <c:v>109.57459775814405</c:v>
                </c:pt>
                <c:pt idx="515">
                  <c:v>109.59809724937824</c:v>
                </c:pt>
                <c:pt idx="516">
                  <c:v>109.6216017803397</c:v>
                </c:pt>
                <c:pt idx="517">
                  <c:v>109.64511135210925</c:v>
                </c:pt>
                <c:pt idx="518">
                  <c:v>109.66862596576796</c:v>
                </c:pt>
                <c:pt idx="519">
                  <c:v>109.69214562239711</c:v>
                </c:pt>
                <c:pt idx="520">
                  <c:v>109.71567032307821</c:v>
                </c:pt>
                <c:pt idx="521">
                  <c:v>109.73920006889304</c:v>
                </c:pt>
                <c:pt idx="522">
                  <c:v>109.76273486092357</c:v>
                </c:pt>
                <c:pt idx="523">
                  <c:v>109.78627470025202</c:v>
                </c:pt>
                <c:pt idx="524">
                  <c:v>109.80981958796083</c:v>
                </c:pt>
                <c:pt idx="525">
                  <c:v>109.83336952513268</c:v>
                </c:pt>
                <c:pt idx="526">
                  <c:v>109.8569245128505</c:v>
                </c:pt>
                <c:pt idx="527">
                  <c:v>109.88048455219742</c:v>
                </c:pt>
                <c:pt idx="528">
                  <c:v>109.90404964425683</c:v>
                </c:pt>
                <c:pt idx="529">
                  <c:v>109.92761979011233</c:v>
                </c:pt>
                <c:pt idx="530">
                  <c:v>109.95119499084777</c:v>
                </c:pt>
                <c:pt idx="531">
                  <c:v>109.97477524754723</c:v>
                </c:pt>
                <c:pt idx="532">
                  <c:v>109.998360561295</c:v>
                </c:pt>
                <c:pt idx="533">
                  <c:v>110.02195093317565</c:v>
                </c:pt>
                <c:pt idx="534">
                  <c:v>110.04554636427392</c:v>
                </c:pt>
                <c:pt idx="535">
                  <c:v>110.06914685567483</c:v>
                </c:pt>
                <c:pt idx="536">
                  <c:v>110.09275240846362</c:v>
                </c:pt>
                <c:pt idx="537">
                  <c:v>110.11636302372577</c:v>
                </c:pt>
                <c:pt idx="538">
                  <c:v>110.13997870254695</c:v>
                </c:pt>
                <c:pt idx="539">
                  <c:v>110.16359944601314</c:v>
                </c:pt>
                <c:pt idx="540">
                  <c:v>110.18722525521048</c:v>
                </c:pt>
                <c:pt idx="541">
                  <c:v>110.21085613122537</c:v>
                </c:pt>
                <c:pt idx="542">
                  <c:v>110.23449207514446</c:v>
                </c:pt>
                <c:pt idx="543">
                  <c:v>110.25813308805462</c:v>
                </c:pt>
                <c:pt idx="544">
                  <c:v>110.28177917104294</c:v>
                </c:pt>
                <c:pt idx="545">
                  <c:v>110.30543032519677</c:v>
                </c:pt>
                <c:pt idx="546">
                  <c:v>110.32908655160367</c:v>
                </c:pt>
                <c:pt idx="547">
                  <c:v>110.35274785135142</c:v>
                </c:pt>
                <c:pt idx="548">
                  <c:v>110.37641422552809</c:v>
                </c:pt>
                <c:pt idx="549">
                  <c:v>110.40008567522193</c:v>
                </c:pt>
                <c:pt idx="550">
                  <c:v>110.42376220152144</c:v>
                </c:pt>
                <c:pt idx="551">
                  <c:v>110.44744380551536</c:v>
                </c:pt>
                <c:pt idx="552">
                  <c:v>110.47113048829266</c:v>
                </c:pt>
                <c:pt idx="553">
                  <c:v>110.49482225094253</c:v>
                </c:pt>
                <c:pt idx="554">
                  <c:v>110.51851909455442</c:v>
                </c:pt>
                <c:pt idx="555">
                  <c:v>110.54222102021798</c:v>
                </c:pt>
                <c:pt idx="556">
                  <c:v>110.56592802902313</c:v>
                </c:pt>
                <c:pt idx="557">
                  <c:v>110.58964012205999</c:v>
                </c:pt>
                <c:pt idx="558">
                  <c:v>110.61335730041895</c:v>
                </c:pt>
                <c:pt idx="559">
                  <c:v>110.6370795651906</c:v>
                </c:pt>
                <c:pt idx="560">
                  <c:v>110.66080691746579</c:v>
                </c:pt>
                <c:pt idx="561">
                  <c:v>110.68453935833558</c:v>
                </c:pt>
                <c:pt idx="562">
                  <c:v>110.70827688889128</c:v>
                </c:pt>
                <c:pt idx="563">
                  <c:v>110.73201951022442</c:v>
                </c:pt>
                <c:pt idx="564">
                  <c:v>110.75576722342679</c:v>
                </c:pt>
                <c:pt idx="565">
                  <c:v>110.77952002959039</c:v>
                </c:pt>
                <c:pt idx="566">
                  <c:v>110.80327792980746</c:v>
                </c:pt>
                <c:pt idx="567">
                  <c:v>110.82704092517048</c:v>
                </c:pt>
                <c:pt idx="568">
                  <c:v>110.85080901677216</c:v>
                </c:pt>
                <c:pt idx="569">
                  <c:v>110.87458220570545</c:v>
                </c:pt>
                <c:pt idx="570">
                  <c:v>110.89836049306352</c:v>
                </c:pt>
                <c:pt idx="571">
                  <c:v>110.92214387993978</c:v>
                </c:pt>
                <c:pt idx="572">
                  <c:v>110.9459323674279</c:v>
                </c:pt>
                <c:pt idx="573">
                  <c:v>110.96972595662174</c:v>
                </c:pt>
                <c:pt idx="574">
                  <c:v>110.99352464861543</c:v>
                </c:pt>
                <c:pt idx="575">
                  <c:v>111.01732844450332</c:v>
                </c:pt>
                <c:pt idx="576">
                  <c:v>111.04113734537999</c:v>
                </c:pt>
                <c:pt idx="577">
                  <c:v>111.06495135234027</c:v>
                </c:pt>
                <c:pt idx="578">
                  <c:v>111.08877046647922</c:v>
                </c:pt>
                <c:pt idx="579">
                  <c:v>111.11259468889212</c:v>
                </c:pt>
                <c:pt idx="580">
                  <c:v>111.1364240206745</c:v>
                </c:pt>
                <c:pt idx="581">
                  <c:v>111.16025846292213</c:v>
                </c:pt>
                <c:pt idx="582">
                  <c:v>111.184098016731</c:v>
                </c:pt>
                <c:pt idx="583">
                  <c:v>111.20794268319733</c:v>
                </c:pt>
                <c:pt idx="584">
                  <c:v>111.23179246341761</c:v>
                </c:pt>
                <c:pt idx="585">
                  <c:v>111.25564735848852</c:v>
                </c:pt>
                <c:pt idx="586">
                  <c:v>111.279507369507</c:v>
                </c:pt>
                <c:pt idx="587">
                  <c:v>111.30337249757024</c:v>
                </c:pt>
                <c:pt idx="588">
                  <c:v>111.32724274377563</c:v>
                </c:pt>
                <c:pt idx="589">
                  <c:v>111.35111810922081</c:v>
                </c:pt>
                <c:pt idx="590">
                  <c:v>111.37499859500366</c:v>
                </c:pt>
                <c:pt idx="591">
                  <c:v>111.39888420222231</c:v>
                </c:pt>
                <c:pt idx="592">
                  <c:v>111.42277493197508</c:v>
                </c:pt>
                <c:pt idx="593">
                  <c:v>111.44667078536058</c:v>
                </c:pt>
                <c:pt idx="594">
                  <c:v>111.47057176347762</c:v>
                </c:pt>
                <c:pt idx="595">
                  <c:v>111.49447786742526</c:v>
                </c:pt>
                <c:pt idx="596">
                  <c:v>111.51838909830278</c:v>
                </c:pt>
                <c:pt idx="597">
                  <c:v>111.54230545720971</c:v>
                </c:pt>
                <c:pt idx="598">
                  <c:v>111.56622694524582</c:v>
                </c:pt>
                <c:pt idx="599">
                  <c:v>111.59015356351111</c:v>
                </c:pt>
                <c:pt idx="600">
                  <c:v>111.61408531310582</c:v>
                </c:pt>
                <c:pt idx="601">
                  <c:v>111.6380221951304</c:v>
                </c:pt>
                <c:pt idx="602">
                  <c:v>111.66196421068558</c:v>
                </c:pt>
                <c:pt idx="603">
                  <c:v>111.68591136087228</c:v>
                </c:pt>
                <c:pt idx="604">
                  <c:v>111.7098636467917</c:v>
                </c:pt>
                <c:pt idx="605">
                  <c:v>111.73382106954524</c:v>
                </c:pt>
                <c:pt idx="606">
                  <c:v>111.75778363023456</c:v>
                </c:pt>
                <c:pt idx="607">
                  <c:v>111.78175132996154</c:v>
                </c:pt>
                <c:pt idx="608">
                  <c:v>111.80572416982831</c:v>
                </c:pt>
                <c:pt idx="609">
                  <c:v>111.82970215093722</c:v>
                </c:pt>
                <c:pt idx="610">
                  <c:v>111.85368527439088</c:v>
                </c:pt>
                <c:pt idx="611">
                  <c:v>111.87767354129213</c:v>
                </c:pt>
                <c:pt idx="612">
                  <c:v>111.90166695274401</c:v>
                </c:pt>
                <c:pt idx="613">
                  <c:v>111.92566550984985</c:v>
                </c:pt>
                <c:pt idx="614">
                  <c:v>111.94966921371318</c:v>
                </c:pt>
                <c:pt idx="615">
                  <c:v>111.97367806543778</c:v>
                </c:pt>
                <c:pt idx="616">
                  <c:v>111.99769206612768</c:v>
                </c:pt>
                <c:pt idx="617">
                  <c:v>112.02171121688713</c:v>
                </c:pt>
                <c:pt idx="618">
                  <c:v>112.04573551882061</c:v>
                </c:pt>
                <c:pt idx="619">
                  <c:v>112.06976497303285</c:v>
                </c:pt>
                <c:pt idx="620">
                  <c:v>112.09379958062881</c:v>
                </c:pt>
                <c:pt idx="621">
                  <c:v>112.11783934271369</c:v>
                </c:pt>
                <c:pt idx="622">
                  <c:v>112.14188426039294</c:v>
                </c:pt>
                <c:pt idx="623">
                  <c:v>112.16593433477222</c:v>
                </c:pt>
                <c:pt idx="624">
                  <c:v>112.18998956695745</c:v>
                </c:pt>
                <c:pt idx="625">
                  <c:v>112.21404995805477</c:v>
                </c:pt>
                <c:pt idx="626">
                  <c:v>112.23811550917058</c:v>
                </c:pt>
                <c:pt idx="627">
                  <c:v>112.2621862214115</c:v>
                </c:pt>
                <c:pt idx="628">
                  <c:v>112.28626209588438</c:v>
                </c:pt>
                <c:pt idx="629">
                  <c:v>112.31034313369634</c:v>
                </c:pt>
                <c:pt idx="630">
                  <c:v>112.33442933595468</c:v>
                </c:pt>
                <c:pt idx="631">
                  <c:v>116.31112645792219</c:v>
                </c:pt>
                <c:pt idx="632">
                  <c:v>116.33607067266318</c:v>
                </c:pt>
                <c:pt idx="633">
                  <c:v>116.36102023696847</c:v>
                </c:pt>
                <c:pt idx="634">
                  <c:v>116.38597515198532</c:v>
                </c:pt>
                <c:pt idx="635">
                  <c:v>116.41093541886126</c:v>
                </c:pt>
                <c:pt idx="636">
                  <c:v>116.43590103874405</c:v>
                </c:pt>
                <c:pt idx="637">
                  <c:v>116.46087201278171</c:v>
                </c:pt>
                <c:pt idx="638">
                  <c:v>116.48584834212249</c:v>
                </c:pt>
                <c:pt idx="639">
                  <c:v>116.51083002791491</c:v>
                </c:pt>
                <c:pt idx="640">
                  <c:v>116.53581707130769</c:v>
                </c:pt>
                <c:pt idx="641">
                  <c:v>116.56080947344985</c:v>
                </c:pt>
                <c:pt idx="642">
                  <c:v>116.58580723549063</c:v>
                </c:pt>
                <c:pt idx="643">
                  <c:v>116.61081035857951</c:v>
                </c:pt>
                <c:pt idx="644">
                  <c:v>116.63581884386625</c:v>
                </c:pt>
                <c:pt idx="645">
                  <c:v>116.6608326925008</c:v>
                </c:pt>
                <c:pt idx="646">
                  <c:v>116.68585190563341</c:v>
                </c:pt>
                <c:pt idx="647">
                  <c:v>116.71087648441456</c:v>
                </c:pt>
                <c:pt idx="648">
                  <c:v>116.73590642999496</c:v>
                </c:pt>
                <c:pt idx="649">
                  <c:v>116.76094174352558</c:v>
                </c:pt>
                <c:pt idx="650">
                  <c:v>116.78598242615764</c:v>
                </c:pt>
                <c:pt idx="651">
                  <c:v>116.81102847904262</c:v>
                </c:pt>
                <c:pt idx="652">
                  <c:v>116.83607990333221</c:v>
                </c:pt>
                <c:pt idx="653">
                  <c:v>116.86113670017836</c:v>
                </c:pt>
                <c:pt idx="654">
                  <c:v>116.88619887073331</c:v>
                </c:pt>
                <c:pt idx="655">
                  <c:v>116.91126641614949</c:v>
                </c:pt>
                <c:pt idx="656">
                  <c:v>116.93633933757958</c:v>
                </c:pt>
                <c:pt idx="657">
                  <c:v>116.96141763617656</c:v>
                </c:pt>
                <c:pt idx="658">
                  <c:v>116.98650131309361</c:v>
                </c:pt>
                <c:pt idx="659">
                  <c:v>117.01159036948417</c:v>
                </c:pt>
                <c:pt idx="660">
                  <c:v>117.03668480650191</c:v>
                </c:pt>
                <c:pt idx="661">
                  <c:v>117.06178462530079</c:v>
                </c:pt>
                <c:pt idx="662">
                  <c:v>117.08688982703498</c:v>
                </c:pt>
                <c:pt idx="663">
                  <c:v>117.11200041285892</c:v>
                </c:pt>
                <c:pt idx="664">
                  <c:v>117.13711638392728</c:v>
                </c:pt>
                <c:pt idx="665">
                  <c:v>117.16223774139499</c:v>
                </c:pt>
                <c:pt idx="666">
                  <c:v>117.18736448641722</c:v>
                </c:pt>
                <c:pt idx="667">
                  <c:v>117.21249662014939</c:v>
                </c:pt>
                <c:pt idx="668">
                  <c:v>117.23763414374719</c:v>
                </c:pt>
                <c:pt idx="669">
                  <c:v>117.2627770583665</c:v>
                </c:pt>
                <c:pt idx="670">
                  <c:v>117.2879253651635</c:v>
                </c:pt>
                <c:pt idx="671">
                  <c:v>117.31307906529462</c:v>
                </c:pt>
                <c:pt idx="672">
                  <c:v>117.3382381599165</c:v>
                </c:pt>
                <c:pt idx="673">
                  <c:v>117.36340265018605</c:v>
                </c:pt>
                <c:pt idx="674">
                  <c:v>117.38857253726043</c:v>
                </c:pt>
                <c:pt idx="675">
                  <c:v>117.41374782229705</c:v>
                </c:pt>
                <c:pt idx="676">
                  <c:v>117.43892850645356</c:v>
                </c:pt>
                <c:pt idx="677">
                  <c:v>117.46411459088786</c:v>
                </c:pt>
                <c:pt idx="678">
                  <c:v>117.4893060767581</c:v>
                </c:pt>
                <c:pt idx="679">
                  <c:v>117.51450296522268</c:v>
                </c:pt>
                <c:pt idx="680">
                  <c:v>117.53970525744023</c:v>
                </c:pt>
                <c:pt idx="681">
                  <c:v>117.56491295456966</c:v>
                </c:pt>
                <c:pt idx="682">
                  <c:v>117.59012605777012</c:v>
                </c:pt>
                <c:pt idx="683">
                  <c:v>117.615344568201</c:v>
                </c:pt>
                <c:pt idx="684">
                  <c:v>117.64056848702192</c:v>
                </c:pt>
                <c:pt idx="685">
                  <c:v>117.66579781539279</c:v>
                </c:pt>
                <c:pt idx="686">
                  <c:v>117.69103255447375</c:v>
                </c:pt>
                <c:pt idx="687">
                  <c:v>117.71627270542517</c:v>
                </c:pt>
                <c:pt idx="688">
                  <c:v>117.74151826940771</c:v>
                </c:pt>
                <c:pt idx="689">
                  <c:v>117.76676924758223</c:v>
                </c:pt>
                <c:pt idx="690">
                  <c:v>117.79202564110987</c:v>
                </c:pt>
                <c:pt idx="691">
                  <c:v>117.81728745115203</c:v>
                </c:pt>
                <c:pt idx="692">
                  <c:v>117.84255467887031</c:v>
                </c:pt>
                <c:pt idx="693">
                  <c:v>117.86782732542662</c:v>
                </c:pt>
                <c:pt idx="694">
                  <c:v>117.89310539198307</c:v>
                </c:pt>
                <c:pt idx="695">
                  <c:v>117.91838887970205</c:v>
                </c:pt>
                <c:pt idx="696">
                  <c:v>117.94367778974619</c:v>
                </c:pt>
                <c:pt idx="697">
                  <c:v>117.96897212327836</c:v>
                </c:pt>
                <c:pt idx="698">
                  <c:v>117.9942718814617</c:v>
                </c:pt>
                <c:pt idx="699">
                  <c:v>118.01957706545959</c:v>
                </c:pt>
                <c:pt idx="700">
                  <c:v>118.04488767643564</c:v>
                </c:pt>
                <c:pt idx="701">
                  <c:v>118.07020371555372</c:v>
                </c:pt>
                <c:pt idx="702">
                  <c:v>118.09552518397797</c:v>
                </c:pt>
                <c:pt idx="703">
                  <c:v>118.12085208287277</c:v>
                </c:pt>
                <c:pt idx="704">
                  <c:v>118.14618441340274</c:v>
                </c:pt>
                <c:pt idx="705">
                  <c:v>118.17152217673274</c:v>
                </c:pt>
                <c:pt idx="706">
                  <c:v>118.19686537402791</c:v>
                </c:pt>
                <c:pt idx="707">
                  <c:v>118.22221400645361</c:v>
                </c:pt>
                <c:pt idx="708">
                  <c:v>118.24756807517549</c:v>
                </c:pt>
                <c:pt idx="709">
                  <c:v>118.27292758135941</c:v>
                </c:pt>
                <c:pt idx="710">
                  <c:v>118.29829252617149</c:v>
                </c:pt>
                <c:pt idx="711">
                  <c:v>118.32366291077811</c:v>
                </c:pt>
                <c:pt idx="712">
                  <c:v>118.34903873634589</c:v>
                </c:pt>
                <c:pt idx="713">
                  <c:v>118.3744200040417</c:v>
                </c:pt>
                <c:pt idx="714">
                  <c:v>118.39980671503267</c:v>
                </c:pt>
                <c:pt idx="715">
                  <c:v>118.42519887048617</c:v>
                </c:pt>
                <c:pt idx="716">
                  <c:v>118.45059647156984</c:v>
                </c:pt>
                <c:pt idx="717">
                  <c:v>118.47599951945155</c:v>
                </c:pt>
                <c:pt idx="718">
                  <c:v>118.50140801529942</c:v>
                </c:pt>
                <c:pt idx="719">
                  <c:v>118.52682196028184</c:v>
                </c:pt>
                <c:pt idx="720">
                  <c:v>118.55224135556742</c:v>
                </c:pt>
                <c:pt idx="721">
                  <c:v>118.57766620232505</c:v>
                </c:pt>
                <c:pt idx="722">
                  <c:v>118.60309650172385</c:v>
                </c:pt>
                <c:pt idx="723">
                  <c:v>118.62853225493321</c:v>
                </c:pt>
                <c:pt idx="724">
                  <c:v>118.65397346312275</c:v>
                </c:pt>
                <c:pt idx="725">
                  <c:v>118.67942012746236</c:v>
                </c:pt>
                <c:pt idx="726">
                  <c:v>118.70487224912218</c:v>
                </c:pt>
                <c:pt idx="727">
                  <c:v>118.73032982927256</c:v>
                </c:pt>
                <c:pt idx="728">
                  <c:v>118.75579286908416</c:v>
                </c:pt>
                <c:pt idx="729">
                  <c:v>118.78126136972786</c:v>
                </c:pt>
                <c:pt idx="730">
                  <c:v>118.8067353323748</c:v>
                </c:pt>
                <c:pt idx="731">
                  <c:v>118.83221475819636</c:v>
                </c:pt>
                <c:pt idx="732">
                  <c:v>118.85769964836419</c:v>
                </c:pt>
                <c:pt idx="733">
                  <c:v>118.88319000405016</c:v>
                </c:pt>
                <c:pt idx="734">
                  <c:v>118.90868582642644</c:v>
                </c:pt>
                <c:pt idx="735">
                  <c:v>118.9341871166654</c:v>
                </c:pt>
                <c:pt idx="736">
                  <c:v>118.95969387593969</c:v>
                </c:pt>
                <c:pt idx="737">
                  <c:v>118.98520610542221</c:v>
                </c:pt>
                <c:pt idx="738">
                  <c:v>119.01072380628609</c:v>
                </c:pt>
                <c:pt idx="739">
                  <c:v>119.03624697970476</c:v>
                </c:pt>
                <c:pt idx="740">
                  <c:v>119.06177562685184</c:v>
                </c:pt>
                <c:pt idx="741">
                  <c:v>119.08730974890125</c:v>
                </c:pt>
                <c:pt idx="742">
                  <c:v>119.11284934702714</c:v>
                </c:pt>
                <c:pt idx="743">
                  <c:v>119.13839442240391</c:v>
                </c:pt>
                <c:pt idx="744">
                  <c:v>119.16394497620621</c:v>
                </c:pt>
                <c:pt idx="745">
                  <c:v>119.18950100960896</c:v>
                </c:pt>
                <c:pt idx="746">
                  <c:v>119.21506252378732</c:v>
                </c:pt>
                <c:pt idx="747">
                  <c:v>119.24062951991671</c:v>
                </c:pt>
                <c:pt idx="748">
                  <c:v>119.26620199917279</c:v>
                </c:pt>
                <c:pt idx="749">
                  <c:v>119.29177996273148</c:v>
                </c:pt>
                <c:pt idx="750">
                  <c:v>119.31736341176894</c:v>
                </c:pt>
                <c:pt idx="751">
                  <c:v>119.34295234746159</c:v>
                </c:pt>
                <c:pt idx="752">
                  <c:v>119.36854677098613</c:v>
                </c:pt>
                <c:pt idx="753">
                  <c:v>119.39414668351947</c:v>
                </c:pt>
                <c:pt idx="754">
                  <c:v>119.41975208623877</c:v>
                </c:pt>
                <c:pt idx="755">
                  <c:v>119.44536298032149</c:v>
                </c:pt>
                <c:pt idx="756">
                  <c:v>119.4709793669453</c:v>
                </c:pt>
                <c:pt idx="757">
                  <c:v>119.49660124728814</c:v>
                </c:pt>
                <c:pt idx="758">
                  <c:v>119.5222286225282</c:v>
                </c:pt>
                <c:pt idx="759">
                  <c:v>119.54786149384393</c:v>
                </c:pt>
                <c:pt idx="760">
                  <c:v>119.573499862414</c:v>
                </c:pt>
                <c:pt idx="761">
                  <c:v>119.59914372941738</c:v>
                </c:pt>
                <c:pt idx="762">
                  <c:v>119.62479309603326</c:v>
                </c:pt>
                <c:pt idx="763">
                  <c:v>119.6504479634411</c:v>
                </c:pt>
                <c:pt idx="764">
                  <c:v>119.6761083328206</c:v>
                </c:pt>
                <c:pt idx="765">
                  <c:v>119.70177420535173</c:v>
                </c:pt>
                <c:pt idx="766">
                  <c:v>119.72744558221468</c:v>
                </c:pt>
                <c:pt idx="767">
                  <c:v>119.75312246458994</c:v>
                </c:pt>
                <c:pt idx="768">
                  <c:v>119.7788048536582</c:v>
                </c:pt>
                <c:pt idx="769">
                  <c:v>119.80449275060046</c:v>
                </c:pt>
                <c:pt idx="770">
                  <c:v>119.83018615659793</c:v>
                </c:pt>
                <c:pt idx="771">
                  <c:v>119.85588507283209</c:v>
                </c:pt>
                <c:pt idx="772">
                  <c:v>119.88158950048468</c:v>
                </c:pt>
                <c:pt idx="773">
                  <c:v>119.90729944073767</c:v>
                </c:pt>
                <c:pt idx="774">
                  <c:v>119.93301489477332</c:v>
                </c:pt>
                <c:pt idx="775">
                  <c:v>119.95873586377411</c:v>
                </c:pt>
                <c:pt idx="776">
                  <c:v>119.98446234892278</c:v>
                </c:pt>
                <c:pt idx="777">
                  <c:v>120.01019435140232</c:v>
                </c:pt>
                <c:pt idx="778">
                  <c:v>120.03593187239601</c:v>
                </c:pt>
                <c:pt idx="779">
                  <c:v>120.06167491308733</c:v>
                </c:pt>
                <c:pt idx="780">
                  <c:v>120.08742347466006</c:v>
                </c:pt>
                <c:pt idx="781">
                  <c:v>120.1131775582982</c:v>
                </c:pt>
                <c:pt idx="782">
                  <c:v>120.13893716518604</c:v>
                </c:pt>
                <c:pt idx="783">
                  <c:v>120.16470229650808</c:v>
                </c:pt>
                <c:pt idx="784">
                  <c:v>120.19047295344912</c:v>
                </c:pt>
                <c:pt idx="785">
                  <c:v>120.21624913719417</c:v>
                </c:pt>
                <c:pt idx="786">
                  <c:v>120.24203084892851</c:v>
                </c:pt>
                <c:pt idx="787">
                  <c:v>120.26781808983769</c:v>
                </c:pt>
                <c:pt idx="788">
                  <c:v>120.29361086110751</c:v>
                </c:pt>
                <c:pt idx="789">
                  <c:v>120.31940916392401</c:v>
                </c:pt>
                <c:pt idx="790">
                  <c:v>120.34521299947349</c:v>
                </c:pt>
                <c:pt idx="791">
                  <c:v>120.3710223689425</c:v>
                </c:pt>
                <c:pt idx="792">
                  <c:v>120.39683727351786</c:v>
                </c:pt>
                <c:pt idx="793">
                  <c:v>120.42265771438663</c:v>
                </c:pt>
                <c:pt idx="794">
                  <c:v>120.44848369273613</c:v>
                </c:pt>
                <c:pt idx="795">
                  <c:v>120.47431520975394</c:v>
                </c:pt>
                <c:pt idx="796">
                  <c:v>120.50015226662789</c:v>
                </c:pt>
                <c:pt idx="797">
                  <c:v>120.52599486454606</c:v>
                </c:pt>
                <c:pt idx="798">
                  <c:v>120.55184300469679</c:v>
                </c:pt>
                <c:pt idx="799">
                  <c:v>120.57769668826867</c:v>
                </c:pt>
                <c:pt idx="800">
                  <c:v>120.60355591645055</c:v>
                </c:pt>
                <c:pt idx="801">
                  <c:v>120.62942069043153</c:v>
                </c:pt>
                <c:pt idx="802">
                  <c:v>120.65529101140098</c:v>
                </c:pt>
                <c:pt idx="803">
                  <c:v>120.68116688054849</c:v>
                </c:pt>
                <c:pt idx="804">
                  <c:v>120.70704829906396</c:v>
                </c:pt>
                <c:pt idx="805">
                  <c:v>120.73293526813748</c:v>
                </c:pt>
                <c:pt idx="806">
                  <c:v>120.75882778895945</c:v>
                </c:pt>
                <c:pt idx="807">
                  <c:v>120.78472586272051</c:v>
                </c:pt>
                <c:pt idx="808">
                  <c:v>120.81062949061153</c:v>
                </c:pt>
                <c:pt idx="809">
                  <c:v>120.83653867382367</c:v>
                </c:pt>
                <c:pt idx="810">
                  <c:v>120.86245341354832</c:v>
                </c:pt>
                <c:pt idx="811">
                  <c:v>120.88837371097715</c:v>
                </c:pt>
                <c:pt idx="812">
                  <c:v>120.91429956730205</c:v>
                </c:pt>
                <c:pt idx="813">
                  <c:v>120.94023098371521</c:v>
                </c:pt>
                <c:pt idx="814">
                  <c:v>120.96616796140904</c:v>
                </c:pt>
                <c:pt idx="815">
                  <c:v>120.99211050157622</c:v>
                </c:pt>
                <c:pt idx="816">
                  <c:v>121.01805860540969</c:v>
                </c:pt>
                <c:pt idx="817">
                  <c:v>121.04401227410263</c:v>
                </c:pt>
                <c:pt idx="818">
                  <c:v>121.06997150884848</c:v>
                </c:pt>
                <c:pt idx="819">
                  <c:v>121.09593631084097</c:v>
                </c:pt>
                <c:pt idx="820">
                  <c:v>121.12190668127404</c:v>
                </c:pt>
                <c:pt idx="821">
                  <c:v>121.14788262134191</c:v>
                </c:pt>
                <c:pt idx="822">
                  <c:v>121.17386413223903</c:v>
                </c:pt>
                <c:pt idx="823">
                  <c:v>121.19985121516015</c:v>
                </c:pt>
                <c:pt idx="824">
                  <c:v>121.22584387130024</c:v>
                </c:pt>
                <c:pt idx="825">
                  <c:v>121.25184210185455</c:v>
                </c:pt>
                <c:pt idx="826">
                  <c:v>121.27784590801856</c:v>
                </c:pt>
                <c:pt idx="827">
                  <c:v>121.30385529098804</c:v>
                </c:pt>
                <c:pt idx="828">
                  <c:v>121.32987025195898</c:v>
                </c:pt>
                <c:pt idx="829">
                  <c:v>121.35589079212765</c:v>
                </c:pt>
                <c:pt idx="830">
                  <c:v>121.38191691269058</c:v>
                </c:pt>
                <c:pt idx="831">
                  <c:v>121.40794861484454</c:v>
                </c:pt>
                <c:pt idx="832">
                  <c:v>121.43398589978656</c:v>
                </c:pt>
                <c:pt idx="833">
                  <c:v>121.46002876871394</c:v>
                </c:pt>
                <c:pt idx="834">
                  <c:v>121.48607722282422</c:v>
                </c:pt>
                <c:pt idx="835">
                  <c:v>121.51213126331521</c:v>
                </c:pt>
                <c:pt idx="836">
                  <c:v>121.53819089138497</c:v>
                </c:pt>
                <c:pt idx="837">
                  <c:v>121.56425610823182</c:v>
                </c:pt>
                <c:pt idx="838">
                  <c:v>121.59032691505433</c:v>
                </c:pt>
                <c:pt idx="839">
                  <c:v>121.61640331305134</c:v>
                </c:pt>
                <c:pt idx="840">
                  <c:v>121.64248530342192</c:v>
                </c:pt>
                <c:pt idx="841">
                  <c:v>121.66857288736544</c:v>
                </c:pt>
                <c:pt idx="842">
                  <c:v>121.6946660660815</c:v>
                </c:pt>
                <c:pt idx="843">
                  <c:v>121.72076484076996</c:v>
                </c:pt>
                <c:pt idx="844">
                  <c:v>121.74686921263093</c:v>
                </c:pt>
                <c:pt idx="845">
                  <c:v>121.77297918286479</c:v>
                </c:pt>
                <c:pt idx="846">
                  <c:v>121.79909475267218</c:v>
                </c:pt>
                <c:pt idx="847">
                  <c:v>121.82521592325398</c:v>
                </c:pt>
                <c:pt idx="848">
                  <c:v>121.85134269581135</c:v>
                </c:pt>
                <c:pt idx="849">
                  <c:v>121.87747507154569</c:v>
                </c:pt>
                <c:pt idx="850">
                  <c:v>121.90361305165867</c:v>
                </c:pt>
                <c:pt idx="851">
                  <c:v>121.9297566373522</c:v>
                </c:pt>
                <c:pt idx="852">
                  <c:v>121.95590582982847</c:v>
                </c:pt>
                <c:pt idx="853">
                  <c:v>121.98206063028991</c:v>
                </c:pt>
                <c:pt idx="854">
                  <c:v>122.00822103993922</c:v>
                </c:pt>
                <c:pt idx="855">
                  <c:v>122.03438705997934</c:v>
                </c:pt>
                <c:pt idx="856">
                  <c:v>122.06055869161349</c:v>
                </c:pt>
                <c:pt idx="857">
                  <c:v>122.08673593604514</c:v>
                </c:pt>
                <c:pt idx="858">
                  <c:v>122.11291879447802</c:v>
                </c:pt>
                <c:pt idx="859">
                  <c:v>122.13910726811611</c:v>
                </c:pt>
                <c:pt idx="860">
                  <c:v>122.16530135816365</c:v>
                </c:pt>
                <c:pt idx="861">
                  <c:v>122.19150106582514</c:v>
                </c:pt>
                <c:pt idx="862">
                  <c:v>122.21770639230535</c:v>
                </c:pt>
                <c:pt idx="863">
                  <c:v>122.24391733880928</c:v>
                </c:pt>
                <c:pt idx="864">
                  <c:v>122.27013390654223</c:v>
                </c:pt>
                <c:pt idx="865">
                  <c:v>122.29635609670972</c:v>
                </c:pt>
                <c:pt idx="866">
                  <c:v>122.32258391051755</c:v>
                </c:pt>
                <c:pt idx="867">
                  <c:v>122.34881734917177</c:v>
                </c:pt>
                <c:pt idx="868">
                  <c:v>122.3750564138787</c:v>
                </c:pt>
                <c:pt idx="869">
                  <c:v>122.40130110584489</c:v>
                </c:pt>
                <c:pt idx="870">
                  <c:v>122.42755142627719</c:v>
                </c:pt>
                <c:pt idx="871">
                  <c:v>122.45380737638267</c:v>
                </c:pt>
                <c:pt idx="872">
                  <c:v>122.48006895736869</c:v>
                </c:pt>
                <c:pt idx="873">
                  <c:v>122.50633617044284</c:v>
                </c:pt>
                <c:pt idx="874">
                  <c:v>122.53260901681298</c:v>
                </c:pt>
                <c:pt idx="875">
                  <c:v>122.55888749768725</c:v>
                </c:pt>
                <c:pt idx="876">
                  <c:v>122.58517161427403</c:v>
                </c:pt>
                <c:pt idx="877">
                  <c:v>122.61146136778196</c:v>
                </c:pt>
                <c:pt idx="878">
                  <c:v>122.63775675941993</c:v>
                </c:pt>
                <c:pt idx="879">
                  <c:v>122.66405779039711</c:v>
                </c:pt>
                <c:pt idx="880">
                  <c:v>122.69036446192293</c:v>
                </c:pt>
                <c:pt idx="881">
                  <c:v>122.71667677520703</c:v>
                </c:pt>
                <c:pt idx="882">
                  <c:v>122.74299473145939</c:v>
                </c:pt>
                <c:pt idx="883">
                  <c:v>122.76931833189019</c:v>
                </c:pt>
                <c:pt idx="884">
                  <c:v>122.79564757770989</c:v>
                </c:pt>
                <c:pt idx="885">
                  <c:v>122.8219824701292</c:v>
                </c:pt>
                <c:pt idx="886">
                  <c:v>122.8483230103591</c:v>
                </c:pt>
                <c:pt idx="887">
                  <c:v>122.87466919961082</c:v>
                </c:pt>
                <c:pt idx="888">
                  <c:v>122.90102103909587</c:v>
                </c:pt>
                <c:pt idx="889">
                  <c:v>122.92737853002599</c:v>
                </c:pt>
                <c:pt idx="890">
                  <c:v>122.95374167361321</c:v>
                </c:pt>
                <c:pt idx="891">
                  <c:v>122.98011047106979</c:v>
                </c:pt>
                <c:pt idx="892">
                  <c:v>123.00648492360827</c:v>
                </c:pt>
                <c:pt idx="893">
                  <c:v>123.03286503244145</c:v>
                </c:pt>
                <c:pt idx="894">
                  <c:v>123.05925079878237</c:v>
                </c:pt>
                <c:pt idx="895">
                  <c:v>123.08564222384437</c:v>
                </c:pt>
                <c:pt idx="896">
                  <c:v>123.11203930884102</c:v>
                </c:pt>
                <c:pt idx="897">
                  <c:v>123.13844205498614</c:v>
                </c:pt>
                <c:pt idx="898">
                  <c:v>123.16485046349383</c:v>
                </c:pt>
                <c:pt idx="899">
                  <c:v>123.19126453557847</c:v>
                </c:pt>
                <c:pt idx="900">
                  <c:v>123.21768427245465</c:v>
                </c:pt>
                <c:pt idx="901">
                  <c:v>123.24410967533726</c:v>
                </c:pt>
                <c:pt idx="902">
                  <c:v>123.27054074544142</c:v>
                </c:pt>
                <c:pt idx="903">
                  <c:v>123.29697748398256</c:v>
                </c:pt>
                <c:pt idx="904">
                  <c:v>123.32341989217632</c:v>
                </c:pt>
                <c:pt idx="905">
                  <c:v>123.34986797123862</c:v>
                </c:pt>
                <c:pt idx="906">
                  <c:v>123.37632172238565</c:v>
                </c:pt>
                <c:pt idx="907">
                  <c:v>123.40278114683385</c:v>
                </c:pt>
                <c:pt idx="908">
                  <c:v>123.4292462457999</c:v>
                </c:pt>
                <c:pt idx="909">
                  <c:v>123.45571702050078</c:v>
                </c:pt>
                <c:pt idx="910">
                  <c:v>123.48219347215372</c:v>
                </c:pt>
                <c:pt idx="911">
                  <c:v>123.50867560197621</c:v>
                </c:pt>
                <c:pt idx="912">
                  <c:v>123.53516341118598</c:v>
                </c:pt>
                <c:pt idx="913">
                  <c:v>123.56165690100104</c:v>
                </c:pt>
                <c:pt idx="914">
                  <c:v>123.58815607263968</c:v>
                </c:pt>
                <c:pt idx="915">
                  <c:v>123.61466092732041</c:v>
                </c:pt>
                <c:pt idx="916">
                  <c:v>123.64117146626204</c:v>
                </c:pt>
                <c:pt idx="917">
                  <c:v>123.66768769068359</c:v>
                </c:pt>
                <c:pt idx="918">
                  <c:v>123.6942096018044</c:v>
                </c:pt>
                <c:pt idx="919">
                  <c:v>123.72073720084404</c:v>
                </c:pt>
                <c:pt idx="920">
                  <c:v>123.74727048902236</c:v>
                </c:pt>
                <c:pt idx="921">
                  <c:v>123.77380946755943</c:v>
                </c:pt>
                <c:pt idx="922">
                  <c:v>123.80035413767564</c:v>
                </c:pt>
                <c:pt idx="923">
                  <c:v>123.8269045005916</c:v>
                </c:pt>
                <c:pt idx="924">
                  <c:v>123.85346055752818</c:v>
                </c:pt>
                <c:pt idx="925">
                  <c:v>123.88002230970655</c:v>
                </c:pt>
                <c:pt idx="926">
                  <c:v>123.9065897583481</c:v>
                </c:pt>
                <c:pt idx="927">
                  <c:v>123.93316290467452</c:v>
                </c:pt>
                <c:pt idx="928">
                  <c:v>123.95974174990772</c:v>
                </c:pt>
                <c:pt idx="929">
                  <c:v>123.9863262952699</c:v>
                </c:pt>
                <c:pt idx="930">
                  <c:v>124.01291654198353</c:v>
                </c:pt>
                <c:pt idx="931">
                  <c:v>124.03951249127131</c:v>
                </c:pt>
                <c:pt idx="932">
                  <c:v>124.06611414435623</c:v>
                </c:pt>
                <c:pt idx="933">
                  <c:v>124.09272150246154</c:v>
                </c:pt>
                <c:pt idx="934">
                  <c:v>124.11933456681074</c:v>
                </c:pt>
                <c:pt idx="935">
                  <c:v>124.14595333862758</c:v>
                </c:pt>
                <c:pt idx="936">
                  <c:v>124.17257781913611</c:v>
                </c:pt>
                <c:pt idx="937">
                  <c:v>124.19920800956062</c:v>
                </c:pt>
                <c:pt idx="938">
                  <c:v>124.22584391112566</c:v>
                </c:pt>
                <c:pt idx="939">
                  <c:v>124.25248552505606</c:v>
                </c:pt>
                <c:pt idx="940">
                  <c:v>124.27913285257688</c:v>
                </c:pt>
                <c:pt idx="941">
                  <c:v>124.30578589491347</c:v>
                </c:pt>
                <c:pt idx="942">
                  <c:v>124.33244465329143</c:v>
                </c:pt>
                <c:pt idx="943">
                  <c:v>124.35910912893665</c:v>
                </c:pt>
                <c:pt idx="944">
                  <c:v>124.38577932307524</c:v>
                </c:pt>
                <c:pt idx="945">
                  <c:v>124.41245523693361</c:v>
                </c:pt>
                <c:pt idx="946">
                  <c:v>124.4391368717384</c:v>
                </c:pt>
                <c:pt idx="947">
                  <c:v>124.46582422871654</c:v>
                </c:pt>
                <c:pt idx="948">
                  <c:v>124.49251730909522</c:v>
                </c:pt>
                <c:pt idx="949">
                  <c:v>124.51921611410188</c:v>
                </c:pt>
                <c:pt idx="950">
                  <c:v>124.54592064496423</c:v>
                </c:pt>
                <c:pt idx="951">
                  <c:v>124.57263090291025</c:v>
                </c:pt>
                <c:pt idx="952">
                  <c:v>124.59934688916816</c:v>
                </c:pt>
                <c:pt idx="953">
                  <c:v>124.62606860496648</c:v>
                </c:pt>
                <c:pt idx="954">
                  <c:v>124.65279605153397</c:v>
                </c:pt>
                <c:pt idx="955">
                  <c:v>124.67952923009965</c:v>
                </c:pt>
                <c:pt idx="956">
                  <c:v>124.70626814189281</c:v>
                </c:pt>
                <c:pt idx="957">
                  <c:v>124.733012788143</c:v>
                </c:pt>
                <c:pt idx="958">
                  <c:v>124.75976317008006</c:v>
                </c:pt>
                <c:pt idx="959">
                  <c:v>124.78651928893406</c:v>
                </c:pt>
                <c:pt idx="960">
                  <c:v>124.81328114593533</c:v>
                </c:pt>
                <c:pt idx="961">
                  <c:v>124.84004874231451</c:v>
                </c:pt>
                <c:pt idx="962">
                  <c:v>124.86682207930245</c:v>
                </c:pt>
                <c:pt idx="963">
                  <c:v>124.89360115813029</c:v>
                </c:pt>
                <c:pt idx="964">
                  <c:v>124.92038598002944</c:v>
                </c:pt>
                <c:pt idx="965">
                  <c:v>124.94717654623156</c:v>
                </c:pt>
                <c:pt idx="966">
                  <c:v>124.97397285796858</c:v>
                </c:pt>
                <c:pt idx="967">
                  <c:v>125.00077491647269</c:v>
                </c:pt>
                <c:pt idx="968">
                  <c:v>125.02758272297636</c:v>
                </c:pt>
                <c:pt idx="969">
                  <c:v>125.0543962787123</c:v>
                </c:pt>
                <c:pt idx="970">
                  <c:v>125.08121558491351</c:v>
                </c:pt>
                <c:pt idx="971">
                  <c:v>125.10804064281322</c:v>
                </c:pt>
                <c:pt idx="972">
                  <c:v>125.13487145364496</c:v>
                </c:pt>
                <c:pt idx="973">
                  <c:v>125.16170801864251</c:v>
                </c:pt>
                <c:pt idx="974">
                  <c:v>125.18855033903992</c:v>
                </c:pt>
                <c:pt idx="975">
                  <c:v>125.21539841607149</c:v>
                </c:pt>
                <c:pt idx="976">
                  <c:v>125.2422522509718</c:v>
                </c:pt>
                <c:pt idx="977">
                  <c:v>125.26911184497568</c:v>
                </c:pt>
                <c:pt idx="978">
                  <c:v>125.29597719931824</c:v>
                </c:pt>
                <c:pt idx="979">
                  <c:v>125.32284831523485</c:v>
                </c:pt>
                <c:pt idx="980">
                  <c:v>125.34972519396115</c:v>
                </c:pt>
                <c:pt idx="981">
                  <c:v>125.37660783673303</c:v>
                </c:pt>
                <c:pt idx="982">
                  <c:v>125.40349624478665</c:v>
                </c:pt>
                <c:pt idx="983">
                  <c:v>125.43039041935845</c:v>
                </c:pt>
                <c:pt idx="984">
                  <c:v>125.45729036168511</c:v>
                </c:pt>
                <c:pt idx="985">
                  <c:v>125.4841960730036</c:v>
                </c:pt>
                <c:pt idx="986">
                  <c:v>125.51110755455115</c:v>
                </c:pt>
                <c:pt idx="987">
                  <c:v>125.53802480756522</c:v>
                </c:pt>
                <c:pt idx="988">
                  <c:v>125.5649478332836</c:v>
                </c:pt>
                <c:pt idx="989">
                  <c:v>125.59187663294429</c:v>
                </c:pt>
                <c:pt idx="990">
                  <c:v>125.6188112077856</c:v>
                </c:pt>
                <c:pt idx="991">
                  <c:v>125.64575155904605</c:v>
                </c:pt>
                <c:pt idx="992">
                  <c:v>125.67269768796447</c:v>
                </c:pt>
                <c:pt idx="993">
                  <c:v>125.69964959577996</c:v>
                </c:pt>
                <c:pt idx="994">
                  <c:v>125.72660728373185</c:v>
                </c:pt>
                <c:pt idx="995">
                  <c:v>125.75357075305976</c:v>
                </c:pt>
                <c:pt idx="996">
                  <c:v>125.78054000500356</c:v>
                </c:pt>
                <c:pt idx="997">
                  <c:v>125.80751504080341</c:v>
                </c:pt>
                <c:pt idx="998">
                  <c:v>125.83449586169971</c:v>
                </c:pt>
                <c:pt idx="999">
                  <c:v>125.86148246893315</c:v>
                </c:pt>
                <c:pt idx="1000">
                  <c:v>125.88847486374466</c:v>
                </c:pt>
                <c:pt idx="1001">
                  <c:v>125.91547304737547</c:v>
                </c:pt>
                <c:pt idx="1002">
                  <c:v>125.94247702106705</c:v>
                </c:pt>
                <c:pt idx="1003">
                  <c:v>125.96948678606114</c:v>
                </c:pt>
                <c:pt idx="1004">
                  <c:v>125.99650234359974</c:v>
                </c:pt>
                <c:pt idx="1005">
                  <c:v>126.02352369492515</c:v>
                </c:pt>
                <c:pt idx="1006">
                  <c:v>126.05055084127989</c:v>
                </c:pt>
                <c:pt idx="1007">
                  <c:v>126.07758378390677</c:v>
                </c:pt>
                <c:pt idx="1008">
                  <c:v>126.10462252404888</c:v>
                </c:pt>
                <c:pt idx="1009">
                  <c:v>126.13166706294955</c:v>
                </c:pt>
                <c:pt idx="1010">
                  <c:v>126.15871740185239</c:v>
                </c:pt>
                <c:pt idx="1011">
                  <c:v>126.18577354200127</c:v>
                </c:pt>
                <c:pt idx="1012">
                  <c:v>126.21283548464035</c:v>
                </c:pt>
                <c:pt idx="1013">
                  <c:v>126.23990323101403</c:v>
                </c:pt>
                <c:pt idx="1014">
                  <c:v>126.26697678236697</c:v>
                </c:pt>
                <c:pt idx="1015">
                  <c:v>126.29405613994412</c:v>
                </c:pt>
                <c:pt idx="1016">
                  <c:v>126.32114130499069</c:v>
                </c:pt>
                <c:pt idx="1017">
                  <c:v>126.34823227875216</c:v>
                </c:pt>
                <c:pt idx="1018">
                  <c:v>126.37532906247428</c:v>
                </c:pt>
                <c:pt idx="1019">
                  <c:v>126.40243165740306</c:v>
                </c:pt>
                <c:pt idx="1020">
                  <c:v>126.42954006478476</c:v>
                </c:pt>
                <c:pt idx="1021">
                  <c:v>126.45665428586594</c:v>
                </c:pt>
                <c:pt idx="1022">
                  <c:v>126.48377432189341</c:v>
                </c:pt>
                <c:pt idx="1023">
                  <c:v>126.51090017411424</c:v>
                </c:pt>
                <c:pt idx="1024">
                  <c:v>126.5380318437758</c:v>
                </c:pt>
                <c:pt idx="1025">
                  <c:v>126.56516933212568</c:v>
                </c:pt>
                <c:pt idx="1026">
                  <c:v>126.59231264041178</c:v>
                </c:pt>
                <c:pt idx="1027">
                  <c:v>126.61946176988224</c:v>
                </c:pt>
                <c:pt idx="1028">
                  <c:v>126.64661672178548</c:v>
                </c:pt>
                <c:pt idx="1029">
                  <c:v>126.6737774973702</c:v>
                </c:pt>
                <c:pt idx="1030">
                  <c:v>126.70094409788533</c:v>
                </c:pt>
                <c:pt idx="1031">
                  <c:v>126.7281165245801</c:v>
                </c:pt>
                <c:pt idx="1032">
                  <c:v>126.75529477870401</c:v>
                </c:pt>
                <c:pt idx="1033">
                  <c:v>126.7824788615068</c:v>
                </c:pt>
                <c:pt idx="1034">
                  <c:v>126.8096687742385</c:v>
                </c:pt>
                <c:pt idx="1035">
                  <c:v>126.83686451814941</c:v>
                </c:pt>
                <c:pt idx="1036">
                  <c:v>126.86406609449008</c:v>
                </c:pt>
                <c:pt idx="1037">
                  <c:v>126.89127350451136</c:v>
                </c:pt>
                <c:pt idx="1038">
                  <c:v>126.91848674946432</c:v>
                </c:pt>
                <c:pt idx="1039">
                  <c:v>126.94570583060035</c:v>
                </c:pt>
                <c:pt idx="1040">
                  <c:v>126.97293074917107</c:v>
                </c:pt>
                <c:pt idx="1041">
                  <c:v>127.00016150642838</c:v>
                </c:pt>
                <c:pt idx="1042">
                  <c:v>127.02739810362446</c:v>
                </c:pt>
                <c:pt idx="1043">
                  <c:v>127.05464054201175</c:v>
                </c:pt>
                <c:pt idx="1044">
                  <c:v>127.08188882284297</c:v>
                </c:pt>
                <c:pt idx="1045">
                  <c:v>127.10914294737107</c:v>
                </c:pt>
                <c:pt idx="1046">
                  <c:v>127.13640291684931</c:v>
                </c:pt>
                <c:pt idx="1047">
                  <c:v>127.16366873253121</c:v>
                </c:pt>
                <c:pt idx="1048">
                  <c:v>127.19094039567054</c:v>
                </c:pt>
                <c:pt idx="1049">
                  <c:v>127.21821790752136</c:v>
                </c:pt>
                <c:pt idx="1050">
                  <c:v>127.24550126933799</c:v>
                </c:pt>
                <c:pt idx="1051">
                  <c:v>127.27279048237503</c:v>
                </c:pt>
                <c:pt idx="1052">
                  <c:v>127.30008554788732</c:v>
                </c:pt>
                <c:pt idx="1053">
                  <c:v>127.32738646713001</c:v>
                </c:pt>
                <c:pt idx="1054">
                  <c:v>127.35469324135849</c:v>
                </c:pt>
                <c:pt idx="1055">
                  <c:v>127.38200587182841</c:v>
                </c:pt>
                <c:pt idx="1056">
                  <c:v>127.40932435979573</c:v>
                </c:pt>
                <c:pt idx="1057">
                  <c:v>127.43664870651664</c:v>
                </c:pt>
                <c:pt idx="1058">
                  <c:v>127.46397891324762</c:v>
                </c:pt>
                <c:pt idx="1059">
                  <c:v>127.49131498124541</c:v>
                </c:pt>
                <c:pt idx="1060">
                  <c:v>127.51865691176702</c:v>
                </c:pt>
                <c:pt idx="1061">
                  <c:v>127.54600470606975</c:v>
                </c:pt>
                <c:pt idx="1062">
                  <c:v>127.57335836541115</c:v>
                </c:pt>
                <c:pt idx="1063">
                  <c:v>127.60071789104904</c:v>
                </c:pt>
                <c:pt idx="1064">
                  <c:v>127.62808328424151</c:v>
                </c:pt>
                <c:pt idx="1065">
                  <c:v>127.65545454624692</c:v>
                </c:pt>
                <c:pt idx="1066">
                  <c:v>127.68283167832389</c:v>
                </c:pt>
                <c:pt idx="1067">
                  <c:v>127.71021468173134</c:v>
                </c:pt>
                <c:pt idx="1068">
                  <c:v>127.73760355772845</c:v>
                </c:pt>
                <c:pt idx="1069">
                  <c:v>127.76499830757464</c:v>
                </c:pt>
                <c:pt idx="1070">
                  <c:v>127.79239893252964</c:v>
                </c:pt>
                <c:pt idx="1071">
                  <c:v>127.81980543385342</c:v>
                </c:pt>
                <c:pt idx="1072">
                  <c:v>127.84721781280624</c:v>
                </c:pt>
                <c:pt idx="1073">
                  <c:v>127.87463607064862</c:v>
                </c:pt>
                <c:pt idx="1074">
                  <c:v>127.90206020864136</c:v>
                </c:pt>
                <c:pt idx="1075">
                  <c:v>127.92949022804551</c:v>
                </c:pt>
                <c:pt idx="1076">
                  <c:v>127.95692613012241</c:v>
                </c:pt>
                <c:pt idx="1077">
                  <c:v>127.98436791613368</c:v>
                </c:pt>
                <c:pt idx="1078">
                  <c:v>128.01181558734118</c:v>
                </c:pt>
                <c:pt idx="1079">
                  <c:v>128.03926914500704</c:v>
                </c:pt>
                <c:pt idx="1080">
                  <c:v>128.06672859039369</c:v>
                </c:pt>
                <c:pt idx="1081">
                  <c:v>128.09419392476383</c:v>
                </c:pt>
                <c:pt idx="1082">
                  <c:v>128.12166514938042</c:v>
                </c:pt>
                <c:pt idx="1083">
                  <c:v>128.14914226550667</c:v>
                </c:pt>
                <c:pt idx="1084">
                  <c:v>128.17662527440609</c:v>
                </c:pt>
                <c:pt idx="1085">
                  <c:v>128.20411417734246</c:v>
                </c:pt>
                <c:pt idx="1086">
                  <c:v>128.2316089755798</c:v>
                </c:pt>
                <c:pt idx="1087">
                  <c:v>128.25910967038243</c:v>
                </c:pt>
                <c:pt idx="1088">
                  <c:v>128.28661626301493</c:v>
                </c:pt>
                <c:pt idx="1089">
                  <c:v>128.31412875474217</c:v>
                </c:pt>
                <c:pt idx="1090">
                  <c:v>128.34164714682927</c:v>
                </c:pt>
                <c:pt idx="1091">
                  <c:v>128.36917144054163</c:v>
                </c:pt>
                <c:pt idx="1092">
                  <c:v>128.39670163714493</c:v>
                </c:pt>
                <c:pt idx="1093">
                  <c:v>128.42423773790509</c:v>
                </c:pt>
                <c:pt idx="1094">
                  <c:v>128.45177974408833</c:v>
                </c:pt>
                <c:pt idx="1095">
                  <c:v>128.47932765696112</c:v>
                </c:pt>
                <c:pt idx="1096">
                  <c:v>128.50688147779024</c:v>
                </c:pt>
                <c:pt idx="1097">
                  <c:v>128.53444120784269</c:v>
                </c:pt>
                <c:pt idx="1098">
                  <c:v>128.56200684838578</c:v>
                </c:pt>
                <c:pt idx="1099">
                  <c:v>128.58957840068709</c:v>
                </c:pt>
                <c:pt idx="1100">
                  <c:v>128.61715586601446</c:v>
                </c:pt>
                <c:pt idx="1101">
                  <c:v>128.644739245636</c:v>
                </c:pt>
                <c:pt idx="1102">
                  <c:v>128.6723285408201</c:v>
                </c:pt>
                <c:pt idx="1103">
                  <c:v>128.69992375283542</c:v>
                </c:pt>
                <c:pt idx="1104">
                  <c:v>128.72752488295086</c:v>
                </c:pt>
                <c:pt idx="1105">
                  <c:v>128.75513193243566</c:v>
                </c:pt>
                <c:pt idx="1106">
                  <c:v>128.78274490255927</c:v>
                </c:pt>
                <c:pt idx="1107">
                  <c:v>128.81036379459147</c:v>
                </c:pt>
                <c:pt idx="1108">
                  <c:v>128.83798860980224</c:v>
                </c:pt>
                <c:pt idx="1109">
                  <c:v>128.86561934946189</c:v>
                </c:pt>
                <c:pt idx="1110">
                  <c:v>128.893256014841</c:v>
                </c:pt>
                <c:pt idx="1111">
                  <c:v>128.92089860721038</c:v>
                </c:pt>
                <c:pt idx="1112">
                  <c:v>128.94854712784115</c:v>
                </c:pt>
                <c:pt idx="1113">
                  <c:v>128.97620157800469</c:v>
                </c:pt>
                <c:pt idx="1114">
                  <c:v>129.00386195897266</c:v>
                </c:pt>
                <c:pt idx="1115">
                  <c:v>129.03152827201697</c:v>
                </c:pt>
                <c:pt idx="1116">
                  <c:v>129.05920051840985</c:v>
                </c:pt>
                <c:pt idx="1117">
                  <c:v>129.08687869942375</c:v>
                </c:pt>
                <c:pt idx="1118">
                  <c:v>129.11456281633141</c:v>
                </c:pt>
                <c:pt idx="1119">
                  <c:v>129.14225287040585</c:v>
                </c:pt>
                <c:pt idx="1120">
                  <c:v>129.16994886292039</c:v>
                </c:pt>
                <c:pt idx="1121">
                  <c:v>129.19765079514858</c:v>
                </c:pt>
                <c:pt idx="1122">
                  <c:v>129.22535866836424</c:v>
                </c:pt>
                <c:pt idx="1123">
                  <c:v>129.25307248384149</c:v>
                </c:pt>
                <c:pt idx="1124">
                  <c:v>129.28079224285472</c:v>
                </c:pt>
                <c:pt idx="1125">
                  <c:v>129.30851794667856</c:v>
                </c:pt>
                <c:pt idx="1126">
                  <c:v>129.33624959658798</c:v>
                </c:pt>
                <c:pt idx="1127">
                  <c:v>129.36398719385818</c:v>
                </c:pt>
                <c:pt idx="1128">
                  <c:v>129.39173073976463</c:v>
                </c:pt>
                <c:pt idx="1129">
                  <c:v>129.41948023558305</c:v>
                </c:pt>
                <c:pt idx="1130">
                  <c:v>129.44723568258951</c:v>
                </c:pt>
                <c:pt idx="1131">
                  <c:v>129.4749970820603</c:v>
                </c:pt>
                <c:pt idx="1132">
                  <c:v>129.50276443527196</c:v>
                </c:pt>
                <c:pt idx="1133">
                  <c:v>129.53053774350136</c:v>
                </c:pt>
                <c:pt idx="1134">
                  <c:v>129.55831700802563</c:v>
                </c:pt>
                <c:pt idx="1135">
                  <c:v>129.58610223012215</c:v>
                </c:pt>
                <c:pt idx="1136">
                  <c:v>129.6138934110686</c:v>
                </c:pt>
                <c:pt idx="1137">
                  <c:v>129.6416905521429</c:v>
                </c:pt>
                <c:pt idx="1138">
                  <c:v>129.6694936546233</c:v>
                </c:pt>
                <c:pt idx="1139">
                  <c:v>129.69730271978824</c:v>
                </c:pt>
                <c:pt idx="1140">
                  <c:v>129.72511774891652</c:v>
                </c:pt>
                <c:pt idx="1141">
                  <c:v>127.06246519528459</c:v>
                </c:pt>
                <c:pt idx="1142">
                  <c:v>127.08971515419972</c:v>
                </c:pt>
                <c:pt idx="1143">
                  <c:v>127.11697095717163</c:v>
                </c:pt>
                <c:pt idx="1144">
                  <c:v>127.14423260545364</c:v>
                </c:pt>
                <c:pt idx="1145">
                  <c:v>127.17150010029934</c:v>
                </c:pt>
                <c:pt idx="1146">
                  <c:v>127.19877344296259</c:v>
                </c:pt>
                <c:pt idx="1147">
                  <c:v>127.22605263469752</c:v>
                </c:pt>
                <c:pt idx="1148">
                  <c:v>127.25333767675855</c:v>
                </c:pt>
                <c:pt idx="1149">
                  <c:v>127.28062857040031</c:v>
                </c:pt>
                <c:pt idx="1150">
                  <c:v>127.30792531687776</c:v>
                </c:pt>
                <c:pt idx="1151">
                  <c:v>127.3352279174461</c:v>
                </c:pt>
                <c:pt idx="1152">
                  <c:v>127.36253637336081</c:v>
                </c:pt>
                <c:pt idx="1153">
                  <c:v>127.38985068587763</c:v>
                </c:pt>
                <c:pt idx="1154">
                  <c:v>127.41717085625257</c:v>
                </c:pt>
                <c:pt idx="1155">
                  <c:v>127.44449688574191</c:v>
                </c:pt>
                <c:pt idx="1156">
                  <c:v>127.47182877560222</c:v>
                </c:pt>
                <c:pt idx="1157">
                  <c:v>127.49916652709031</c:v>
                </c:pt>
                <c:pt idx="1158">
                  <c:v>127.52651014146326</c:v>
                </c:pt>
                <c:pt idx="1159">
                  <c:v>127.55385961997845</c:v>
                </c:pt>
                <c:pt idx="1160">
                  <c:v>127.5812149638935</c:v>
                </c:pt>
                <c:pt idx="1161">
                  <c:v>127.60857617446632</c:v>
                </c:pt>
                <c:pt idx="1162">
                  <c:v>127.63594325295507</c:v>
                </c:pt>
                <c:pt idx="1163">
                  <c:v>127.6633162006182</c:v>
                </c:pt>
                <c:pt idx="1164">
                  <c:v>127.69069501871439</c:v>
                </c:pt>
                <c:pt idx="1165">
                  <c:v>127.71807970850266</c:v>
                </c:pt>
                <c:pt idx="1166">
                  <c:v>127.74547027124223</c:v>
                </c:pt>
                <c:pt idx="1167">
                  <c:v>127.77286670819264</c:v>
                </c:pt>
                <c:pt idx="1168">
                  <c:v>127.80026902061367</c:v>
                </c:pt>
                <c:pt idx="1169">
                  <c:v>127.82767720976538</c:v>
                </c:pt>
                <c:pt idx="1170">
                  <c:v>127.8550912769081</c:v>
                </c:pt>
                <c:pt idx="1171">
                  <c:v>127.88251122330243</c:v>
                </c:pt>
                <c:pt idx="1172">
                  <c:v>127.90993705020925</c:v>
                </c:pt>
                <c:pt idx="1173">
                  <c:v>127.93736875888969</c:v>
                </c:pt>
                <c:pt idx="1174">
                  <c:v>127.96480635060517</c:v>
                </c:pt>
                <c:pt idx="1175">
                  <c:v>127.99224982661737</c:v>
                </c:pt>
                <c:pt idx="1176">
                  <c:v>128.01969918818824</c:v>
                </c:pt>
                <c:pt idx="1177">
                  <c:v>128.04715443658</c:v>
                </c:pt>
                <c:pt idx="1178">
                  <c:v>128.07461557305515</c:v>
                </c:pt>
                <c:pt idx="1179">
                  <c:v>128.10208259887645</c:v>
                </c:pt>
                <c:pt idx="1180">
                  <c:v>128.12955551530695</c:v>
                </c:pt>
                <c:pt idx="1181">
                  <c:v>128.15703432360993</c:v>
                </c:pt>
                <c:pt idx="1182">
                  <c:v>128.18451902504898</c:v>
                </c:pt>
                <c:pt idx="1183">
                  <c:v>128.21200962088798</c:v>
                </c:pt>
                <c:pt idx="1184">
                  <c:v>128.23950611239101</c:v>
                </c:pt>
                <c:pt idx="1185">
                  <c:v>128.26700850082247</c:v>
                </c:pt>
                <c:pt idx="1186">
                  <c:v>128.29451678744704</c:v>
                </c:pt>
                <c:pt idx="1187">
                  <c:v>128.32203097352962</c:v>
                </c:pt>
                <c:pt idx="1188">
                  <c:v>128.34955106033544</c:v>
                </c:pt>
                <c:pt idx="1189">
                  <c:v>128.37707704912998</c:v>
                </c:pt>
                <c:pt idx="1190">
                  <c:v>128.40460894117896</c:v>
                </c:pt>
                <c:pt idx="1191">
                  <c:v>128.43214673774841</c:v>
                </c:pt>
                <c:pt idx="1192">
                  <c:v>128.45969044010462</c:v>
                </c:pt>
                <c:pt idx="1193">
                  <c:v>128.48724004951416</c:v>
                </c:pt>
                <c:pt idx="1194">
                  <c:v>128.51479556724385</c:v>
                </c:pt>
                <c:pt idx="1195">
                  <c:v>128.54235699456081</c:v>
                </c:pt>
                <c:pt idx="1196">
                  <c:v>128.5699243327324</c:v>
                </c:pt>
                <c:pt idx="1197">
                  <c:v>128.5974975830263</c:v>
                </c:pt>
                <c:pt idx="1198">
                  <c:v>128.62507674671039</c:v>
                </c:pt>
                <c:pt idx="1199">
                  <c:v>128.65266182505289</c:v>
                </c:pt>
                <c:pt idx="1200">
                  <c:v>128.68025281932225</c:v>
                </c:pt>
                <c:pt idx="1201">
                  <c:v>128.70784973078722</c:v>
                </c:pt>
                <c:pt idx="1202">
                  <c:v>128.73545256071679</c:v>
                </c:pt>
                <c:pt idx="1203">
                  <c:v>128.76306131038027</c:v>
                </c:pt>
                <c:pt idx="1204">
                  <c:v>128.79067598104717</c:v>
                </c:pt>
                <c:pt idx="1205">
                  <c:v>128.81829657398737</c:v>
                </c:pt>
                <c:pt idx="1206">
                  <c:v>128.84592309047093</c:v>
                </c:pt>
                <c:pt idx="1207">
                  <c:v>128.87355553176823</c:v>
                </c:pt>
                <c:pt idx="1208">
                  <c:v>128.90119389914992</c:v>
                </c:pt>
                <c:pt idx="1209">
                  <c:v>128.92883819388689</c:v>
                </c:pt>
                <c:pt idx="1210">
                  <c:v>128.95648841725034</c:v>
                </c:pt>
                <c:pt idx="1211">
                  <c:v>128.98414457051172</c:v>
                </c:pt>
                <c:pt idx="1212">
                  <c:v>129.01180665494277</c:v>
                </c:pt>
                <c:pt idx="1213">
                  <c:v>129.0394746718155</c:v>
                </c:pt>
                <c:pt idx="1214">
                  <c:v>129.06714862240219</c:v>
                </c:pt>
                <c:pt idx="1215">
                  <c:v>129.09482850797539</c:v>
                </c:pt>
                <c:pt idx="1216">
                  <c:v>129.12251432980793</c:v>
                </c:pt>
                <c:pt idx="1217">
                  <c:v>129.15020608917288</c:v>
                </c:pt>
                <c:pt idx="1218">
                  <c:v>129.17790378734364</c:v>
                </c:pt>
                <c:pt idx="1219">
                  <c:v>129.20560742559383</c:v>
                </c:pt>
                <c:pt idx="1220">
                  <c:v>129.23331700519739</c:v>
                </c:pt>
                <c:pt idx="1221">
                  <c:v>129.26103252742848</c:v>
                </c:pt>
                <c:pt idx="1222">
                  <c:v>129.28875399356158</c:v>
                </c:pt>
                <c:pt idx="1223">
                  <c:v>129.31648140487144</c:v>
                </c:pt>
                <c:pt idx="1224">
                  <c:v>129.34421476263304</c:v>
                </c:pt>
                <c:pt idx="1225">
                  <c:v>129.37195406812168</c:v>
                </c:pt>
                <c:pt idx="1226">
                  <c:v>129.39969932261292</c:v>
                </c:pt>
                <c:pt idx="1227">
                  <c:v>129.42745052738258</c:v>
                </c:pt>
                <c:pt idx="1228">
                  <c:v>129.45520768370676</c:v>
                </c:pt>
                <c:pt idx="1229">
                  <c:v>129.48297079286183</c:v>
                </c:pt>
                <c:pt idx="1230">
                  <c:v>129.51073985612447</c:v>
                </c:pt>
                <c:pt idx="1231">
                  <c:v>129.53851487477161</c:v>
                </c:pt>
                <c:pt idx="1232">
                  <c:v>129.56629585008039</c:v>
                </c:pt>
                <c:pt idx="1233">
                  <c:v>129.59408278332833</c:v>
                </c:pt>
                <c:pt idx="1234">
                  <c:v>129.62187567579318</c:v>
                </c:pt>
                <c:pt idx="1235">
                  <c:v>129.64967452875294</c:v>
                </c:pt>
                <c:pt idx="1236">
                  <c:v>129.67747934348591</c:v>
                </c:pt>
                <c:pt idx="1237">
                  <c:v>129.70529012127065</c:v>
                </c:pt>
                <c:pt idx="1238">
                  <c:v>129.73310686338601</c:v>
                </c:pt>
                <c:pt idx="1239">
                  <c:v>129.76092957111112</c:v>
                </c:pt>
                <c:pt idx="1240">
                  <c:v>129.78875824572535</c:v>
                </c:pt>
                <c:pt idx="1241">
                  <c:v>129.81659288850838</c:v>
                </c:pt>
                <c:pt idx="1242">
                  <c:v>129.84443350074014</c:v>
                </c:pt>
                <c:pt idx="1243">
                  <c:v>129.87228008370084</c:v>
                </c:pt>
                <c:pt idx="1244">
                  <c:v>129.90013263867101</c:v>
                </c:pt>
                <c:pt idx="1245">
                  <c:v>129.92799116693138</c:v>
                </c:pt>
                <c:pt idx="1246">
                  <c:v>129.955855669763</c:v>
                </c:pt>
                <c:pt idx="1247">
                  <c:v>129.98372614844715</c:v>
                </c:pt>
                <c:pt idx="1248">
                  <c:v>130.01160260426545</c:v>
                </c:pt>
                <c:pt idx="1249">
                  <c:v>130.03948503849975</c:v>
                </c:pt>
                <c:pt idx="1250">
                  <c:v>130.06737345243221</c:v>
                </c:pt>
                <c:pt idx="1251">
                  <c:v>130.09526784734521</c:v>
                </c:pt>
                <c:pt idx="1252">
                  <c:v>130.12316822452146</c:v>
                </c:pt>
                <c:pt idx="1253">
                  <c:v>130.15107458524392</c:v>
                </c:pt>
                <c:pt idx="1254">
                  <c:v>130.17898693079582</c:v>
                </c:pt>
                <c:pt idx="1255">
                  <c:v>130.20690526246068</c:v>
                </c:pt>
                <c:pt idx="1256">
                  <c:v>130.23482958152229</c:v>
                </c:pt>
                <c:pt idx="1257">
                  <c:v>130.26275988926471</c:v>
                </c:pt>
                <c:pt idx="1258">
                  <c:v>130.2906961869723</c:v>
                </c:pt>
                <c:pt idx="1259">
                  <c:v>130.31863847592965</c:v>
                </c:pt>
                <c:pt idx="1260">
                  <c:v>130.34658675742165</c:v>
                </c:pt>
                <c:pt idx="1261">
                  <c:v>130.37454103273348</c:v>
                </c:pt>
                <c:pt idx="1262">
                  <c:v>130.40250130315056</c:v>
                </c:pt>
                <c:pt idx="1263">
                  <c:v>130.43046756995861</c:v>
                </c:pt>
                <c:pt idx="1264">
                  <c:v>130.45843983444365</c:v>
                </c:pt>
                <c:pt idx="1265">
                  <c:v>130.48641809789194</c:v>
                </c:pt>
                <c:pt idx="1266">
                  <c:v>130.51440236159002</c:v>
                </c:pt>
                <c:pt idx="1267">
                  <c:v>130.54239262682469</c:v>
                </c:pt>
                <c:pt idx="1268">
                  <c:v>130.57038889488305</c:v>
                </c:pt>
                <c:pt idx="1269">
                  <c:v>130.59839116705248</c:v>
                </c:pt>
                <c:pt idx="1270">
                  <c:v>130.62639944462066</c:v>
                </c:pt>
                <c:pt idx="1271">
                  <c:v>130.65441372887548</c:v>
                </c:pt>
                <c:pt idx="1272">
                  <c:v>130.68243402110514</c:v>
                </c:pt>
                <c:pt idx="1273">
                  <c:v>130.71046032259812</c:v>
                </c:pt>
                <c:pt idx="1274">
                  <c:v>130.73849263464319</c:v>
                </c:pt>
                <c:pt idx="1275">
                  <c:v>130.76653095852936</c:v>
                </c:pt>
                <c:pt idx="1276">
                  <c:v>130.79457529554594</c:v>
                </c:pt>
                <c:pt idx="1277">
                  <c:v>130.82262564698252</c:v>
                </c:pt>
                <c:pt idx="1278">
                  <c:v>130.85068201412895</c:v>
                </c:pt>
                <c:pt idx="1279">
                  <c:v>130.87874439827539</c:v>
                </c:pt>
                <c:pt idx="1280">
                  <c:v>130.90681280071223</c:v>
                </c:pt>
                <c:pt idx="1281">
                  <c:v>130.93488722273017</c:v>
                </c:pt>
                <c:pt idx="1282">
                  <c:v>130.96296766562014</c:v>
                </c:pt>
                <c:pt idx="1283">
                  <c:v>130.99105413067343</c:v>
                </c:pt>
                <c:pt idx="1284">
                  <c:v>131.01914661918156</c:v>
                </c:pt>
                <c:pt idx="1285">
                  <c:v>131.04724513243627</c:v>
                </c:pt>
                <c:pt idx="1286">
                  <c:v>131.0753496717297</c:v>
                </c:pt>
                <c:pt idx="1287">
                  <c:v>131.10346023835416</c:v>
                </c:pt>
                <c:pt idx="1288">
                  <c:v>131.13157683360231</c:v>
                </c:pt>
                <c:pt idx="1289">
                  <c:v>131.15969945876702</c:v>
                </c:pt>
                <c:pt idx="1290">
                  <c:v>131.18782811514151</c:v>
                </c:pt>
                <c:pt idx="1291">
                  <c:v>131.21596280401923</c:v>
                </c:pt>
                <c:pt idx="1292">
                  <c:v>131.24410352669389</c:v>
                </c:pt>
                <c:pt idx="1293">
                  <c:v>131.27225028445952</c:v>
                </c:pt>
                <c:pt idx="1294">
                  <c:v>131.30040307861043</c:v>
                </c:pt>
                <c:pt idx="1295">
                  <c:v>131.32856191044115</c:v>
                </c:pt>
                <c:pt idx="1296">
                  <c:v>131.35672678124658</c:v>
                </c:pt>
                <c:pt idx="1297">
                  <c:v>131.3848976923218</c:v>
                </c:pt>
                <c:pt idx="1298">
                  <c:v>131.41307464496225</c:v>
                </c:pt>
                <c:pt idx="1299">
                  <c:v>131.44125764046359</c:v>
                </c:pt>
                <c:pt idx="1300">
                  <c:v>131.46944668012176</c:v>
                </c:pt>
                <c:pt idx="1301">
                  <c:v>131.49764176523303</c:v>
                </c:pt>
                <c:pt idx="1302">
                  <c:v>131.5258428970939</c:v>
                </c:pt>
                <c:pt idx="1303">
                  <c:v>131.55405007700116</c:v>
                </c:pt>
                <c:pt idx="1304">
                  <c:v>131.58226330625189</c:v>
                </c:pt>
                <c:pt idx="1305">
                  <c:v>131.61048258614343</c:v>
                </c:pt>
                <c:pt idx="1306">
                  <c:v>131.63870791797342</c:v>
                </c:pt>
                <c:pt idx="1307">
                  <c:v>131.66693930303975</c:v>
                </c:pt>
                <c:pt idx="1308">
                  <c:v>131.69517674264063</c:v>
                </c:pt>
                <c:pt idx="1309">
                  <c:v>131.72342023807448</c:v>
                </c:pt>
                <c:pt idx="1310">
                  <c:v>131.75166979064008</c:v>
                </c:pt>
                <c:pt idx="1311">
                  <c:v>131.77992540163643</c:v>
                </c:pt>
                <c:pt idx="1312">
                  <c:v>131.80818707236284</c:v>
                </c:pt>
                <c:pt idx="1313">
                  <c:v>131.83645480411886</c:v>
                </c:pt>
                <c:pt idx="1314">
                  <c:v>131.86472859820438</c:v>
                </c:pt>
                <c:pt idx="1315">
                  <c:v>131.8930084559195</c:v>
                </c:pt>
                <c:pt idx="1316">
                  <c:v>131.92129437856465</c:v>
                </c:pt>
                <c:pt idx="1317">
                  <c:v>131.94958636744053</c:v>
                </c:pt>
                <c:pt idx="1318">
                  <c:v>131.97788442384811</c:v>
                </c:pt>
                <c:pt idx="1319">
                  <c:v>132.00618854908862</c:v>
                </c:pt>
                <c:pt idx="1320">
                  <c:v>132.0344987444636</c:v>
                </c:pt>
                <c:pt idx="1321">
                  <c:v>131.83383349761894</c:v>
                </c:pt>
                <c:pt idx="1322">
                  <c:v>131.86210672953612</c:v>
                </c:pt>
                <c:pt idx="1323">
                  <c:v>131.89038602496237</c:v>
                </c:pt>
                <c:pt idx="1324">
                  <c:v>131.91867138519805</c:v>
                </c:pt>
                <c:pt idx="1325">
                  <c:v>131.94696281154384</c:v>
                </c:pt>
                <c:pt idx="1326">
                  <c:v>131.97526030530068</c:v>
                </c:pt>
                <c:pt idx="1327">
                  <c:v>132.0035638677698</c:v>
                </c:pt>
                <c:pt idx="1328">
                  <c:v>132.03187350025269</c:v>
                </c:pt>
                <c:pt idx="1329">
                  <c:v>132.06018920405114</c:v>
                </c:pt>
                <c:pt idx="1330">
                  <c:v>132.08851098046722</c:v>
                </c:pt>
                <c:pt idx="1331">
                  <c:v>132.11683883080326</c:v>
                </c:pt>
                <c:pt idx="1332">
                  <c:v>132.14517275636186</c:v>
                </c:pt>
                <c:pt idx="1333">
                  <c:v>132.17351275844595</c:v>
                </c:pt>
                <c:pt idx="1334">
                  <c:v>132.2018588383587</c:v>
                </c:pt>
                <c:pt idx="1335">
                  <c:v>132.23021099740356</c:v>
                </c:pt>
                <c:pt idx="1336">
                  <c:v>132.25856923688428</c:v>
                </c:pt>
                <c:pt idx="1337">
                  <c:v>132.28693355810489</c:v>
                </c:pt>
                <c:pt idx="1338">
                  <c:v>132.31530396236965</c:v>
                </c:pt>
                <c:pt idx="1339">
                  <c:v>132.34368045098316</c:v>
                </c:pt>
                <c:pt idx="1340">
                  <c:v>132.37206302525027</c:v>
                </c:pt>
                <c:pt idx="1341">
                  <c:v>132.40045168647612</c:v>
                </c:pt>
                <c:pt idx="1342">
                  <c:v>132.42884643596611</c:v>
                </c:pt>
                <c:pt idx="1343">
                  <c:v>132.45724727502596</c:v>
                </c:pt>
                <c:pt idx="1344">
                  <c:v>132.48565420496163</c:v>
                </c:pt>
                <c:pt idx="1345">
                  <c:v>132.51406722707938</c:v>
                </c:pt>
                <c:pt idx="1346">
                  <c:v>132.54248634268575</c:v>
                </c:pt>
                <c:pt idx="1347">
                  <c:v>132.57091155308754</c:v>
                </c:pt>
                <c:pt idx="1348">
                  <c:v>132.59934285959187</c:v>
                </c:pt>
                <c:pt idx="1349">
                  <c:v>132.62778026350611</c:v>
                </c:pt>
                <c:pt idx="1350">
                  <c:v>132.65622376613791</c:v>
                </c:pt>
                <c:pt idx="1351">
                  <c:v>132.68467336879522</c:v>
                </c:pt>
                <c:pt idx="1352">
                  <c:v>132.71312907278624</c:v>
                </c:pt>
                <c:pt idx="1353">
                  <c:v>132.7415908794195</c:v>
                </c:pt>
                <c:pt idx="1354">
                  <c:v>132.77005879000376</c:v>
                </c:pt>
                <c:pt idx="1355">
                  <c:v>132.79853280584805</c:v>
                </c:pt>
                <c:pt idx="1356">
                  <c:v>132.82701292826175</c:v>
                </c:pt>
                <c:pt idx="1357">
                  <c:v>132.85549915855449</c:v>
                </c:pt>
                <c:pt idx="1358">
                  <c:v>132.88399149803615</c:v>
                </c:pt>
                <c:pt idx="1359">
                  <c:v>132.91248994801691</c:v>
                </c:pt>
                <c:pt idx="1360">
                  <c:v>132.94099450980724</c:v>
                </c:pt>
                <c:pt idx="1361">
                  <c:v>132.96950518471789</c:v>
                </c:pt>
                <c:pt idx="1362">
                  <c:v>132.9980219740599</c:v>
                </c:pt>
                <c:pt idx="1363">
                  <c:v>133.02654487914455</c:v>
                </c:pt>
                <c:pt idx="1364">
                  <c:v>133.05507390128344</c:v>
                </c:pt>
                <c:pt idx="1365">
                  <c:v>133.08360904178843</c:v>
                </c:pt>
                <c:pt idx="1366">
                  <c:v>133.1121503019717</c:v>
                </c:pt>
                <c:pt idx="1367">
                  <c:v>133.14069768314567</c:v>
                </c:pt>
                <c:pt idx="1368">
                  <c:v>133.16925118662306</c:v>
                </c:pt>
                <c:pt idx="1369">
                  <c:v>133.19781081371684</c:v>
                </c:pt>
                <c:pt idx="1370">
                  <c:v>133.22637656574031</c:v>
                </c:pt>
                <c:pt idx="1371">
                  <c:v>133.25494844400703</c:v>
                </c:pt>
                <c:pt idx="1372">
                  <c:v>133.28352644983082</c:v>
                </c:pt>
                <c:pt idx="1373">
                  <c:v>133.31211058452584</c:v>
                </c:pt>
                <c:pt idx="1374">
                  <c:v>133.34070084940646</c:v>
                </c:pt>
                <c:pt idx="1375">
                  <c:v>133.36929724578738</c:v>
                </c:pt>
                <c:pt idx="1376">
                  <c:v>133.39789977498356</c:v>
                </c:pt>
                <c:pt idx="1377">
                  <c:v>133.42650843831026</c:v>
                </c:pt>
                <c:pt idx="1378">
                  <c:v>133.45512323708303</c:v>
                </c:pt>
                <c:pt idx="1379">
                  <c:v>133.48374417261766</c:v>
                </c:pt>
                <c:pt idx="1380">
                  <c:v>133.51237124623026</c:v>
                </c:pt>
                <c:pt idx="1381">
                  <c:v>133.5410044592372</c:v>
                </c:pt>
                <c:pt idx="1382">
                  <c:v>133.56964381295512</c:v>
                </c:pt>
                <c:pt idx="1383">
                  <c:v>133.598289308701</c:v>
                </c:pt>
                <c:pt idx="1384">
                  <c:v>133.62694094779204</c:v>
                </c:pt>
                <c:pt idx="1385">
                  <c:v>133.65559873154578</c:v>
                </c:pt>
                <c:pt idx="1386">
                  <c:v>133.68426266127997</c:v>
                </c:pt>
                <c:pt idx="1387">
                  <c:v>133.71293273831273</c:v>
                </c:pt>
                <c:pt idx="1388">
                  <c:v>133.74160896396239</c:v>
                </c:pt>
                <c:pt idx="1389">
                  <c:v>133.77029133954758</c:v>
                </c:pt>
                <c:pt idx="1390">
                  <c:v>133.79897986638724</c:v>
                </c:pt>
                <c:pt idx="1391">
                  <c:v>133.82767454580056</c:v>
                </c:pt>
                <c:pt idx="1392">
                  <c:v>133.85637537910705</c:v>
                </c:pt>
                <c:pt idx="1393">
                  <c:v>133.88508236762647</c:v>
                </c:pt>
                <c:pt idx="1394">
                  <c:v>133.91379551267886</c:v>
                </c:pt>
                <c:pt idx="1395">
                  <c:v>133.94251481558459</c:v>
                </c:pt>
                <c:pt idx="1396">
                  <c:v>133.97124027766424</c:v>
                </c:pt>
                <c:pt idx="1397">
                  <c:v>133.99997190023873</c:v>
                </c:pt>
                <c:pt idx="1398">
                  <c:v>134.02870968462926</c:v>
                </c:pt>
                <c:pt idx="1399">
                  <c:v>134.05745363215729</c:v>
                </c:pt>
                <c:pt idx="1400">
                  <c:v>134.08620374414457</c:v>
                </c:pt>
                <c:pt idx="1401">
                  <c:v>134.11496002191313</c:v>
                </c:pt>
                <c:pt idx="1402">
                  <c:v>134.14372246678531</c:v>
                </c:pt>
                <c:pt idx="1403">
                  <c:v>134.17249108008369</c:v>
                </c:pt>
                <c:pt idx="1404">
                  <c:v>134.20126586313117</c:v>
                </c:pt>
                <c:pt idx="1405">
                  <c:v>134.23004681725092</c:v>
                </c:pt>
                <c:pt idx="1406">
                  <c:v>134.2588339437664</c:v>
                </c:pt>
                <c:pt idx="1407">
                  <c:v>134.28762724400136</c:v>
                </c:pt>
                <c:pt idx="1408">
                  <c:v>134.3164267192798</c:v>
                </c:pt>
                <c:pt idx="1409">
                  <c:v>134.34523237092606</c:v>
                </c:pt>
                <c:pt idx="1410">
                  <c:v>134.37404420026468</c:v>
                </c:pt>
                <c:pt idx="1411">
                  <c:v>134.40286220862058</c:v>
                </c:pt>
                <c:pt idx="1412">
                  <c:v>134.43168639731888</c:v>
                </c:pt>
                <c:pt idx="1413">
                  <c:v>134.46051676768505</c:v>
                </c:pt>
                <c:pt idx="1414">
                  <c:v>134.4893533210448</c:v>
                </c:pt>
                <c:pt idx="1415">
                  <c:v>134.51819605872416</c:v>
                </c:pt>
                <c:pt idx="1416">
                  <c:v>134.54704498204941</c:v>
                </c:pt>
                <c:pt idx="1417">
                  <c:v>134.57590009234715</c:v>
                </c:pt>
                <c:pt idx="1418">
                  <c:v>134.60476139094425</c:v>
                </c:pt>
                <c:pt idx="1419">
                  <c:v>134.63362887916784</c:v>
                </c:pt>
                <c:pt idx="1420">
                  <c:v>134.66250255834535</c:v>
                </c:pt>
                <c:pt idx="1421">
                  <c:v>134.69138242980452</c:v>
                </c:pt>
                <c:pt idx="1422">
                  <c:v>134.72026849487332</c:v>
                </c:pt>
                <c:pt idx="1423">
                  <c:v>134.74916075488008</c:v>
                </c:pt>
                <c:pt idx="1424">
                  <c:v>134.77805921115333</c:v>
                </c:pt>
                <c:pt idx="1425">
                  <c:v>134.80696386502197</c:v>
                </c:pt>
                <c:pt idx="1426">
                  <c:v>134.83587471781513</c:v>
                </c:pt>
                <c:pt idx="1427">
                  <c:v>134.86479177086221</c:v>
                </c:pt>
                <c:pt idx="1428">
                  <c:v>134.89371502549295</c:v>
                </c:pt>
                <c:pt idx="1429">
                  <c:v>134.92264448303735</c:v>
                </c:pt>
                <c:pt idx="1430">
                  <c:v>134.9515801448257</c:v>
                </c:pt>
                <c:pt idx="1431">
                  <c:v>134.98052201218854</c:v>
                </c:pt>
                <c:pt idx="1432">
                  <c:v>135.00947008645676</c:v>
                </c:pt>
                <c:pt idx="1433">
                  <c:v>135.03842436896147</c:v>
                </c:pt>
                <c:pt idx="1434">
                  <c:v>135.06738486103413</c:v>
                </c:pt>
                <c:pt idx="1435">
                  <c:v>135.0963515640064</c:v>
                </c:pt>
                <c:pt idx="1436">
                  <c:v>135.12532447921032</c:v>
                </c:pt>
                <c:pt idx="1437">
                  <c:v>135.15430360797816</c:v>
                </c:pt>
                <c:pt idx="1438">
                  <c:v>135.18328895164248</c:v>
                </c:pt>
                <c:pt idx="1439">
                  <c:v>135.21228051153614</c:v>
                </c:pt>
                <c:pt idx="1440">
                  <c:v>135.24127828899228</c:v>
                </c:pt>
                <c:pt idx="1441">
                  <c:v>135.27028228534431</c:v>
                </c:pt>
                <c:pt idx="1442">
                  <c:v>135.29929250192598</c:v>
                </c:pt>
                <c:pt idx="1443">
                  <c:v>135.32830894007125</c:v>
                </c:pt>
                <c:pt idx="1444">
                  <c:v>135.35733160111442</c:v>
                </c:pt>
                <c:pt idx="1445">
                  <c:v>135.38636048639006</c:v>
                </c:pt>
                <c:pt idx="1446">
                  <c:v>135.41539559723302</c:v>
                </c:pt>
                <c:pt idx="1447">
                  <c:v>135.44443693497843</c:v>
                </c:pt>
                <c:pt idx="1448">
                  <c:v>135.47348450096175</c:v>
                </c:pt>
                <c:pt idx="1449">
                  <c:v>135.50253829651865</c:v>
                </c:pt>
                <c:pt idx="1450">
                  <c:v>135.53159832298516</c:v>
                </c:pt>
                <c:pt idx="1451">
                  <c:v>135.56066458169758</c:v>
                </c:pt>
                <c:pt idx="1452">
                  <c:v>135.58973707399247</c:v>
                </c:pt>
                <c:pt idx="1453">
                  <c:v>135.61881580120669</c:v>
                </c:pt>
                <c:pt idx="1454">
                  <c:v>135.64790076467739</c:v>
                </c:pt>
                <c:pt idx="1455">
                  <c:v>135.67699196574199</c:v>
                </c:pt>
                <c:pt idx="1456">
                  <c:v>135.70608940573825</c:v>
                </c:pt>
                <c:pt idx="1457">
                  <c:v>135.73519308600416</c:v>
                </c:pt>
                <c:pt idx="1458">
                  <c:v>135.764303007878</c:v>
                </c:pt>
                <c:pt idx="1459">
                  <c:v>135.79341917269835</c:v>
                </c:pt>
                <c:pt idx="1460">
                  <c:v>135.8225415818041</c:v>
                </c:pt>
                <c:pt idx="1461">
                  <c:v>135.8516702365344</c:v>
                </c:pt>
                <c:pt idx="1462">
                  <c:v>135.88080513822868</c:v>
                </c:pt>
                <c:pt idx="1463">
                  <c:v>135.90994628822668</c:v>
                </c:pt>
                <c:pt idx="1464">
                  <c:v>135.93909368786842</c:v>
                </c:pt>
                <c:pt idx="1465">
                  <c:v>135.96824733849422</c:v>
                </c:pt>
                <c:pt idx="1466">
                  <c:v>135.99740724144465</c:v>
                </c:pt>
                <c:pt idx="1467">
                  <c:v>136.02657339806061</c:v>
                </c:pt>
                <c:pt idx="1468">
                  <c:v>136.05574580968323</c:v>
                </c:pt>
                <c:pt idx="1469">
                  <c:v>136.084924477654</c:v>
                </c:pt>
                <c:pt idx="1470">
                  <c:v>136.11410940331467</c:v>
                </c:pt>
                <c:pt idx="1471">
                  <c:v>133.85316712757717</c:v>
                </c:pt>
                <c:pt idx="1472">
                  <c:v>133.88187342805136</c:v>
                </c:pt>
                <c:pt idx="1473">
                  <c:v>133.91058588491097</c:v>
                </c:pt>
                <c:pt idx="1474">
                  <c:v>133.93930449947632</c:v>
                </c:pt>
                <c:pt idx="1475">
                  <c:v>133.96802927306797</c:v>
                </c:pt>
                <c:pt idx="1476">
                  <c:v>133.99676020700682</c:v>
                </c:pt>
                <c:pt idx="1477">
                  <c:v>134.02549730261401</c:v>
                </c:pt>
                <c:pt idx="1478">
                  <c:v>134.05424056121097</c:v>
                </c:pt>
                <c:pt idx="1479">
                  <c:v>134.08298998411945</c:v>
                </c:pt>
                <c:pt idx="1480">
                  <c:v>134.11174557266142</c:v>
                </c:pt>
                <c:pt idx="1481">
                  <c:v>134.1405073281592</c:v>
                </c:pt>
                <c:pt idx="1482">
                  <c:v>134.16927525193535</c:v>
                </c:pt>
                <c:pt idx="1483">
                  <c:v>134.19804934531271</c:v>
                </c:pt>
                <c:pt idx="1484">
                  <c:v>134.22682960961444</c:v>
                </c:pt>
                <c:pt idx="1485">
                  <c:v>134.25561604616396</c:v>
                </c:pt>
                <c:pt idx="1486">
                  <c:v>134.284408656285</c:v>
                </c:pt>
                <c:pt idx="1487">
                  <c:v>134.3132074413015</c:v>
                </c:pt>
                <c:pt idx="1488">
                  <c:v>134.34201240253776</c:v>
                </c:pt>
                <c:pt idx="1489">
                  <c:v>134.37082354131834</c:v>
                </c:pt>
                <c:pt idx="1490">
                  <c:v>134.3996408589681</c:v>
                </c:pt>
                <c:pt idx="1491">
                  <c:v>134.42846435681216</c:v>
                </c:pt>
                <c:pt idx="1492">
                  <c:v>134.45729403617591</c:v>
                </c:pt>
                <c:pt idx="1493">
                  <c:v>134.48612989838506</c:v>
                </c:pt>
                <c:pt idx="1494">
                  <c:v>134.51497194476559</c:v>
                </c:pt>
                <c:pt idx="1495">
                  <c:v>134.54382017664375</c:v>
                </c:pt>
                <c:pt idx="1496">
                  <c:v>134.57267459534611</c:v>
                </c:pt>
                <c:pt idx="1497">
                  <c:v>134.6015352021995</c:v>
                </c:pt>
                <c:pt idx="1498">
                  <c:v>134.63040199853103</c:v>
                </c:pt>
                <c:pt idx="1499">
                  <c:v>134.65927498566811</c:v>
                </c:pt>
                <c:pt idx="1500">
                  <c:v>134.6881541649384</c:v>
                </c:pt>
                <c:pt idx="1501">
                  <c:v>134.7170395376699</c:v>
                </c:pt>
                <c:pt idx="1502">
                  <c:v>134.74593110519086</c:v>
                </c:pt>
                <c:pt idx="1503">
                  <c:v>134.77482886882984</c:v>
                </c:pt>
                <c:pt idx="1504">
                  <c:v>134.80373282991565</c:v>
                </c:pt>
                <c:pt idx="1505">
                  <c:v>134.83264298977738</c:v>
                </c:pt>
                <c:pt idx="1506">
                  <c:v>134.86155934974445</c:v>
                </c:pt>
                <c:pt idx="1507">
                  <c:v>134.89048191114654</c:v>
                </c:pt>
                <c:pt idx="1508">
                  <c:v>134.9194106753136</c:v>
                </c:pt>
                <c:pt idx="1509">
                  <c:v>134.94834564357592</c:v>
                </c:pt>
                <c:pt idx="1510">
                  <c:v>134.977286817264</c:v>
                </c:pt>
                <c:pt idx="1511">
                  <c:v>135.00623419770869</c:v>
                </c:pt>
                <c:pt idx="1512">
                  <c:v>135.03518778624107</c:v>
                </c:pt>
                <c:pt idx="1513">
                  <c:v>135.06414758419254</c:v>
                </c:pt>
                <c:pt idx="1514">
                  <c:v>135.09311359289481</c:v>
                </c:pt>
                <c:pt idx="1515">
                  <c:v>135.1220858136798</c:v>
                </c:pt>
                <c:pt idx="1516">
                  <c:v>135.15106424787979</c:v>
                </c:pt>
                <c:pt idx="1517">
                  <c:v>135.18004889682732</c:v>
                </c:pt>
                <c:pt idx="1518">
                  <c:v>135.20903976185519</c:v>
                </c:pt>
                <c:pt idx="1519">
                  <c:v>135.23803684429652</c:v>
                </c:pt>
                <c:pt idx="1520">
                  <c:v>135.26704014548469</c:v>
                </c:pt>
                <c:pt idx="1521">
                  <c:v>135.29604966675339</c:v>
                </c:pt>
                <c:pt idx="1522">
                  <c:v>135.32506540943658</c:v>
                </c:pt>
                <c:pt idx="1523">
                  <c:v>135.35408737486853</c:v>
                </c:pt>
                <c:pt idx="1524">
                  <c:v>135.38311556438376</c:v>
                </c:pt>
                <c:pt idx="1525">
                  <c:v>135.41214997931709</c:v>
                </c:pt>
                <c:pt idx="1526">
                  <c:v>135.44119062100364</c:v>
                </c:pt>
                <c:pt idx="1527">
                  <c:v>135.4702374907788</c:v>
                </c:pt>
                <c:pt idx="1528">
                  <c:v>135.49929058997827</c:v>
                </c:pt>
                <c:pt idx="1529">
                  <c:v>135.52834991993799</c:v>
                </c:pt>
                <c:pt idx="1530">
                  <c:v>135.55741548199424</c:v>
                </c:pt>
                <c:pt idx="1531">
                  <c:v>135.58648727748357</c:v>
                </c:pt>
                <c:pt idx="1532">
                  <c:v>135.61556530774277</c:v>
                </c:pt>
                <c:pt idx="1533">
                  <c:v>135.644649574109</c:v>
                </c:pt>
                <c:pt idx="1534">
                  <c:v>135.67374007791963</c:v>
                </c:pt>
                <c:pt idx="1535">
                  <c:v>135.70283682051237</c:v>
                </c:pt>
                <c:pt idx="1536">
                  <c:v>135.7319398032252</c:v>
                </c:pt>
                <c:pt idx="1537">
                  <c:v>135.76104902739635</c:v>
                </c:pt>
                <c:pt idx="1538">
                  <c:v>135.7901644943644</c:v>
                </c:pt>
                <c:pt idx="1539">
                  <c:v>135.81928620546819</c:v>
                </c:pt>
                <c:pt idx="1540">
                  <c:v>135.84841416204682</c:v>
                </c:pt>
                <c:pt idx="1541">
                  <c:v>135.87754836543971</c:v>
                </c:pt>
                <c:pt idx="1542">
                  <c:v>135.90668881698656</c:v>
                </c:pt>
                <c:pt idx="1543">
                  <c:v>135.93583551802737</c:v>
                </c:pt>
                <c:pt idx="1544">
                  <c:v>135.96498846990241</c:v>
                </c:pt>
                <c:pt idx="1545">
                  <c:v>135.99414767395223</c:v>
                </c:pt>
                <c:pt idx="1546">
                  <c:v>136.02331313151768</c:v>
                </c:pt>
                <c:pt idx="1547">
                  <c:v>136.05248484393991</c:v>
                </c:pt>
                <c:pt idx="1548">
                  <c:v>136.08166281256032</c:v>
                </c:pt>
                <c:pt idx="1549">
                  <c:v>136.11084703872064</c:v>
                </c:pt>
                <c:pt idx="1550">
                  <c:v>136.14003752376286</c:v>
                </c:pt>
                <c:pt idx="1551">
                  <c:v>136.16923426902926</c:v>
                </c:pt>
                <c:pt idx="1552">
                  <c:v>136.19843727586243</c:v>
                </c:pt>
                <c:pt idx="1553">
                  <c:v>136.22764654560521</c:v>
                </c:pt>
                <c:pt idx="1554">
                  <c:v>136.25686207960078</c:v>
                </c:pt>
                <c:pt idx="1555">
                  <c:v>136.28608387919255</c:v>
                </c:pt>
                <c:pt idx="1556">
                  <c:v>136.31531194572426</c:v>
                </c:pt>
                <c:pt idx="1557">
                  <c:v>136.34454628053993</c:v>
                </c:pt>
                <c:pt idx="1558">
                  <c:v>136.37378688498387</c:v>
                </c:pt>
                <c:pt idx="1559">
                  <c:v>136.40303376040066</c:v>
                </c:pt>
                <c:pt idx="1560">
                  <c:v>136.43228690813518</c:v>
                </c:pt>
                <c:pt idx="1561">
                  <c:v>136.46154632953261</c:v>
                </c:pt>
                <c:pt idx="1562">
                  <c:v>136.4908120259384</c:v>
                </c:pt>
                <c:pt idx="1563">
                  <c:v>136.52008399869828</c:v>
                </c:pt>
                <c:pt idx="1564">
                  <c:v>136.54936224915829</c:v>
                </c:pt>
                <c:pt idx="1565">
                  <c:v>136.57864677866476</c:v>
                </c:pt>
                <c:pt idx="1566">
                  <c:v>136.60793758856431</c:v>
                </c:pt>
                <c:pt idx="1567">
                  <c:v>136.63723468020382</c:v>
                </c:pt>
                <c:pt idx="1568">
                  <c:v>136.6665380549305</c:v>
                </c:pt>
                <c:pt idx="1569">
                  <c:v>136.69584771409183</c:v>
                </c:pt>
                <c:pt idx="1570">
                  <c:v>136.72516365903556</c:v>
                </c:pt>
                <c:pt idx="1571">
                  <c:v>136.75448589110974</c:v>
                </c:pt>
                <c:pt idx="1572">
                  <c:v>136.78381441166272</c:v>
                </c:pt>
                <c:pt idx="1573">
                  <c:v>136.81314922204314</c:v>
                </c:pt>
                <c:pt idx="1574">
                  <c:v>136.84249032359992</c:v>
                </c:pt>
                <c:pt idx="1575">
                  <c:v>136.8718377176823</c:v>
                </c:pt>
                <c:pt idx="1576">
                  <c:v>136.90119140563974</c:v>
                </c:pt>
                <c:pt idx="1577">
                  <c:v>136.93055138882204</c:v>
                </c:pt>
                <c:pt idx="1578">
                  <c:v>136.95991766857929</c:v>
                </c:pt>
                <c:pt idx="1579">
                  <c:v>136.98929024626187</c:v>
                </c:pt>
                <c:pt idx="1580">
                  <c:v>137.01866912322043</c:v>
                </c:pt>
                <c:pt idx="1581">
                  <c:v>137.04805430080592</c:v>
                </c:pt>
                <c:pt idx="1582">
                  <c:v>137.07744578036957</c:v>
                </c:pt>
                <c:pt idx="1583">
                  <c:v>137.10684356326294</c:v>
                </c:pt>
                <c:pt idx="1584">
                  <c:v>137.13624765083782</c:v>
                </c:pt>
                <c:pt idx="1585">
                  <c:v>137.16565804444633</c:v>
                </c:pt>
                <c:pt idx="1586">
                  <c:v>137.19507474544088</c:v>
                </c:pt>
                <c:pt idx="1587">
                  <c:v>137.22449775517413</c:v>
                </c:pt>
                <c:pt idx="1588">
                  <c:v>137.25392707499907</c:v>
                </c:pt>
                <c:pt idx="1589">
                  <c:v>137.28336270626897</c:v>
                </c:pt>
                <c:pt idx="1590">
                  <c:v>137.3128046503374</c:v>
                </c:pt>
                <c:pt idx="1591">
                  <c:v>136.04380504248081</c:v>
                </c:pt>
                <c:pt idx="1592">
                  <c:v>136.07298114962126</c:v>
                </c:pt>
                <c:pt idx="1593">
                  <c:v>136.10216351390238</c:v>
                </c:pt>
                <c:pt idx="1594">
                  <c:v>136.13135213666612</c:v>
                </c:pt>
                <c:pt idx="1595">
                  <c:v>136.16054701925466</c:v>
                </c:pt>
                <c:pt idx="1596">
                  <c:v>136.18974816301048</c:v>
                </c:pt>
                <c:pt idx="1597">
                  <c:v>136.21895556927637</c:v>
                </c:pt>
                <c:pt idx="1598">
                  <c:v>136.24816923939539</c:v>
                </c:pt>
                <c:pt idx="1599">
                  <c:v>136.27738917471092</c:v>
                </c:pt>
                <c:pt idx="1600">
                  <c:v>136.30661537656655</c:v>
                </c:pt>
                <c:pt idx="1601">
                  <c:v>136.33584784630625</c:v>
                </c:pt>
                <c:pt idx="1602">
                  <c:v>136.36508658527421</c:v>
                </c:pt>
                <c:pt idx="1603">
                  <c:v>136.39433159481496</c:v>
                </c:pt>
                <c:pt idx="1604">
                  <c:v>136.42358287627329</c:v>
                </c:pt>
                <c:pt idx="1605">
                  <c:v>136.45284043099426</c:v>
                </c:pt>
                <c:pt idx="1606">
                  <c:v>136.48210426032327</c:v>
                </c:pt>
                <c:pt idx="1607">
                  <c:v>136.51137436560597</c:v>
                </c:pt>
                <c:pt idx="1608">
                  <c:v>136.54065074818831</c:v>
                </c:pt>
                <c:pt idx="1609">
                  <c:v>136.56993340941651</c:v>
                </c:pt>
                <c:pt idx="1610">
                  <c:v>136.59922235063712</c:v>
                </c:pt>
                <c:pt idx="1611">
                  <c:v>136.62851757319694</c:v>
                </c:pt>
                <c:pt idx="1612">
                  <c:v>136.65781907844308</c:v>
                </c:pt>
                <c:pt idx="1613">
                  <c:v>136.68712686772292</c:v>
                </c:pt>
                <c:pt idx="1614">
                  <c:v>136.71644094238414</c:v>
                </c:pt>
                <c:pt idx="1615">
                  <c:v>136.74576130377471</c:v>
                </c:pt>
                <c:pt idx="1616">
                  <c:v>136.77508795324292</c:v>
                </c:pt>
                <c:pt idx="1617">
                  <c:v>136.80442089213727</c:v>
                </c:pt>
                <c:pt idx="1618">
                  <c:v>136.83376012180662</c:v>
                </c:pt>
                <c:pt idx="1619">
                  <c:v>136.86310564360011</c:v>
                </c:pt>
                <c:pt idx="1620">
                  <c:v>136.89245745886714</c:v>
                </c:pt>
                <c:pt idx="1621">
                  <c:v>133.00225265224418</c:v>
                </c:pt>
                <c:pt idx="1622">
                  <c:v>133.03077646464482</c:v>
                </c:pt>
                <c:pt idx="1623">
                  <c:v>133.05930639429428</c:v>
                </c:pt>
                <c:pt idx="1624">
                  <c:v>133.0878424425045</c:v>
                </c:pt>
                <c:pt idx="1625">
                  <c:v>133.11638461058763</c:v>
                </c:pt>
                <c:pt idx="1626">
                  <c:v>133.14493289985617</c:v>
                </c:pt>
                <c:pt idx="1627">
                  <c:v>133.17348731162289</c:v>
                </c:pt>
                <c:pt idx="1628">
                  <c:v>133.20204784720082</c:v>
                </c:pt>
                <c:pt idx="1629">
                  <c:v>133.23061450790325</c:v>
                </c:pt>
                <c:pt idx="1630">
                  <c:v>133.2591872950438</c:v>
                </c:pt>
                <c:pt idx="1631">
                  <c:v>133.28776620993636</c:v>
                </c:pt>
                <c:pt idx="1632">
                  <c:v>133.31635125389508</c:v>
                </c:pt>
                <c:pt idx="1633">
                  <c:v>133.34494242823442</c:v>
                </c:pt>
                <c:pt idx="1634">
                  <c:v>133.37353973426909</c:v>
                </c:pt>
                <c:pt idx="1635">
                  <c:v>133.40214317331413</c:v>
                </c:pt>
                <c:pt idx="1636">
                  <c:v>133.43075274668482</c:v>
                </c:pt>
                <c:pt idx="1637">
                  <c:v>133.4593684556967</c:v>
                </c:pt>
                <c:pt idx="1638">
                  <c:v>133.48799030166569</c:v>
                </c:pt>
                <c:pt idx="1639">
                  <c:v>133.51661828590787</c:v>
                </c:pt>
                <c:pt idx="1640">
                  <c:v>133.5452524097397</c:v>
                </c:pt>
                <c:pt idx="1641">
                  <c:v>133.57389267447786</c:v>
                </c:pt>
                <c:pt idx="1642">
                  <c:v>133.60253908143935</c:v>
                </c:pt>
                <c:pt idx="1643">
                  <c:v>133.63119163194142</c:v>
                </c:pt>
                <c:pt idx="1644">
                  <c:v>133.65985032730165</c:v>
                </c:pt>
                <c:pt idx="1645">
                  <c:v>133.68851516883785</c:v>
                </c:pt>
                <c:pt idx="1646">
                  <c:v>133.71718615786816</c:v>
                </c:pt>
                <c:pt idx="1647">
                  <c:v>133.74586329571093</c:v>
                </c:pt>
                <c:pt idx="1648">
                  <c:v>133.7745465836849</c:v>
                </c:pt>
                <c:pt idx="1649">
                  <c:v>133.80323602310898</c:v>
                </c:pt>
                <c:pt idx="1650">
                  <c:v>133.83193161530247</c:v>
                </c:pt>
                <c:pt idx="1651">
                  <c:v>133.86063336158486</c:v>
                </c:pt>
                <c:pt idx="1652">
                  <c:v>133.88934126327598</c:v>
                </c:pt>
                <c:pt idx="1653">
                  <c:v>133.91805532169593</c:v>
                </c:pt>
                <c:pt idx="1654">
                  <c:v>133.94677553816507</c:v>
                </c:pt>
                <c:pt idx="1655">
                  <c:v>133.97550191400407</c:v>
                </c:pt>
                <c:pt idx="1656">
                  <c:v>134.00423445053389</c:v>
                </c:pt>
                <c:pt idx="1657">
                  <c:v>134.03297314907573</c:v>
                </c:pt>
                <c:pt idx="1658">
                  <c:v>134.06171801095113</c:v>
                </c:pt>
                <c:pt idx="1659">
                  <c:v>134.09046903748185</c:v>
                </c:pt>
                <c:pt idx="1660">
                  <c:v>134.11922622999001</c:v>
                </c:pt>
                <c:pt idx="1661">
                  <c:v>134.14798958979796</c:v>
                </c:pt>
                <c:pt idx="1662">
                  <c:v>134.17675911822835</c:v>
                </c:pt>
                <c:pt idx="1663">
                  <c:v>134.20553481660409</c:v>
                </c:pt>
                <c:pt idx="1664">
                  <c:v>134.23431668624841</c:v>
                </c:pt>
                <c:pt idx="1665">
                  <c:v>134.26310472848479</c:v>
                </c:pt>
                <c:pt idx="1666">
                  <c:v>134.29189894463704</c:v>
                </c:pt>
                <c:pt idx="1667">
                  <c:v>134.32069933602921</c:v>
                </c:pt>
                <c:pt idx="1668">
                  <c:v>134.34950590398563</c:v>
                </c:pt>
                <c:pt idx="1669">
                  <c:v>134.37831864983096</c:v>
                </c:pt>
                <c:pt idx="1670">
                  <c:v>134.4071375748901</c:v>
                </c:pt>
                <c:pt idx="1671">
                  <c:v>134.43596268048827</c:v>
                </c:pt>
                <c:pt idx="1672">
                  <c:v>134.46479396795092</c:v>
                </c:pt>
                <c:pt idx="1673">
                  <c:v>134.49363143860387</c:v>
                </c:pt>
                <c:pt idx="1674">
                  <c:v>134.52247509377312</c:v>
                </c:pt>
                <c:pt idx="1675">
                  <c:v>134.55132493478504</c:v>
                </c:pt>
                <c:pt idx="1676">
                  <c:v>134.58018096296627</c:v>
                </c:pt>
                <c:pt idx="1677">
                  <c:v>134.60904317964366</c:v>
                </c:pt>
                <c:pt idx="1678">
                  <c:v>134.63791158614447</c:v>
                </c:pt>
                <c:pt idx="1679">
                  <c:v>134.66678618379612</c:v>
                </c:pt>
                <c:pt idx="1680">
                  <c:v>134.69566697392639</c:v>
                </c:pt>
                <c:pt idx="1681">
                  <c:v>134.72455395786335</c:v>
                </c:pt>
                <c:pt idx="1682">
                  <c:v>134.75344713693531</c:v>
                </c:pt>
                <c:pt idx="1683">
                  <c:v>134.78234651247087</c:v>
                </c:pt>
                <c:pt idx="1684">
                  <c:v>134.81125208579897</c:v>
                </c:pt>
                <c:pt idx="1685">
                  <c:v>134.84016385824876</c:v>
                </c:pt>
                <c:pt idx="1686">
                  <c:v>134.86908183114971</c:v>
                </c:pt>
                <c:pt idx="1687">
                  <c:v>134.8980060058316</c:v>
                </c:pt>
                <c:pt idx="1688">
                  <c:v>134.92693638362448</c:v>
                </c:pt>
                <c:pt idx="1689">
                  <c:v>134.95587296585865</c:v>
                </c:pt>
                <c:pt idx="1690">
                  <c:v>134.98481575386472</c:v>
                </c:pt>
                <c:pt idx="1691">
                  <c:v>135.01376474897359</c:v>
                </c:pt>
                <c:pt idx="1692">
                  <c:v>135.04271995251645</c:v>
                </c:pt>
                <c:pt idx="1693">
                  <c:v>135.07168136582476</c:v>
                </c:pt>
                <c:pt idx="1694">
                  <c:v>135.10064899023027</c:v>
                </c:pt>
                <c:pt idx="1695">
                  <c:v>135.12962282706505</c:v>
                </c:pt>
                <c:pt idx="1696">
                  <c:v>135.15860287766139</c:v>
                </c:pt>
                <c:pt idx="1697">
                  <c:v>135.18758914335191</c:v>
                </c:pt>
                <c:pt idx="1698">
                  <c:v>135.2165816254695</c:v>
                </c:pt>
                <c:pt idx="1699">
                  <c:v>135.24558032534736</c:v>
                </c:pt>
                <c:pt idx="1700">
                  <c:v>135.27458524431896</c:v>
                </c:pt>
                <c:pt idx="1701">
                  <c:v>135.30359638371803</c:v>
                </c:pt>
                <c:pt idx="1702">
                  <c:v>135.33261374487861</c:v>
                </c:pt>
                <c:pt idx="1703">
                  <c:v>135.36163732913505</c:v>
                </c:pt>
                <c:pt idx="1704">
                  <c:v>135.39066713782194</c:v>
                </c:pt>
                <c:pt idx="1705">
                  <c:v>135.41970317227418</c:v>
                </c:pt>
                <c:pt idx="1706">
                  <c:v>135.44874543382699</c:v>
                </c:pt>
                <c:pt idx="1707">
                  <c:v>135.4777939238158</c:v>
                </c:pt>
                <c:pt idx="1708">
                  <c:v>135.50684864357638</c:v>
                </c:pt>
                <c:pt idx="1709">
                  <c:v>135.53590959444477</c:v>
                </c:pt>
                <c:pt idx="1710">
                  <c:v>135.56497677775732</c:v>
                </c:pt>
                <c:pt idx="1711">
                  <c:v>135.59405019485061</c:v>
                </c:pt>
                <c:pt idx="1712">
                  <c:v>135.62312984706156</c:v>
                </c:pt>
                <c:pt idx="1713">
                  <c:v>135.65221573572737</c:v>
                </c:pt>
                <c:pt idx="1714">
                  <c:v>135.68130786218552</c:v>
                </c:pt>
                <c:pt idx="1715">
                  <c:v>135.71040622777377</c:v>
                </c:pt>
                <c:pt idx="1716">
                  <c:v>135.73951083383017</c:v>
                </c:pt>
                <c:pt idx="1717">
                  <c:v>135.76862168169305</c:v>
                </c:pt>
                <c:pt idx="1718">
                  <c:v>135.79773877270102</c:v>
                </c:pt>
                <c:pt idx="1719">
                  <c:v>135.82686210819304</c:v>
                </c:pt>
                <c:pt idx="1720">
                  <c:v>135.85599168950827</c:v>
                </c:pt>
                <c:pt idx="1721">
                  <c:v>135.88512751798621</c:v>
                </c:pt>
                <c:pt idx="1722">
                  <c:v>135.91426959496661</c:v>
                </c:pt>
                <c:pt idx="1723">
                  <c:v>135.94341792178957</c:v>
                </c:pt>
                <c:pt idx="1724">
                  <c:v>135.97257249979543</c:v>
                </c:pt>
                <c:pt idx="1725">
                  <c:v>136.00173333032481</c:v>
                </c:pt>
                <c:pt idx="1726">
                  <c:v>136.03090041471864</c:v>
                </c:pt>
                <c:pt idx="1727">
                  <c:v>136.06007375431813</c:v>
                </c:pt>
                <c:pt idx="1728">
                  <c:v>136.08925335046476</c:v>
                </c:pt>
                <c:pt idx="1729">
                  <c:v>136.11843920450033</c:v>
                </c:pt>
                <c:pt idx="1730">
                  <c:v>136.14763131776695</c:v>
                </c:pt>
                <c:pt idx="1731">
                  <c:v>136.17682969160694</c:v>
                </c:pt>
                <c:pt idx="1732">
                  <c:v>136.20603432736294</c:v>
                </c:pt>
                <c:pt idx="1733">
                  <c:v>136.23524522637791</c:v>
                </c:pt>
                <c:pt idx="1734">
                  <c:v>136.26446238999509</c:v>
                </c:pt>
                <c:pt idx="1735">
                  <c:v>136.29368581955796</c:v>
                </c:pt>
                <c:pt idx="1736">
                  <c:v>136.32291551641035</c:v>
                </c:pt>
                <c:pt idx="1737">
                  <c:v>136.35215148189633</c:v>
                </c:pt>
                <c:pt idx="1738">
                  <c:v>136.38139371736028</c:v>
                </c:pt>
                <c:pt idx="1739">
                  <c:v>136.4106422241469</c:v>
                </c:pt>
                <c:pt idx="1740">
                  <c:v>136.43989700360109</c:v>
                </c:pt>
                <c:pt idx="1741">
                  <c:v>136.46915805706814</c:v>
                </c:pt>
                <c:pt idx="1742">
                  <c:v>136.49842538589357</c:v>
                </c:pt>
                <c:pt idx="1743">
                  <c:v>136.52769899142316</c:v>
                </c:pt>
                <c:pt idx="1744">
                  <c:v>136.55697887500307</c:v>
                </c:pt>
                <c:pt idx="1745">
                  <c:v>136.58626503797967</c:v>
                </c:pt>
                <c:pt idx="1746">
                  <c:v>136.61555748169965</c:v>
                </c:pt>
                <c:pt idx="1747">
                  <c:v>136.64485620751</c:v>
                </c:pt>
                <c:pt idx="1748">
                  <c:v>136.67416121675799</c:v>
                </c:pt>
                <c:pt idx="1749">
                  <c:v>136.70347251079116</c:v>
                </c:pt>
                <c:pt idx="1750">
                  <c:v>136.73279009095734</c:v>
                </c:pt>
                <c:pt idx="1751">
                  <c:v>136.76211395860466</c:v>
                </c:pt>
                <c:pt idx="1752">
                  <c:v>136.79144411508156</c:v>
                </c:pt>
                <c:pt idx="1753">
                  <c:v>136.82078056173674</c:v>
                </c:pt>
                <c:pt idx="1754">
                  <c:v>136.8501232999192</c:v>
                </c:pt>
                <c:pt idx="1755">
                  <c:v>136.87947233097825</c:v>
                </c:pt>
                <c:pt idx="1756">
                  <c:v>136.90882765626341</c:v>
                </c:pt>
                <c:pt idx="1757">
                  <c:v>136.93818927712459</c:v>
                </c:pt>
                <c:pt idx="1758">
                  <c:v>136.96755719491196</c:v>
                </c:pt>
                <c:pt idx="1759">
                  <c:v>136.99693141097595</c:v>
                </c:pt>
                <c:pt idx="1760">
                  <c:v>137.02631192666726</c:v>
                </c:pt>
                <c:pt idx="1761">
                  <c:v>137.05569874333696</c:v>
                </c:pt>
                <c:pt idx="1762">
                  <c:v>137.08509186233636</c:v>
                </c:pt>
                <c:pt idx="1763">
                  <c:v>137.11449128501704</c:v>
                </c:pt>
                <c:pt idx="1764">
                  <c:v>137.14389701273092</c:v>
                </c:pt>
                <c:pt idx="1765">
                  <c:v>137.17330904683016</c:v>
                </c:pt>
                <c:pt idx="1766">
                  <c:v>137.20272738866726</c:v>
                </c:pt>
                <c:pt idx="1767">
                  <c:v>137.23215203959498</c:v>
                </c:pt>
                <c:pt idx="1768">
                  <c:v>137.26158300096637</c:v>
                </c:pt>
                <c:pt idx="1769">
                  <c:v>137.29102027413475</c:v>
                </c:pt>
                <c:pt idx="1770">
                  <c:v>137.3204638604538</c:v>
                </c:pt>
                <c:pt idx="1771">
                  <c:v>140.21143300849931</c:v>
                </c:pt>
                <c:pt idx="1772">
                  <c:v>140.24150290981157</c:v>
                </c:pt>
                <c:pt idx="1773">
                  <c:v>140.27157925994862</c:v>
                </c:pt>
                <c:pt idx="1774">
                  <c:v>140.30166206029347</c:v>
                </c:pt>
                <c:pt idx="1775">
                  <c:v>140.33175131222944</c:v>
                </c:pt>
                <c:pt idx="1776">
                  <c:v>140.36184701714018</c:v>
                </c:pt>
                <c:pt idx="1777">
                  <c:v>140.39194917640955</c:v>
                </c:pt>
                <c:pt idx="1778">
                  <c:v>140.42205779142182</c:v>
                </c:pt>
                <c:pt idx="1779">
                  <c:v>140.45217286356146</c:v>
                </c:pt>
                <c:pt idx="1780">
                  <c:v>140.48229439421326</c:v>
                </c:pt>
                <c:pt idx="1781">
                  <c:v>140.51242238476235</c:v>
                </c:pt>
                <c:pt idx="1782">
                  <c:v>140.54255683659409</c:v>
                </c:pt>
                <c:pt idx="1783">
                  <c:v>140.57269775109421</c:v>
                </c:pt>
                <c:pt idx="1784">
                  <c:v>140.60284512964867</c:v>
                </c:pt>
                <c:pt idx="1785">
                  <c:v>140.63299897364379</c:v>
                </c:pt>
                <c:pt idx="1786">
                  <c:v>140.66315928446613</c:v>
                </c:pt>
                <c:pt idx="1787">
                  <c:v>140.69332606350261</c:v>
                </c:pt>
                <c:pt idx="1788">
                  <c:v>140.72349931214038</c:v>
                </c:pt>
                <c:pt idx="1789">
                  <c:v>140.75367903176692</c:v>
                </c:pt>
                <c:pt idx="1790">
                  <c:v>140.78386522376999</c:v>
                </c:pt>
                <c:pt idx="1791">
                  <c:v>140.81405788953771</c:v>
                </c:pt>
                <c:pt idx="1792">
                  <c:v>140.84425703045841</c:v>
                </c:pt>
                <c:pt idx="1793">
                  <c:v>140.87446264792075</c:v>
                </c:pt>
                <c:pt idx="1794">
                  <c:v>140.90467474331373</c:v>
                </c:pt>
                <c:pt idx="1795">
                  <c:v>140.93489331802661</c:v>
                </c:pt>
                <c:pt idx="1796">
                  <c:v>140.96511837344895</c:v>
                </c:pt>
                <c:pt idx="1797">
                  <c:v>140.99534991097059</c:v>
                </c:pt>
                <c:pt idx="1798">
                  <c:v>141.0255879319817</c:v>
                </c:pt>
                <c:pt idx="1799">
                  <c:v>141.05583243787274</c:v>
                </c:pt>
                <c:pt idx="1800">
                  <c:v>141.08608343003445</c:v>
                </c:pt>
                <c:pt idx="1801">
                  <c:v>142.83512695992545</c:v>
                </c:pt>
                <c:pt idx="1802">
                  <c:v>142.86575954158766</c:v>
                </c:pt>
                <c:pt idx="1803">
                  <c:v>142.89639869274771</c:v>
                </c:pt>
                <c:pt idx="1804">
                  <c:v>142.9270444148145</c:v>
                </c:pt>
                <c:pt idx="1805">
                  <c:v>142.95769670919725</c:v>
                </c:pt>
                <c:pt idx="1806">
                  <c:v>142.98835557730547</c:v>
                </c:pt>
                <c:pt idx="1807">
                  <c:v>143.01902102054896</c:v>
                </c:pt>
                <c:pt idx="1808">
                  <c:v>143.04969304033784</c:v>
                </c:pt>
                <c:pt idx="1809">
                  <c:v>143.08037163808251</c:v>
                </c:pt>
                <c:pt idx="1810">
                  <c:v>143.11105681519368</c:v>
                </c:pt>
                <c:pt idx="1811">
                  <c:v>143.14174857308237</c:v>
                </c:pt>
                <c:pt idx="1812">
                  <c:v>143.17244691315992</c:v>
                </c:pt>
                <c:pt idx="1813">
                  <c:v>143.20315183683795</c:v>
                </c:pt>
                <c:pt idx="1814">
                  <c:v>143.23386334552836</c:v>
                </c:pt>
                <c:pt idx="1815">
                  <c:v>143.26458144064341</c:v>
                </c:pt>
                <c:pt idx="1816">
                  <c:v>143.29530612359562</c:v>
                </c:pt>
                <c:pt idx="1817">
                  <c:v>143.32603739579784</c:v>
                </c:pt>
                <c:pt idx="1818">
                  <c:v>143.35677525866319</c:v>
                </c:pt>
                <c:pt idx="1819">
                  <c:v>143.38751971360512</c:v>
                </c:pt>
                <c:pt idx="1820">
                  <c:v>143.41827076203734</c:v>
                </c:pt>
                <c:pt idx="1821">
                  <c:v>143.44902840537392</c:v>
                </c:pt>
                <c:pt idx="1822">
                  <c:v>143.47979264502922</c:v>
                </c:pt>
                <c:pt idx="1823">
                  <c:v>143.51056348241789</c:v>
                </c:pt>
                <c:pt idx="1824">
                  <c:v>143.54134091895492</c:v>
                </c:pt>
                <c:pt idx="1825">
                  <c:v>143.57212495605552</c:v>
                </c:pt>
                <c:pt idx="1826">
                  <c:v>143.60291559513527</c:v>
                </c:pt>
                <c:pt idx="1827">
                  <c:v>143.63371283761003</c:v>
                </c:pt>
                <c:pt idx="1828">
                  <c:v>143.664516684896</c:v>
                </c:pt>
                <c:pt idx="1829">
                  <c:v>143.69532713840962</c:v>
                </c:pt>
                <c:pt idx="1830">
                  <c:v>143.7261441995677</c:v>
                </c:pt>
                <c:pt idx="1831">
                  <c:v>143.7569678697873</c:v>
                </c:pt>
                <c:pt idx="1832">
                  <c:v>143.78779815048583</c:v>
                </c:pt>
                <c:pt idx="1833">
                  <c:v>143.81863504308095</c:v>
                </c:pt>
                <c:pt idx="1834">
                  <c:v>143.84947854899067</c:v>
                </c:pt>
                <c:pt idx="1835">
                  <c:v>143.88032866963329</c:v>
                </c:pt>
                <c:pt idx="1836">
                  <c:v>143.91118540642742</c:v>
                </c:pt>
                <c:pt idx="1837">
                  <c:v>143.94204876079195</c:v>
                </c:pt>
                <c:pt idx="1838">
                  <c:v>143.97291873414611</c:v>
                </c:pt>
                <c:pt idx="1839">
                  <c:v>144.00379532790939</c:v>
                </c:pt>
                <c:pt idx="1840">
                  <c:v>144.03467854350163</c:v>
                </c:pt>
                <c:pt idx="1841">
                  <c:v>144.06556838234297</c:v>
                </c:pt>
                <c:pt idx="1842">
                  <c:v>144.09646484585383</c:v>
                </c:pt>
                <c:pt idx="1843">
                  <c:v>144.12736793545491</c:v>
                </c:pt>
                <c:pt idx="1844">
                  <c:v>144.15827765256728</c:v>
                </c:pt>
                <c:pt idx="1845">
                  <c:v>144.1891939986123</c:v>
                </c:pt>
                <c:pt idx="1846">
                  <c:v>144.22011697501159</c:v>
                </c:pt>
                <c:pt idx="1847">
                  <c:v>144.2510465831871</c:v>
                </c:pt>
                <c:pt idx="1848">
                  <c:v>144.28198282456111</c:v>
                </c:pt>
                <c:pt idx="1849">
                  <c:v>144.31292570055618</c:v>
                </c:pt>
                <c:pt idx="1850">
                  <c:v>144.34387521259515</c:v>
                </c:pt>
                <c:pt idx="1851">
                  <c:v>144.37483136210122</c:v>
                </c:pt>
                <c:pt idx="1852">
                  <c:v>144.40579415049785</c:v>
                </c:pt>
                <c:pt idx="1853">
                  <c:v>144.43676357920884</c:v>
                </c:pt>
                <c:pt idx="1854">
                  <c:v>144.46773964965828</c:v>
                </c:pt>
                <c:pt idx="1855">
                  <c:v>144.49872236327056</c:v>
                </c:pt>
                <c:pt idx="1856">
                  <c:v>144.52971172147036</c:v>
                </c:pt>
                <c:pt idx="1857">
                  <c:v>144.56070772568273</c:v>
                </c:pt>
                <c:pt idx="1858">
                  <c:v>144.59171037733296</c:v>
                </c:pt>
                <c:pt idx="1859">
                  <c:v>144.62271967784665</c:v>
                </c:pt>
                <c:pt idx="1860">
                  <c:v>144.65373562864974</c:v>
                </c:pt>
                <c:pt idx="1861">
                  <c:v>144.67944560641604</c:v>
                </c:pt>
                <c:pt idx="1862">
                  <c:v>144.71047372272545</c:v>
                </c:pt>
                <c:pt idx="1863">
                  <c:v>144.7415084933595</c:v>
                </c:pt>
                <c:pt idx="1864">
                  <c:v>144.7725499197453</c:v>
                </c:pt>
                <c:pt idx="1865">
                  <c:v>144.80359800331024</c:v>
                </c:pt>
                <c:pt idx="1866">
                  <c:v>144.83465274548206</c:v>
                </c:pt>
                <c:pt idx="1867">
                  <c:v>144.86571414768872</c:v>
                </c:pt>
                <c:pt idx="1868">
                  <c:v>144.89678221135858</c:v>
                </c:pt>
                <c:pt idx="1869">
                  <c:v>144.92785693792024</c:v>
                </c:pt>
                <c:pt idx="1870">
                  <c:v>144.95893832880265</c:v>
                </c:pt>
                <c:pt idx="1871">
                  <c:v>144.99002638543502</c:v>
                </c:pt>
                <c:pt idx="1872">
                  <c:v>145.02112110924693</c:v>
                </c:pt>
                <c:pt idx="1873">
                  <c:v>145.05222250166821</c:v>
                </c:pt>
                <c:pt idx="1874">
                  <c:v>145.08333056412903</c:v>
                </c:pt>
                <c:pt idx="1875">
                  <c:v>145.11444529805982</c:v>
                </c:pt>
                <c:pt idx="1876">
                  <c:v>145.14556670489139</c:v>
                </c:pt>
                <c:pt idx="1877">
                  <c:v>145.17669478605481</c:v>
                </c:pt>
                <c:pt idx="1878">
                  <c:v>145.20782954298144</c:v>
                </c:pt>
                <c:pt idx="1879">
                  <c:v>145.23897097710301</c:v>
                </c:pt>
                <c:pt idx="1880">
                  <c:v>145.27011908985148</c:v>
                </c:pt>
                <c:pt idx="1881">
                  <c:v>145.30127388265919</c:v>
                </c:pt>
                <c:pt idx="1882">
                  <c:v>145.33243535695874</c:v>
                </c:pt>
                <c:pt idx="1883">
                  <c:v>145.36360351418304</c:v>
                </c:pt>
                <c:pt idx="1884">
                  <c:v>145.39477835576531</c:v>
                </c:pt>
                <c:pt idx="1885">
                  <c:v>145.42595988313911</c:v>
                </c:pt>
                <c:pt idx="1886">
                  <c:v>145.45714809773827</c:v>
                </c:pt>
                <c:pt idx="1887">
                  <c:v>145.48834300099693</c:v>
                </c:pt>
                <c:pt idx="1888">
                  <c:v>145.51954459434958</c:v>
                </c:pt>
                <c:pt idx="1889">
                  <c:v>145.55075287923097</c:v>
                </c:pt>
                <c:pt idx="1890">
                  <c:v>145.58196785707617</c:v>
                </c:pt>
                <c:pt idx="1891">
                  <c:v>145.61318952932055</c:v>
                </c:pt>
                <c:pt idx="1892">
                  <c:v>145.64441789739979</c:v>
                </c:pt>
                <c:pt idx="1893">
                  <c:v>145.67565296274992</c:v>
                </c:pt>
                <c:pt idx="1894">
                  <c:v>145.70689472680723</c:v>
                </c:pt>
                <c:pt idx="1895">
                  <c:v>145.73814319100833</c:v>
                </c:pt>
                <c:pt idx="1896">
                  <c:v>145.76939835679013</c:v>
                </c:pt>
                <c:pt idx="1897">
                  <c:v>145.80066022558987</c:v>
                </c:pt>
                <c:pt idx="1898">
                  <c:v>145.83192879884507</c:v>
                </c:pt>
                <c:pt idx="1899">
                  <c:v>145.8632040779936</c:v>
                </c:pt>
                <c:pt idx="1900">
                  <c:v>145.8944860644736</c:v>
                </c:pt>
                <c:pt idx="1901">
                  <c:v>145.92577475972354</c:v>
                </c:pt>
                <c:pt idx="1902">
                  <c:v>145.95707016518219</c:v>
                </c:pt>
                <c:pt idx="1903">
                  <c:v>145.98837228228862</c:v>
                </c:pt>
                <c:pt idx="1904">
                  <c:v>146.01968111248223</c:v>
                </c:pt>
                <c:pt idx="1905">
                  <c:v>146.05099665720269</c:v>
                </c:pt>
                <c:pt idx="1906">
                  <c:v>146.08231891789003</c:v>
                </c:pt>
                <c:pt idx="1907">
                  <c:v>146.11364789598457</c:v>
                </c:pt>
                <c:pt idx="1908">
                  <c:v>146.14498359292691</c:v>
                </c:pt>
                <c:pt idx="1909">
                  <c:v>146.17632601015799</c:v>
                </c:pt>
                <c:pt idx="1910">
                  <c:v>146.20767514911907</c:v>
                </c:pt>
                <c:pt idx="1911">
                  <c:v>146.23903101125165</c:v>
                </c:pt>
                <c:pt idx="1912">
                  <c:v>146.27039359799764</c:v>
                </c:pt>
                <c:pt idx="1913">
                  <c:v>146.30176291079917</c:v>
                </c:pt>
                <c:pt idx="1914">
                  <c:v>146.33313895109876</c:v>
                </c:pt>
                <c:pt idx="1915">
                  <c:v>146.36452172033916</c:v>
                </c:pt>
                <c:pt idx="1916">
                  <c:v>146.39591121996347</c:v>
                </c:pt>
                <c:pt idx="1917">
                  <c:v>146.42730745141512</c:v>
                </c:pt>
                <c:pt idx="1918">
                  <c:v>146.45871041613779</c:v>
                </c:pt>
                <c:pt idx="1919">
                  <c:v>146.49012011557554</c:v>
                </c:pt>
                <c:pt idx="1920">
                  <c:v>146.52153655117269</c:v>
                </c:pt>
                <c:pt idx="1921">
                  <c:v>146.55295972437389</c:v>
                </c:pt>
                <c:pt idx="1922">
                  <c:v>146.58438963662408</c:v>
                </c:pt>
                <c:pt idx="1923">
                  <c:v>146.61582628936853</c:v>
                </c:pt>
                <c:pt idx="1924">
                  <c:v>146.64726968405282</c:v>
                </c:pt>
                <c:pt idx="1925">
                  <c:v>146.67871982212282</c:v>
                </c:pt>
                <c:pt idx="1926">
                  <c:v>146.71017670502474</c:v>
                </c:pt>
                <c:pt idx="1927">
                  <c:v>146.74164033420507</c:v>
                </c:pt>
                <c:pt idx="1928">
                  <c:v>146.77311071111063</c:v>
                </c:pt>
                <c:pt idx="1929">
                  <c:v>146.80458783718856</c:v>
                </c:pt>
                <c:pt idx="1930">
                  <c:v>146.83607171388627</c:v>
                </c:pt>
                <c:pt idx="1931">
                  <c:v>146.86756234265152</c:v>
                </c:pt>
                <c:pt idx="1932">
                  <c:v>146.89905972493239</c:v>
                </c:pt>
                <c:pt idx="1933">
                  <c:v>146.93056386217719</c:v>
                </c:pt>
                <c:pt idx="1934">
                  <c:v>146.96207475583464</c:v>
                </c:pt>
                <c:pt idx="1935">
                  <c:v>146.9935924073537</c:v>
                </c:pt>
                <c:pt idx="1936">
                  <c:v>147.0251168181837</c:v>
                </c:pt>
                <c:pt idx="1937">
                  <c:v>147.05664798977423</c:v>
                </c:pt>
                <c:pt idx="1938">
                  <c:v>147.08818592357522</c:v>
                </c:pt>
                <c:pt idx="1939">
                  <c:v>147.11973062103689</c:v>
                </c:pt>
                <c:pt idx="1940">
                  <c:v>147.1512820836098</c:v>
                </c:pt>
                <c:pt idx="1941">
                  <c:v>147.18284031274479</c:v>
                </c:pt>
                <c:pt idx="1942">
                  <c:v>147.21440530989301</c:v>
                </c:pt>
                <c:pt idx="1943">
                  <c:v>147.24597707650594</c:v>
                </c:pt>
                <c:pt idx="1944">
                  <c:v>147.27755561403538</c:v>
                </c:pt>
                <c:pt idx="1945">
                  <c:v>147.30914092393343</c:v>
                </c:pt>
                <c:pt idx="1946">
                  <c:v>147.34073300765249</c:v>
                </c:pt>
                <c:pt idx="1947">
                  <c:v>147.37233186664528</c:v>
                </c:pt>
                <c:pt idx="1948">
                  <c:v>147.40393750236487</c:v>
                </c:pt>
                <c:pt idx="1949">
                  <c:v>147.43554991626456</c:v>
                </c:pt>
                <c:pt idx="1950">
                  <c:v>147.46716910979802</c:v>
                </c:pt>
                <c:pt idx="1951">
                  <c:v>147.49879508441921</c:v>
                </c:pt>
                <c:pt idx="1952">
                  <c:v>147.53042784158242</c:v>
                </c:pt>
                <c:pt idx="1953">
                  <c:v>147.56206738274224</c:v>
                </c:pt>
                <c:pt idx="1954">
                  <c:v>147.59371370935358</c:v>
                </c:pt>
                <c:pt idx="1955">
                  <c:v>147.62536682287165</c:v>
                </c:pt>
                <c:pt idx="1956">
                  <c:v>147.65702672475197</c:v>
                </c:pt>
                <c:pt idx="1957">
                  <c:v>147.68869341645041</c:v>
                </c:pt>
                <c:pt idx="1958">
                  <c:v>147.72036689942308</c:v>
                </c:pt>
                <c:pt idx="1959">
                  <c:v>147.75204717512648</c:v>
                </c:pt>
                <c:pt idx="1960">
                  <c:v>147.78373424501734</c:v>
                </c:pt>
                <c:pt idx="1961">
                  <c:v>147.8154281105528</c:v>
                </c:pt>
                <c:pt idx="1962">
                  <c:v>147.84712877319024</c:v>
                </c:pt>
                <c:pt idx="1963">
                  <c:v>147.87883623438736</c:v>
                </c:pt>
                <c:pt idx="1964">
                  <c:v>147.91055049560219</c:v>
                </c:pt>
                <c:pt idx="1965">
                  <c:v>147.9422715582931</c:v>
                </c:pt>
                <c:pt idx="1966">
                  <c:v>147.97399942391871</c:v>
                </c:pt>
                <c:pt idx="1967">
                  <c:v>148.005734093938</c:v>
                </c:pt>
                <c:pt idx="1968">
                  <c:v>148.03747556981025</c:v>
                </c:pt>
                <c:pt idx="1969">
                  <c:v>148.06922385299504</c:v>
                </c:pt>
                <c:pt idx="1970">
                  <c:v>148.10097894495229</c:v>
                </c:pt>
                <c:pt idx="1971">
                  <c:v>148.1327408471422</c:v>
                </c:pt>
                <c:pt idx="1972">
                  <c:v>148.16450956102531</c:v>
                </c:pt>
                <c:pt idx="1973">
                  <c:v>148.19628508806247</c:v>
                </c:pt>
                <c:pt idx="1974">
                  <c:v>148.2280674297148</c:v>
                </c:pt>
                <c:pt idx="1975">
                  <c:v>148.25985658744381</c:v>
                </c:pt>
                <c:pt idx="1976">
                  <c:v>148.29165256271128</c:v>
                </c:pt>
                <c:pt idx="1977">
                  <c:v>148.32345535697928</c:v>
                </c:pt>
                <c:pt idx="1978">
                  <c:v>148.35526497171026</c:v>
                </c:pt>
                <c:pt idx="1979">
                  <c:v>148.3870814083669</c:v>
                </c:pt>
                <c:pt idx="1980">
                  <c:v>148.41890466841227</c:v>
                </c:pt>
                <c:pt idx="1981">
                  <c:v>148.45073475330972</c:v>
                </c:pt>
                <c:pt idx="1982">
                  <c:v>148.48257166452288</c:v>
                </c:pt>
                <c:pt idx="1983">
                  <c:v>148.51441540351576</c:v>
                </c:pt>
                <c:pt idx="1984">
                  <c:v>148.54626597175266</c:v>
                </c:pt>
                <c:pt idx="1985">
                  <c:v>148.57812337069817</c:v>
                </c:pt>
                <c:pt idx="1986">
                  <c:v>148.60998760181721</c:v>
                </c:pt>
                <c:pt idx="1987">
                  <c:v>148.64185866657505</c:v>
                </c:pt>
                <c:pt idx="1988">
                  <c:v>148.67373656643719</c:v>
                </c:pt>
                <c:pt idx="1989">
                  <c:v>148.70562130286953</c:v>
                </c:pt>
                <c:pt idx="1990">
                  <c:v>148.73751287733825</c:v>
                </c:pt>
                <c:pt idx="1991">
                  <c:v>148.76941129130981</c:v>
                </c:pt>
                <c:pt idx="1992">
                  <c:v>148.80131654625103</c:v>
                </c:pt>
                <c:pt idx="1993">
                  <c:v>148.83322864362904</c:v>
                </c:pt>
                <c:pt idx="1994">
                  <c:v>148.86514758491128</c:v>
                </c:pt>
                <c:pt idx="1995">
                  <c:v>148.89707337156551</c:v>
                </c:pt>
                <c:pt idx="1996">
                  <c:v>148.92900600505979</c:v>
                </c:pt>
                <c:pt idx="1997">
                  <c:v>148.96094548686247</c:v>
                </c:pt>
                <c:pt idx="1998">
                  <c:v>148.99289181844227</c:v>
                </c:pt>
                <c:pt idx="1999">
                  <c:v>149.0248450012682</c:v>
                </c:pt>
                <c:pt idx="2000">
                  <c:v>149.05680503680961</c:v>
                </c:pt>
                <c:pt idx="2001">
                  <c:v>149.08877192653611</c:v>
                </c:pt>
                <c:pt idx="2002">
                  <c:v>149.12074567191766</c:v>
                </c:pt>
                <c:pt idx="2003">
                  <c:v>149.15272627442454</c:v>
                </c:pt>
                <c:pt idx="2004">
                  <c:v>149.18471373552731</c:v>
                </c:pt>
                <c:pt idx="2005">
                  <c:v>149.21670805669692</c:v>
                </c:pt>
                <c:pt idx="2006">
                  <c:v>149.24870923940455</c:v>
                </c:pt>
                <c:pt idx="2007">
                  <c:v>149.28071728512174</c:v>
                </c:pt>
                <c:pt idx="2008">
                  <c:v>149.31273219532036</c:v>
                </c:pt>
                <c:pt idx="2009">
                  <c:v>149.34475397147256</c:v>
                </c:pt>
                <c:pt idx="2010">
                  <c:v>149.37678261505081</c:v>
                </c:pt>
                <c:pt idx="2011">
                  <c:v>149.40881812752792</c:v>
                </c:pt>
                <c:pt idx="2012">
                  <c:v>149.44086051037698</c:v>
                </c:pt>
                <c:pt idx="2013">
                  <c:v>149.47290976507145</c:v>
                </c:pt>
                <c:pt idx="2014">
                  <c:v>149.50496589308506</c:v>
                </c:pt>
                <c:pt idx="2015">
                  <c:v>149.53702889589186</c:v>
                </c:pt>
                <c:pt idx="2016">
                  <c:v>149.56909877496625</c:v>
                </c:pt>
                <c:pt idx="2017">
                  <c:v>149.6011755317829</c:v>
                </c:pt>
                <c:pt idx="2018">
                  <c:v>149.63325916781682</c:v>
                </c:pt>
                <c:pt idx="2019">
                  <c:v>149.66534968454332</c:v>
                </c:pt>
                <c:pt idx="2020">
                  <c:v>149.69744708343805</c:v>
                </c:pt>
                <c:pt idx="2021">
                  <c:v>149.72955136597699</c:v>
                </c:pt>
                <c:pt idx="2022">
                  <c:v>149.76166253363641</c:v>
                </c:pt>
                <c:pt idx="2023">
                  <c:v>149.79378058789288</c:v>
                </c:pt>
                <c:pt idx="2024">
                  <c:v>149.82590553022334</c:v>
                </c:pt>
                <c:pt idx="2025">
                  <c:v>149.85803736210497</c:v>
                </c:pt>
                <c:pt idx="2026">
                  <c:v>149.89017608501533</c:v>
                </c:pt>
                <c:pt idx="2027">
                  <c:v>149.92232170043229</c:v>
                </c:pt>
                <c:pt idx="2028">
                  <c:v>149.95447420983402</c:v>
                </c:pt>
                <c:pt idx="2029">
                  <c:v>149.986633614699</c:v>
                </c:pt>
                <c:pt idx="2030">
                  <c:v>150.01879991650605</c:v>
                </c:pt>
                <c:pt idx="2031">
                  <c:v>150.0509731167343</c:v>
                </c:pt>
                <c:pt idx="2032">
                  <c:v>150.08315321686317</c:v>
                </c:pt>
                <c:pt idx="2033">
                  <c:v>150.11534021837244</c:v>
                </c:pt>
                <c:pt idx="2034">
                  <c:v>150.1475341227422</c:v>
                </c:pt>
                <c:pt idx="2035">
                  <c:v>150.17973493145283</c:v>
                </c:pt>
                <c:pt idx="2036">
                  <c:v>150.21194264598503</c:v>
                </c:pt>
                <c:pt idx="2037">
                  <c:v>150.24415726781984</c:v>
                </c:pt>
                <c:pt idx="2038">
                  <c:v>150.27637879843863</c:v>
                </c:pt>
                <c:pt idx="2039">
                  <c:v>150.30860723932304</c:v>
                </c:pt>
                <c:pt idx="2040">
                  <c:v>150.34084259195504</c:v>
                </c:pt>
                <c:pt idx="2041">
                  <c:v>150.37308485781696</c:v>
                </c:pt>
                <c:pt idx="2042">
                  <c:v>150.4053340383914</c:v>
                </c:pt>
                <c:pt idx="2043">
                  <c:v>150.43759013516132</c:v>
                </c:pt>
                <c:pt idx="2044">
                  <c:v>150.46985314960995</c:v>
                </c:pt>
                <c:pt idx="2045">
                  <c:v>150.50212308322088</c:v>
                </c:pt>
                <c:pt idx="2046">
                  <c:v>150.53439993747799</c:v>
                </c:pt>
                <c:pt idx="2047">
                  <c:v>150.5666837138655</c:v>
                </c:pt>
                <c:pt idx="2048">
                  <c:v>150.59897441386795</c:v>
                </c:pt>
                <c:pt idx="2049">
                  <c:v>150.63127203897017</c:v>
                </c:pt>
                <c:pt idx="2050">
                  <c:v>150.6635765906573</c:v>
                </c:pt>
                <c:pt idx="2051">
                  <c:v>150.69588807041487</c:v>
                </c:pt>
                <c:pt idx="2052">
                  <c:v>150.72820647972864</c:v>
                </c:pt>
                <c:pt idx="2053">
                  <c:v>150.76053182008476</c:v>
                </c:pt>
                <c:pt idx="2054">
                  <c:v>150.79286409296967</c:v>
                </c:pt>
                <c:pt idx="2055">
                  <c:v>150.82520329987008</c:v>
                </c:pt>
                <c:pt idx="2056">
                  <c:v>150.85754944227313</c:v>
                </c:pt>
                <c:pt idx="2057">
                  <c:v>150.88990252166619</c:v>
                </c:pt>
                <c:pt idx="2058">
                  <c:v>150.92226253953697</c:v>
                </c:pt>
                <c:pt idx="2059">
                  <c:v>150.9546294973735</c:v>
                </c:pt>
                <c:pt idx="2060">
                  <c:v>150.98700339666414</c:v>
                </c:pt>
                <c:pt idx="2061">
                  <c:v>151.01938423889757</c:v>
                </c:pt>
                <c:pt idx="2062">
                  <c:v>151.05177202556277</c:v>
                </c:pt>
                <c:pt idx="2063">
                  <c:v>151.08416675814905</c:v>
                </c:pt>
                <c:pt idx="2064">
                  <c:v>151.11656843814606</c:v>
                </c:pt>
                <c:pt idx="2065">
                  <c:v>151.14897706704372</c:v>
                </c:pt>
                <c:pt idx="2066">
                  <c:v>151.18139264633231</c:v>
                </c:pt>
                <c:pt idx="2067">
                  <c:v>151.21381517750243</c:v>
                </c:pt>
                <c:pt idx="2068">
                  <c:v>151.24624466204497</c:v>
                </c:pt>
                <c:pt idx="2069">
                  <c:v>151.27868110145118</c:v>
                </c:pt>
                <c:pt idx="2070">
                  <c:v>151.31112449721257</c:v>
                </c:pt>
                <c:pt idx="2071">
                  <c:v>151.34357485082106</c:v>
                </c:pt>
                <c:pt idx="2072">
                  <c:v>151.3760321637688</c:v>
                </c:pt>
                <c:pt idx="2073">
                  <c:v>151.40849643754831</c:v>
                </c:pt>
                <c:pt idx="2074">
                  <c:v>151.44096767365241</c:v>
                </c:pt>
                <c:pt idx="2075">
                  <c:v>151.47344587357426</c:v>
                </c:pt>
                <c:pt idx="2076">
                  <c:v>151.50593103880732</c:v>
                </c:pt>
                <c:pt idx="2077">
                  <c:v>151.53842317084539</c:v>
                </c:pt>
                <c:pt idx="2078">
                  <c:v>151.57092227118255</c:v>
                </c:pt>
                <c:pt idx="2079">
                  <c:v>151.60342834131328</c:v>
                </c:pt>
                <c:pt idx="2080">
                  <c:v>151.63594138273228</c:v>
                </c:pt>
                <c:pt idx="2081">
                  <c:v>151.66846139693465</c:v>
                </c:pt>
                <c:pt idx="2082">
                  <c:v>151.70098838541574</c:v>
                </c:pt>
                <c:pt idx="2083">
                  <c:v>151.73352234967132</c:v>
                </c:pt>
                <c:pt idx="2084">
                  <c:v>151.76606329119738</c:v>
                </c:pt>
                <c:pt idx="2085">
                  <c:v>151.79861121149028</c:v>
                </c:pt>
                <c:pt idx="2086">
                  <c:v>151.8311661120467</c:v>
                </c:pt>
                <c:pt idx="2087">
                  <c:v>151.86372799436364</c:v>
                </c:pt>
                <c:pt idx="2088">
                  <c:v>151.89629685993842</c:v>
                </c:pt>
                <c:pt idx="2089">
                  <c:v>151.92887271026868</c:v>
                </c:pt>
                <c:pt idx="2090">
                  <c:v>151.96145554685236</c:v>
                </c:pt>
                <c:pt idx="2091">
                  <c:v>151.99404537118775</c:v>
                </c:pt>
                <c:pt idx="2092">
                  <c:v>152.02664218477344</c:v>
                </c:pt>
                <c:pt idx="2093">
                  <c:v>152.05924598910838</c:v>
                </c:pt>
                <c:pt idx="2094">
                  <c:v>152.09185678569179</c:v>
                </c:pt>
                <c:pt idx="2095">
                  <c:v>152.12447457602323</c:v>
                </c:pt>
                <c:pt idx="2096">
                  <c:v>152.1570993616026</c:v>
                </c:pt>
                <c:pt idx="2097">
                  <c:v>152.18973114393012</c:v>
                </c:pt>
                <c:pt idx="2098">
                  <c:v>152.2223699245063</c:v>
                </c:pt>
                <c:pt idx="2099">
                  <c:v>152.255015704832</c:v>
                </c:pt>
                <c:pt idx="2100">
                  <c:v>152.28766848640839</c:v>
                </c:pt>
                <c:pt idx="2101">
                  <c:v>152.32032827073698</c:v>
                </c:pt>
                <c:pt idx="2102">
                  <c:v>152.35299505931957</c:v>
                </c:pt>
                <c:pt idx="2103">
                  <c:v>152.3856688536583</c:v>
                </c:pt>
                <c:pt idx="2104">
                  <c:v>152.41834965525564</c:v>
                </c:pt>
                <c:pt idx="2105">
                  <c:v>152.45103746561438</c:v>
                </c:pt>
                <c:pt idx="2106">
                  <c:v>152.48373228623763</c:v>
                </c:pt>
                <c:pt idx="2107">
                  <c:v>152.51643411862881</c:v>
                </c:pt>
                <c:pt idx="2108">
                  <c:v>152.54914296429166</c:v>
                </c:pt>
                <c:pt idx="2109">
                  <c:v>152.58185882473029</c:v>
                </c:pt>
                <c:pt idx="2110">
                  <c:v>152.61458170144905</c:v>
                </c:pt>
                <c:pt idx="2111">
                  <c:v>152.64731159595271</c:v>
                </c:pt>
                <c:pt idx="2112">
                  <c:v>152.68004850974629</c:v>
                </c:pt>
                <c:pt idx="2113">
                  <c:v>152.71279244433512</c:v>
                </c:pt>
                <c:pt idx="2114">
                  <c:v>152.74554340122492</c:v>
                </c:pt>
                <c:pt idx="2115">
                  <c:v>152.77830138192172</c:v>
                </c:pt>
                <c:pt idx="2116">
                  <c:v>152.81106638793182</c:v>
                </c:pt>
                <c:pt idx="2117">
                  <c:v>152.84383842076187</c:v>
                </c:pt>
                <c:pt idx="2118">
                  <c:v>152.87661748191888</c:v>
                </c:pt>
                <c:pt idx="2119">
                  <c:v>152.90940357291015</c:v>
                </c:pt>
                <c:pt idx="2120">
                  <c:v>152.9421966952433</c:v>
                </c:pt>
                <c:pt idx="2121">
                  <c:v>152.97499685042627</c:v>
                </c:pt>
                <c:pt idx="2122">
                  <c:v>153.00780403996734</c:v>
                </c:pt>
                <c:pt idx="2123">
                  <c:v>153.04061826537512</c:v>
                </c:pt>
                <c:pt idx="2124">
                  <c:v>153.0734395281585</c:v>
                </c:pt>
                <c:pt idx="2125">
                  <c:v>153.10626782982675</c:v>
                </c:pt>
                <c:pt idx="2126">
                  <c:v>153.13910317188942</c:v>
                </c:pt>
                <c:pt idx="2127">
                  <c:v>153.17194555585638</c:v>
                </c:pt>
                <c:pt idx="2128">
                  <c:v>153.20479498323789</c:v>
                </c:pt>
                <c:pt idx="2129">
                  <c:v>153.23765145554447</c:v>
                </c:pt>
                <c:pt idx="2130">
                  <c:v>153.27051497428698</c:v>
                </c:pt>
                <c:pt idx="2131">
                  <c:v>153.30338554097662</c:v>
                </c:pt>
                <c:pt idx="2132">
                  <c:v>153.33626315712488</c:v>
                </c:pt>
                <c:pt idx="2133">
                  <c:v>153.36914782424361</c:v>
                </c:pt>
                <c:pt idx="2134">
                  <c:v>153.40203954384495</c:v>
                </c:pt>
                <c:pt idx="2135">
                  <c:v>153.43493831744141</c:v>
                </c:pt>
                <c:pt idx="2136">
                  <c:v>153.46784414654579</c:v>
                </c:pt>
                <c:pt idx="2137">
                  <c:v>153.5007570326712</c:v>
                </c:pt>
                <c:pt idx="2138">
                  <c:v>153.53367697733114</c:v>
                </c:pt>
                <c:pt idx="2139">
                  <c:v>153.56660398203934</c:v>
                </c:pt>
                <c:pt idx="2140">
                  <c:v>153.59953804830994</c:v>
                </c:pt>
                <c:pt idx="2141">
                  <c:v>153.63247917765736</c:v>
                </c:pt>
                <c:pt idx="2142">
                  <c:v>153.66542737159637</c:v>
                </c:pt>
                <c:pt idx="2143">
                  <c:v>153.69838263164203</c:v>
                </c:pt>
                <c:pt idx="2144">
                  <c:v>153.73134495930975</c:v>
                </c:pt>
                <c:pt idx="2145">
                  <c:v>153.76431435611525</c:v>
                </c:pt>
                <c:pt idx="2146">
                  <c:v>153.7972908235746</c:v>
                </c:pt>
                <c:pt idx="2147">
                  <c:v>153.83027436320418</c:v>
                </c:pt>
                <c:pt idx="2148">
                  <c:v>153.8632649765207</c:v>
                </c:pt>
                <c:pt idx="2149">
                  <c:v>153.89626266504118</c:v>
                </c:pt>
                <c:pt idx="2150">
                  <c:v>153.92926743028298</c:v>
                </c:pt>
                <c:pt idx="2151">
                  <c:v>153.96227927376378</c:v>
                </c:pt>
                <c:pt idx="2152">
                  <c:v>153.9952981970016</c:v>
                </c:pt>
                <c:pt idx="2153">
                  <c:v>154.02832420151475</c:v>
                </c:pt>
                <c:pt idx="2154">
                  <c:v>154.06135728882191</c:v>
                </c:pt>
                <c:pt idx="2155">
                  <c:v>154.09439746044205</c:v>
                </c:pt>
                <c:pt idx="2156">
                  <c:v>154.12744471789449</c:v>
                </c:pt>
                <c:pt idx="2157">
                  <c:v>154.16049906269885</c:v>
                </c:pt>
                <c:pt idx="2158">
                  <c:v>154.19356049637511</c:v>
                </c:pt>
                <c:pt idx="2159">
                  <c:v>154.22662902044354</c:v>
                </c:pt>
                <c:pt idx="2160">
                  <c:v>154.25970463642477</c:v>
                </c:pt>
                <c:pt idx="2161">
                  <c:v>154.29278734583971</c:v>
                </c:pt>
                <c:pt idx="2162">
                  <c:v>154.32587715020966</c:v>
                </c:pt>
                <c:pt idx="2163">
                  <c:v>154.35897405105621</c:v>
                </c:pt>
                <c:pt idx="2164">
                  <c:v>154.39207804990124</c:v>
                </c:pt>
                <c:pt idx="2165">
                  <c:v>154.42518914826704</c:v>
                </c:pt>
                <c:pt idx="2166">
                  <c:v>154.45830734767617</c:v>
                </c:pt>
                <c:pt idx="2167">
                  <c:v>154.4914326496515</c:v>
                </c:pt>
                <c:pt idx="2168">
                  <c:v>154.52456505571629</c:v>
                </c:pt>
                <c:pt idx="2169">
                  <c:v>154.55770456739407</c:v>
                </c:pt>
                <c:pt idx="2170">
                  <c:v>154.59085118620874</c:v>
                </c:pt>
                <c:pt idx="2171">
                  <c:v>154.62400491368447</c:v>
                </c:pt>
                <c:pt idx="2172">
                  <c:v>154.65716575134581</c:v>
                </c:pt>
                <c:pt idx="2173">
                  <c:v>154.69033370071764</c:v>
                </c:pt>
                <c:pt idx="2174">
                  <c:v>154.7235087633251</c:v>
                </c:pt>
                <c:pt idx="2175">
                  <c:v>154.75669094069374</c:v>
                </c:pt>
                <c:pt idx="2176">
                  <c:v>154.7898802343494</c:v>
                </c:pt>
                <c:pt idx="2177">
                  <c:v>154.82307664581822</c:v>
                </c:pt>
                <c:pt idx="2178">
                  <c:v>154.85628017662671</c:v>
                </c:pt>
                <c:pt idx="2179">
                  <c:v>154.88949082830169</c:v>
                </c:pt>
                <c:pt idx="2180">
                  <c:v>154.92270860237031</c:v>
                </c:pt>
                <c:pt idx="2181">
                  <c:v>154.95593350036003</c:v>
                </c:pt>
                <c:pt idx="2182">
                  <c:v>154.98916552379868</c:v>
                </c:pt>
                <c:pt idx="2183">
                  <c:v>155.02240467421436</c:v>
                </c:pt>
                <c:pt idx="2184">
                  <c:v>155.05565095313557</c:v>
                </c:pt>
                <c:pt idx="2185">
                  <c:v>155.08890436209106</c:v>
                </c:pt>
                <c:pt idx="2186">
                  <c:v>155.12216490260997</c:v>
                </c:pt>
                <c:pt idx="2187">
                  <c:v>155.15543257622173</c:v>
                </c:pt>
                <c:pt idx="2188">
                  <c:v>155.18870738445611</c:v>
                </c:pt>
                <c:pt idx="2189">
                  <c:v>155.22198932884322</c:v>
                </c:pt>
                <c:pt idx="2190">
                  <c:v>155.25527841091349</c:v>
                </c:pt>
                <c:pt idx="2191">
                  <c:v>155.28857463219768</c:v>
                </c:pt>
                <c:pt idx="2192">
                  <c:v>155.32187799422684</c:v>
                </c:pt>
                <c:pt idx="2193">
                  <c:v>155.35518849853241</c:v>
                </c:pt>
                <c:pt idx="2194">
                  <c:v>155.38850614664614</c:v>
                </c:pt>
                <c:pt idx="2195">
                  <c:v>155.42183094010008</c:v>
                </c:pt>
                <c:pt idx="2196">
                  <c:v>155.45516288042663</c:v>
                </c:pt>
                <c:pt idx="2197">
                  <c:v>155.48850196915851</c:v>
                </c:pt>
                <c:pt idx="2198">
                  <c:v>155.52184820782878</c:v>
                </c:pt>
                <c:pt idx="2199">
                  <c:v>155.55520159797084</c:v>
                </c:pt>
                <c:pt idx="2200">
                  <c:v>155.58856214111839</c:v>
                </c:pt>
                <c:pt idx="2201">
                  <c:v>155.62192983880547</c:v>
                </c:pt>
                <c:pt idx="2202">
                  <c:v>155.65530469256643</c:v>
                </c:pt>
                <c:pt idx="2203">
                  <c:v>155.68868670393601</c:v>
                </c:pt>
                <c:pt idx="2204">
                  <c:v>155.72207587444922</c:v>
                </c:pt>
                <c:pt idx="2205">
                  <c:v>155.75547220564141</c:v>
                </c:pt>
                <c:pt idx="2206">
                  <c:v>155.78887569904828</c:v>
                </c:pt>
                <c:pt idx="2207">
                  <c:v>155.82228635620584</c:v>
                </c:pt>
                <c:pt idx="2208">
                  <c:v>155.85570417865043</c:v>
                </c:pt>
                <c:pt idx="2209">
                  <c:v>155.88912916791872</c:v>
                </c:pt>
                <c:pt idx="2210">
                  <c:v>155.92256132554775</c:v>
                </c:pt>
                <c:pt idx="2211">
                  <c:v>155.95600065307482</c:v>
                </c:pt>
                <c:pt idx="2212">
                  <c:v>155.98944715203763</c:v>
                </c:pt>
                <c:pt idx="2213">
                  <c:v>156.02290082397414</c:v>
                </c:pt>
                <c:pt idx="2214">
                  <c:v>156.05636167042269</c:v>
                </c:pt>
                <c:pt idx="2215">
                  <c:v>156.08982969292194</c:v>
                </c:pt>
                <c:pt idx="2216">
                  <c:v>156.12330489301084</c:v>
                </c:pt>
                <c:pt idx="2217">
                  <c:v>156.15678727222874</c:v>
                </c:pt>
                <c:pt idx="2218">
                  <c:v>156.19027683211527</c:v>
                </c:pt>
                <c:pt idx="2219">
                  <c:v>156.22377357421041</c:v>
                </c:pt>
                <c:pt idx="2220">
                  <c:v>156.25727750005447</c:v>
                </c:pt>
                <c:pt idx="2221">
                  <c:v>156.29078861118805</c:v>
                </c:pt>
                <c:pt idx="2222">
                  <c:v>156.32430690915214</c:v>
                </c:pt>
                <c:pt idx="2223">
                  <c:v>156.35783239548806</c:v>
                </c:pt>
                <c:pt idx="2224">
                  <c:v>156.3913650717374</c:v>
                </c:pt>
                <c:pt idx="2225">
                  <c:v>156.42490493944211</c:v>
                </c:pt>
                <c:pt idx="2226">
                  <c:v>156.45845200014452</c:v>
                </c:pt>
                <c:pt idx="2227">
                  <c:v>156.49200625538722</c:v>
                </c:pt>
                <c:pt idx="2228">
                  <c:v>156.52556770671316</c:v>
                </c:pt>
                <c:pt idx="2229">
                  <c:v>156.55913635566563</c:v>
                </c:pt>
                <c:pt idx="2230">
                  <c:v>156.59271220378824</c:v>
                </c:pt>
                <c:pt idx="2231">
                  <c:v>156.62629525262491</c:v>
                </c:pt>
                <c:pt idx="2232">
                  <c:v>156.65988550371995</c:v>
                </c:pt>
                <c:pt idx="2233">
                  <c:v>156.69348295861795</c:v>
                </c:pt>
                <c:pt idx="2234">
                  <c:v>156.72708761886383</c:v>
                </c:pt>
                <c:pt idx="2235">
                  <c:v>156.76069948600286</c:v>
                </c:pt>
                <c:pt idx="2236">
                  <c:v>156.79431856158067</c:v>
                </c:pt>
                <c:pt idx="2237">
                  <c:v>156.82794484714316</c:v>
                </c:pt>
                <c:pt idx="2238">
                  <c:v>156.86157834423659</c:v>
                </c:pt>
                <c:pt idx="2239">
                  <c:v>156.89521905440756</c:v>
                </c:pt>
                <c:pt idx="2240">
                  <c:v>156.92886697920301</c:v>
                </c:pt>
                <c:pt idx="2241">
                  <c:v>156.96252212017018</c:v>
                </c:pt>
                <c:pt idx="2242">
                  <c:v>156.99618447885663</c:v>
                </c:pt>
                <c:pt idx="2243">
                  <c:v>157.02985405681034</c:v>
                </c:pt>
                <c:pt idx="2244">
                  <c:v>157.06353085557953</c:v>
                </c:pt>
                <c:pt idx="2245">
                  <c:v>157.09721487671277</c:v>
                </c:pt>
                <c:pt idx="2246">
                  <c:v>157.13090612175901</c:v>
                </c:pt>
                <c:pt idx="2247">
                  <c:v>157.16460459226747</c:v>
                </c:pt>
                <c:pt idx="2248">
                  <c:v>157.19831028978774</c:v>
                </c:pt>
                <c:pt idx="2249">
                  <c:v>157.23202321586973</c:v>
                </c:pt>
                <c:pt idx="2250">
                  <c:v>157.2657433720637</c:v>
                </c:pt>
                <c:pt idx="2251">
                  <c:v>157.29947075992021</c:v>
                </c:pt>
                <c:pt idx="2252">
                  <c:v>157.33320538099019</c:v>
                </c:pt>
                <c:pt idx="2253">
                  <c:v>157.36694723682487</c:v>
                </c:pt>
                <c:pt idx="2254">
                  <c:v>157.40069632897584</c:v>
                </c:pt>
                <c:pt idx="2255">
                  <c:v>157.43445265899499</c:v>
                </c:pt>
                <c:pt idx="2256">
                  <c:v>157.46821622843456</c:v>
                </c:pt>
                <c:pt idx="2257">
                  <c:v>157.50198703884712</c:v>
                </c:pt>
                <c:pt idx="2258">
                  <c:v>157.53576509178561</c:v>
                </c:pt>
                <c:pt idx="2259">
                  <c:v>157.56955038880324</c:v>
                </c:pt>
                <c:pt idx="2260">
                  <c:v>157.6033429314536</c:v>
                </c:pt>
                <c:pt idx="2261">
                  <c:v>157.63714272129059</c:v>
                </c:pt>
                <c:pt idx="2262">
                  <c:v>157.67094975986845</c:v>
                </c:pt>
                <c:pt idx="2263">
                  <c:v>157.70476404874174</c:v>
                </c:pt>
                <c:pt idx="2264">
                  <c:v>157.73858558946537</c:v>
                </c:pt>
                <c:pt idx="2265">
                  <c:v>157.77241438359459</c:v>
                </c:pt>
                <c:pt idx="2266">
                  <c:v>157.806250432685</c:v>
                </c:pt>
                <c:pt idx="2267">
                  <c:v>157.84009373829247</c:v>
                </c:pt>
                <c:pt idx="2268">
                  <c:v>157.87394430197324</c:v>
                </c:pt>
                <c:pt idx="2269">
                  <c:v>157.90780212528389</c:v>
                </c:pt>
                <c:pt idx="2270">
                  <c:v>157.94166720978134</c:v>
                </c:pt>
                <c:pt idx="2271">
                  <c:v>157.97553955702284</c:v>
                </c:pt>
                <c:pt idx="2272">
                  <c:v>158.00941916856596</c:v>
                </c:pt>
                <c:pt idx="2273">
                  <c:v>158.04330604596859</c:v>
                </c:pt>
                <c:pt idx="2274">
                  <c:v>158.07720019078897</c:v>
                </c:pt>
                <c:pt idx="2275">
                  <c:v>158.11110160458571</c:v>
                </c:pt>
                <c:pt idx="2276">
                  <c:v>158.14501028891772</c:v>
                </c:pt>
                <c:pt idx="2277">
                  <c:v>158.1789262453442</c:v>
                </c:pt>
                <c:pt idx="2278">
                  <c:v>158.21284947542478</c:v>
                </c:pt>
                <c:pt idx="2279">
                  <c:v>158.24677998071937</c:v>
                </c:pt>
                <c:pt idx="2280">
                  <c:v>158.28071776278821</c:v>
                </c:pt>
                <c:pt idx="2281">
                  <c:v>158.3146628231919</c:v>
                </c:pt>
                <c:pt idx="2282">
                  <c:v>158.34861516349133</c:v>
                </c:pt>
                <c:pt idx="2283">
                  <c:v>158.38257478524778</c:v>
                </c:pt>
                <c:pt idx="2284">
                  <c:v>158.41654169002283</c:v>
                </c:pt>
                <c:pt idx="2285">
                  <c:v>158.4505158793784</c:v>
                </c:pt>
                <c:pt idx="2286">
                  <c:v>158.48449735487677</c:v>
                </c:pt>
                <c:pt idx="2287">
                  <c:v>158.51848611808052</c:v>
                </c:pt>
                <c:pt idx="2288">
                  <c:v>158.55248217055257</c:v>
                </c:pt>
                <c:pt idx="2289">
                  <c:v>158.58648551385619</c:v>
                </c:pt>
                <c:pt idx="2290">
                  <c:v>158.62049614955498</c:v>
                </c:pt>
                <c:pt idx="2291">
                  <c:v>158.6545140792129</c:v>
                </c:pt>
                <c:pt idx="2292">
                  <c:v>158.6885393043942</c:v>
                </c:pt>
                <c:pt idx="2293">
                  <c:v>158.72257182666348</c:v>
                </c:pt>
                <c:pt idx="2294">
                  <c:v>158.75661164758569</c:v>
                </c:pt>
                <c:pt idx="2295">
                  <c:v>158.7906587687261</c:v>
                </c:pt>
                <c:pt idx="2296">
                  <c:v>158.82471319165032</c:v>
                </c:pt>
                <c:pt idx="2297">
                  <c:v>158.85877491792431</c:v>
                </c:pt>
                <c:pt idx="2298">
                  <c:v>158.89284394911436</c:v>
                </c:pt>
                <c:pt idx="2299">
                  <c:v>158.92692028678709</c:v>
                </c:pt>
                <c:pt idx="2300">
                  <c:v>158.96100393250944</c:v>
                </c:pt>
                <c:pt idx="2301">
                  <c:v>158.99509488784869</c:v>
                </c:pt>
                <c:pt idx="2302">
                  <c:v>159.02919315437251</c:v>
                </c:pt>
                <c:pt idx="2303">
                  <c:v>159.06329873364885</c:v>
                </c:pt>
                <c:pt idx="2304">
                  <c:v>159.097411627246</c:v>
                </c:pt>
                <c:pt idx="2305">
                  <c:v>159.13153183673259</c:v>
                </c:pt>
                <c:pt idx="2306">
                  <c:v>159.16565936367761</c:v>
                </c:pt>
                <c:pt idx="2307">
                  <c:v>159.19979420965038</c:v>
                </c:pt>
                <c:pt idx="2308">
                  <c:v>159.23393637622053</c:v>
                </c:pt>
                <c:pt idx="2309">
                  <c:v>159.26808586495804</c:v>
                </c:pt>
                <c:pt idx="2310">
                  <c:v>159.30224267743324</c:v>
                </c:pt>
                <c:pt idx="2311">
                  <c:v>159.33640681521678</c:v>
                </c:pt>
                <c:pt idx="2312">
                  <c:v>159.37057827987965</c:v>
                </c:pt>
                <c:pt idx="2313">
                  <c:v>159.40475707299322</c:v>
                </c:pt>
                <c:pt idx="2314">
                  <c:v>159.43894319612912</c:v>
                </c:pt>
                <c:pt idx="2315">
                  <c:v>159.47313665085935</c:v>
                </c:pt>
                <c:pt idx="2316">
                  <c:v>159.50733743875625</c:v>
                </c:pt>
                <c:pt idx="2317">
                  <c:v>159.54154556139252</c:v>
                </c:pt>
                <c:pt idx="2318">
                  <c:v>159.57576102034119</c:v>
                </c:pt>
                <c:pt idx="2319">
                  <c:v>159.60998381717559</c:v>
                </c:pt>
                <c:pt idx="2320">
                  <c:v>159.6442139534694</c:v>
                </c:pt>
                <c:pt idx="2321">
                  <c:v>159.67845143079668</c:v>
                </c:pt>
                <c:pt idx="2322">
                  <c:v>159.71269625073177</c:v>
                </c:pt>
                <c:pt idx="2323">
                  <c:v>159.74694841484938</c:v>
                </c:pt>
                <c:pt idx="2324">
                  <c:v>159.78120792472455</c:v>
                </c:pt>
                <c:pt idx="2325">
                  <c:v>159.81547478193269</c:v>
                </c:pt>
                <c:pt idx="2326">
                  <c:v>159.84974898804947</c:v>
                </c:pt>
                <c:pt idx="2327">
                  <c:v>159.88403054465098</c:v>
                </c:pt>
                <c:pt idx="2328">
                  <c:v>159.91831945331359</c:v>
                </c:pt>
                <c:pt idx="2329">
                  <c:v>159.95261571561403</c:v>
                </c:pt>
                <c:pt idx="2330">
                  <c:v>159.98691933312941</c:v>
                </c:pt>
                <c:pt idx="2331">
                  <c:v>160.02123030743709</c:v>
                </c:pt>
                <c:pt idx="2332">
                  <c:v>160.05554864011484</c:v>
                </c:pt>
                <c:pt idx="2333">
                  <c:v>160.08987433274075</c:v>
                </c:pt>
                <c:pt idx="2334">
                  <c:v>160.12420738689323</c:v>
                </c:pt>
                <c:pt idx="2335">
                  <c:v>160.15854780415103</c:v>
                </c:pt>
                <c:pt idx="2336">
                  <c:v>160.19289558609327</c:v>
                </c:pt>
                <c:pt idx="2337">
                  <c:v>160.22725073429939</c:v>
                </c:pt>
                <c:pt idx="2338">
                  <c:v>160.26161325034914</c:v>
                </c:pt>
                <c:pt idx="2339">
                  <c:v>160.29598313582267</c:v>
                </c:pt>
                <c:pt idx="2340">
                  <c:v>160.33036039230041</c:v>
                </c:pt>
                <c:pt idx="2341">
                  <c:v>160.36474502136315</c:v>
                </c:pt>
                <c:pt idx="2342">
                  <c:v>160.39913702459205</c:v>
                </c:pt>
                <c:pt idx="2343">
                  <c:v>160.43353640356858</c:v>
                </c:pt>
                <c:pt idx="2344">
                  <c:v>160.46794315987452</c:v>
                </c:pt>
                <c:pt idx="2345">
                  <c:v>160.50235729509205</c:v>
                </c:pt>
                <c:pt idx="2346">
                  <c:v>160.53677881080364</c:v>
                </c:pt>
                <c:pt idx="2347">
                  <c:v>160.57120770859214</c:v>
                </c:pt>
                <c:pt idx="2348">
                  <c:v>160.6056439900407</c:v>
                </c:pt>
                <c:pt idx="2349">
                  <c:v>160.64008765673285</c:v>
                </c:pt>
                <c:pt idx="2350">
                  <c:v>160.67453871025239</c:v>
                </c:pt>
                <c:pt idx="2351">
                  <c:v>160.70899715218357</c:v>
                </c:pt>
                <c:pt idx="2352">
                  <c:v>160.74346298411086</c:v>
                </c:pt>
                <c:pt idx="2353">
                  <c:v>160.77793620761918</c:v>
                </c:pt>
                <c:pt idx="2354">
                  <c:v>160.81241682429371</c:v>
                </c:pt>
                <c:pt idx="2355">
                  <c:v>160.84690483571998</c:v>
                </c:pt>
                <c:pt idx="2356">
                  <c:v>160.88140024348391</c:v>
                </c:pt>
                <c:pt idx="2357">
                  <c:v>160.9159030491717</c:v>
                </c:pt>
                <c:pt idx="2358">
                  <c:v>160.95041325436992</c:v>
                </c:pt>
                <c:pt idx="2359">
                  <c:v>160.98493086066549</c:v>
                </c:pt>
                <c:pt idx="2360">
                  <c:v>161.01945586964564</c:v>
                </c:pt>
                <c:pt idx="2361">
                  <c:v>161.05398828289799</c:v>
                </c:pt>
                <c:pt idx="2362">
                  <c:v>161.08852810201043</c:v>
                </c:pt>
                <c:pt idx="2363">
                  <c:v>161.12307532857125</c:v>
                </c:pt>
                <c:pt idx="2364">
                  <c:v>161.15762996416908</c:v>
                </c:pt>
                <c:pt idx="2365">
                  <c:v>161.19219201039283</c:v>
                </c:pt>
                <c:pt idx="2366">
                  <c:v>161.22676146883182</c:v>
                </c:pt>
                <c:pt idx="2367">
                  <c:v>161.26133834107569</c:v>
                </c:pt>
                <c:pt idx="2368">
                  <c:v>161.29592262871438</c:v>
                </c:pt>
                <c:pt idx="2369">
                  <c:v>161.33051433333821</c:v>
                </c:pt>
                <c:pt idx="2370">
                  <c:v>161.36511345653784</c:v>
                </c:pt>
                <c:pt idx="2371">
                  <c:v>161.39971999990428</c:v>
                </c:pt>
                <c:pt idx="2372">
                  <c:v>161.43433396502886</c:v>
                </c:pt>
                <c:pt idx="2373">
                  <c:v>161.46895535350325</c:v>
                </c:pt>
                <c:pt idx="2374">
                  <c:v>161.50358416691947</c:v>
                </c:pt>
                <c:pt idx="2375">
                  <c:v>161.5382204068699</c:v>
                </c:pt>
                <c:pt idx="2376">
                  <c:v>161.5728640749472</c:v>
                </c:pt>
                <c:pt idx="2377">
                  <c:v>161.60751517274446</c:v>
                </c:pt>
                <c:pt idx="2378">
                  <c:v>161.64217370185506</c:v>
                </c:pt>
                <c:pt idx="2379">
                  <c:v>161.6768396638727</c:v>
                </c:pt>
                <c:pt idx="2380">
                  <c:v>161.71151306039147</c:v>
                </c:pt>
                <c:pt idx="2381">
                  <c:v>161.7461938930058</c:v>
                </c:pt>
                <c:pt idx="2382">
                  <c:v>161.78088216331039</c:v>
                </c:pt>
                <c:pt idx="2383">
                  <c:v>161.81557787290038</c:v>
                </c:pt>
                <c:pt idx="2384">
                  <c:v>161.8502810233712</c:v>
                </c:pt>
                <c:pt idx="2385">
                  <c:v>161.88499161631862</c:v>
                </c:pt>
                <c:pt idx="2386">
                  <c:v>161.91970965333877</c:v>
                </c:pt>
                <c:pt idx="2387">
                  <c:v>161.95443513602811</c:v>
                </c:pt>
                <c:pt idx="2388">
                  <c:v>161.98916806598345</c:v>
                </c:pt>
                <c:pt idx="2389">
                  <c:v>162.02390844480195</c:v>
                </c:pt>
                <c:pt idx="2390">
                  <c:v>162.05865627408107</c:v>
                </c:pt>
                <c:pt idx="2391">
                  <c:v>162.09341155541867</c:v>
                </c:pt>
                <c:pt idx="2392">
                  <c:v>162.12817429041291</c:v>
                </c:pt>
                <c:pt idx="2393">
                  <c:v>162.16294448066233</c:v>
                </c:pt>
                <c:pt idx="2394">
                  <c:v>162.19772212776579</c:v>
                </c:pt>
                <c:pt idx="2395">
                  <c:v>162.23250723332248</c:v>
                </c:pt>
                <c:pt idx="2396">
                  <c:v>162.26729979893196</c:v>
                </c:pt>
                <c:pt idx="2397">
                  <c:v>162.30209982619411</c:v>
                </c:pt>
                <c:pt idx="2398">
                  <c:v>162.33690731670916</c:v>
                </c:pt>
                <c:pt idx="2399">
                  <c:v>162.3717222720777</c:v>
                </c:pt>
                <c:pt idx="2400">
                  <c:v>162.40654469390066</c:v>
                </c:pt>
                <c:pt idx="2401">
                  <c:v>159.8473503243556</c:v>
                </c:pt>
                <c:pt idx="2402">
                  <c:v>159.88163136653699</c:v>
                </c:pt>
                <c:pt idx="2403">
                  <c:v>159.91591976066917</c:v>
                </c:pt>
                <c:pt idx="2404">
                  <c:v>159.95021550832885</c:v>
                </c:pt>
                <c:pt idx="2405">
                  <c:v>159.98451861109308</c:v>
                </c:pt>
                <c:pt idx="2406">
                  <c:v>160.01882907053923</c:v>
                </c:pt>
                <c:pt idx="2407">
                  <c:v>160.05314688824501</c:v>
                </c:pt>
                <c:pt idx="2408">
                  <c:v>160.08747206578852</c:v>
                </c:pt>
                <c:pt idx="2409">
                  <c:v>160.12180460474812</c:v>
                </c:pt>
                <c:pt idx="2410">
                  <c:v>160.15614450670256</c:v>
                </c:pt>
                <c:pt idx="2411">
                  <c:v>160.19049177323092</c:v>
                </c:pt>
                <c:pt idx="2412">
                  <c:v>160.22484640591261</c:v>
                </c:pt>
                <c:pt idx="2413">
                  <c:v>160.25920840632742</c:v>
                </c:pt>
                <c:pt idx="2414">
                  <c:v>160.2935777760554</c:v>
                </c:pt>
                <c:pt idx="2415">
                  <c:v>160.32795451667698</c:v>
                </c:pt>
                <c:pt idx="2416">
                  <c:v>160.36233862977295</c:v>
                </c:pt>
                <c:pt idx="2417">
                  <c:v>160.3967301169244</c:v>
                </c:pt>
                <c:pt idx="2418">
                  <c:v>160.43112897971281</c:v>
                </c:pt>
                <c:pt idx="2419">
                  <c:v>160.46553521971992</c:v>
                </c:pt>
                <c:pt idx="2420">
                  <c:v>160.4999488385279</c:v>
                </c:pt>
                <c:pt idx="2421">
                  <c:v>160.5343698377192</c:v>
                </c:pt>
                <c:pt idx="2422">
                  <c:v>160.56879821887662</c:v>
                </c:pt>
                <c:pt idx="2423">
                  <c:v>160.60323398358332</c:v>
                </c:pt>
                <c:pt idx="2424">
                  <c:v>160.63767713342276</c:v>
                </c:pt>
                <c:pt idx="2425">
                  <c:v>160.67212766997878</c:v>
                </c:pt>
                <c:pt idx="2426">
                  <c:v>160.70658559483553</c:v>
                </c:pt>
                <c:pt idx="2427">
                  <c:v>160.74105090957752</c:v>
                </c:pt>
                <c:pt idx="2428">
                  <c:v>160.77552361578961</c:v>
                </c:pt>
                <c:pt idx="2429">
                  <c:v>160.81000371505698</c:v>
                </c:pt>
                <c:pt idx="2430">
                  <c:v>160.84449120896514</c:v>
                </c:pt>
                <c:pt idx="2431">
                  <c:v>160.87898609909996</c:v>
                </c:pt>
                <c:pt idx="2432">
                  <c:v>160.91348838704764</c:v>
                </c:pt>
                <c:pt idx="2433">
                  <c:v>160.94799807439472</c:v>
                </c:pt>
                <c:pt idx="2434">
                  <c:v>160.98251516272808</c:v>
                </c:pt>
                <c:pt idx="2435">
                  <c:v>161.01703965363495</c:v>
                </c:pt>
                <c:pt idx="2436">
                  <c:v>161.0515715487029</c:v>
                </c:pt>
                <c:pt idx="2437">
                  <c:v>161.08611084951983</c:v>
                </c:pt>
                <c:pt idx="2438">
                  <c:v>161.12065755767398</c:v>
                </c:pt>
                <c:pt idx="2439">
                  <c:v>161.15521167475393</c:v>
                </c:pt>
                <c:pt idx="2440">
                  <c:v>161.18977320234862</c:v>
                </c:pt>
                <c:pt idx="2441">
                  <c:v>161.22434214204731</c:v>
                </c:pt>
                <c:pt idx="2442">
                  <c:v>161.25891849543962</c:v>
                </c:pt>
                <c:pt idx="2443">
                  <c:v>161.29350226411549</c:v>
                </c:pt>
                <c:pt idx="2444">
                  <c:v>161.3280934496652</c:v>
                </c:pt>
                <c:pt idx="2445">
                  <c:v>161.36269205367941</c:v>
                </c:pt>
                <c:pt idx="2446">
                  <c:v>161.39729807774907</c:v>
                </c:pt>
                <c:pt idx="2447">
                  <c:v>161.43191152346549</c:v>
                </c:pt>
                <c:pt idx="2448">
                  <c:v>161.46653239242033</c:v>
                </c:pt>
                <c:pt idx="2449">
                  <c:v>161.50116068620559</c:v>
                </c:pt>
                <c:pt idx="2450">
                  <c:v>161.53579640641362</c:v>
                </c:pt>
                <c:pt idx="2451">
                  <c:v>161.57043955463709</c:v>
                </c:pt>
                <c:pt idx="2452">
                  <c:v>161.605090132469</c:v>
                </c:pt>
                <c:pt idx="2453">
                  <c:v>161.63974814150274</c:v>
                </c:pt>
                <c:pt idx="2454">
                  <c:v>161.67441358333198</c:v>
                </c:pt>
                <c:pt idx="2455">
                  <c:v>161.7090864595508</c:v>
                </c:pt>
                <c:pt idx="2456">
                  <c:v>161.74376677175357</c:v>
                </c:pt>
                <c:pt idx="2457">
                  <c:v>161.77845452153502</c:v>
                </c:pt>
                <c:pt idx="2458">
                  <c:v>161.81314971049025</c:v>
                </c:pt>
                <c:pt idx="2459">
                  <c:v>161.84785234021464</c:v>
                </c:pt>
                <c:pt idx="2460">
                  <c:v>161.88256241230394</c:v>
                </c:pt>
                <c:pt idx="2461">
                  <c:v>161.91727992835428</c:v>
                </c:pt>
                <c:pt idx="2462">
                  <c:v>161.95200488996207</c:v>
                </c:pt>
                <c:pt idx="2463">
                  <c:v>161.98673729872411</c:v>
                </c:pt>
                <c:pt idx="2464">
                  <c:v>162.02147715623752</c:v>
                </c:pt>
                <c:pt idx="2465">
                  <c:v>162.05622446409978</c:v>
                </c:pt>
                <c:pt idx="2466">
                  <c:v>162.09097922390868</c:v>
                </c:pt>
                <c:pt idx="2467">
                  <c:v>162.12574143726238</c:v>
                </c:pt>
                <c:pt idx="2468">
                  <c:v>162.16051110575938</c:v>
                </c:pt>
                <c:pt idx="2469">
                  <c:v>162.1952882309985</c:v>
                </c:pt>
                <c:pt idx="2470">
                  <c:v>162.23007281457896</c:v>
                </c:pt>
                <c:pt idx="2471">
                  <c:v>162.26486485810025</c:v>
                </c:pt>
                <c:pt idx="2472">
                  <c:v>162.29966436316224</c:v>
                </c:pt>
                <c:pt idx="2473">
                  <c:v>162.33447133136514</c:v>
                </c:pt>
                <c:pt idx="2474">
                  <c:v>162.36928576430952</c:v>
                </c:pt>
                <c:pt idx="2475">
                  <c:v>162.40410766359628</c:v>
                </c:pt>
                <c:pt idx="2476">
                  <c:v>162.43893703082665</c:v>
                </c:pt>
                <c:pt idx="2477">
                  <c:v>162.4737738676022</c:v>
                </c:pt>
                <c:pt idx="2478">
                  <c:v>162.50861817552487</c:v>
                </c:pt>
                <c:pt idx="2479">
                  <c:v>162.54346995619693</c:v>
                </c:pt>
                <c:pt idx="2480">
                  <c:v>162.57832921122099</c:v>
                </c:pt>
                <c:pt idx="2481">
                  <c:v>162.61319594220004</c:v>
                </c:pt>
                <c:pt idx="2482">
                  <c:v>162.64807015073734</c:v>
                </c:pt>
                <c:pt idx="2483">
                  <c:v>162.68295183843654</c:v>
                </c:pt>
                <c:pt idx="2484">
                  <c:v>162.71784100690164</c:v>
                </c:pt>
                <c:pt idx="2485">
                  <c:v>162.75273765773699</c:v>
                </c:pt>
                <c:pt idx="2486">
                  <c:v>162.78764179254725</c:v>
                </c:pt>
                <c:pt idx="2487">
                  <c:v>162.82255341293742</c:v>
                </c:pt>
                <c:pt idx="2488">
                  <c:v>162.85747252051291</c:v>
                </c:pt>
                <c:pt idx="2489">
                  <c:v>162.8923991168794</c:v>
                </c:pt>
                <c:pt idx="2490">
                  <c:v>162.92733320364295</c:v>
                </c:pt>
                <c:pt idx="2491">
                  <c:v>162.96227478240996</c:v>
                </c:pt>
                <c:pt idx="2492">
                  <c:v>162.99722385478717</c:v>
                </c:pt>
                <c:pt idx="2493">
                  <c:v>163.03218042238169</c:v>
                </c:pt>
                <c:pt idx="2494">
                  <c:v>163.06714448680091</c:v>
                </c:pt>
                <c:pt idx="2495">
                  <c:v>163.10211604965266</c:v>
                </c:pt>
                <c:pt idx="2496">
                  <c:v>163.13709511254504</c:v>
                </c:pt>
                <c:pt idx="2497">
                  <c:v>163.17208167708648</c:v>
                </c:pt>
                <c:pt idx="2498">
                  <c:v>163.20707574488583</c:v>
                </c:pt>
                <c:pt idx="2499">
                  <c:v>163.24207731755226</c:v>
                </c:pt>
                <c:pt idx="2500">
                  <c:v>163.27708639669524</c:v>
                </c:pt>
                <c:pt idx="2501">
                  <c:v>163.31210298392463</c:v>
                </c:pt>
                <c:pt idx="2502">
                  <c:v>163.34712708085064</c:v>
                </c:pt>
                <c:pt idx="2503">
                  <c:v>163.38215868908378</c:v>
                </c:pt>
                <c:pt idx="2504">
                  <c:v>163.41719781023494</c:v>
                </c:pt>
                <c:pt idx="2505">
                  <c:v>163.45224444591537</c:v>
                </c:pt>
                <c:pt idx="2506">
                  <c:v>163.48729859773661</c:v>
                </c:pt>
                <c:pt idx="2507">
                  <c:v>163.5223602673106</c:v>
                </c:pt>
                <c:pt idx="2508">
                  <c:v>163.55742945624962</c:v>
                </c:pt>
                <c:pt idx="2509">
                  <c:v>163.59250616616626</c:v>
                </c:pt>
                <c:pt idx="2510">
                  <c:v>163.62759039867348</c:v>
                </c:pt>
                <c:pt idx="2511">
                  <c:v>163.66268215538457</c:v>
                </c:pt>
                <c:pt idx="2512">
                  <c:v>163.69778143791322</c:v>
                </c:pt>
                <c:pt idx="2513">
                  <c:v>163.7328882478734</c:v>
                </c:pt>
                <c:pt idx="2514">
                  <c:v>163.76800258687945</c:v>
                </c:pt>
                <c:pt idx="2515">
                  <c:v>163.80312445654604</c:v>
                </c:pt>
                <c:pt idx="2516">
                  <c:v>163.83825385848823</c:v>
                </c:pt>
                <c:pt idx="2517">
                  <c:v>163.87339079432141</c:v>
                </c:pt>
                <c:pt idx="2518">
                  <c:v>163.90853526566127</c:v>
                </c:pt>
                <c:pt idx="2519">
                  <c:v>163.9436872741239</c:v>
                </c:pt>
                <c:pt idx="2520">
                  <c:v>163.97884682132573</c:v>
                </c:pt>
                <c:pt idx="2521">
                  <c:v>164.01401390888353</c:v>
                </c:pt>
                <c:pt idx="2522">
                  <c:v>164.0491885384144</c:v>
                </c:pt>
                <c:pt idx="2523">
                  <c:v>164.0843707115358</c:v>
                </c:pt>
                <c:pt idx="2524">
                  <c:v>164.11956042986554</c:v>
                </c:pt>
                <c:pt idx="2525">
                  <c:v>164.15475769502177</c:v>
                </c:pt>
                <c:pt idx="2526">
                  <c:v>164.18996250862301</c:v>
                </c:pt>
                <c:pt idx="2527">
                  <c:v>164.22517487228808</c:v>
                </c:pt>
                <c:pt idx="2528">
                  <c:v>164.26039478763619</c:v>
                </c:pt>
                <c:pt idx="2529">
                  <c:v>164.29562225628689</c:v>
                </c:pt>
                <c:pt idx="2530">
                  <c:v>164.33085727986006</c:v>
                </c:pt>
                <c:pt idx="2531">
                  <c:v>164.36609985997592</c:v>
                </c:pt>
                <c:pt idx="2532">
                  <c:v>164.40134999825509</c:v>
                </c:pt>
                <c:pt idx="2533">
                  <c:v>164.43660769631848</c:v>
                </c:pt>
                <c:pt idx="2534">
                  <c:v>164.47187295578738</c:v>
                </c:pt>
                <c:pt idx="2535">
                  <c:v>164.50714577828339</c:v>
                </c:pt>
                <c:pt idx="2536">
                  <c:v>164.54242616542851</c:v>
                </c:pt>
                <c:pt idx="2537">
                  <c:v>164.57771411884508</c:v>
                </c:pt>
                <c:pt idx="2538">
                  <c:v>164.61300964015575</c:v>
                </c:pt>
                <c:pt idx="2539">
                  <c:v>164.64831273098352</c:v>
                </c:pt>
                <c:pt idx="2540">
                  <c:v>164.68362339295177</c:v>
                </c:pt>
                <c:pt idx="2541">
                  <c:v>164.71894162768425</c:v>
                </c:pt>
                <c:pt idx="2542">
                  <c:v>164.75426743680498</c:v>
                </c:pt>
                <c:pt idx="2543">
                  <c:v>164.78960082193839</c:v>
                </c:pt>
                <c:pt idx="2544">
                  <c:v>164.82494178470924</c:v>
                </c:pt>
                <c:pt idx="2545">
                  <c:v>164.86029032674264</c:v>
                </c:pt>
                <c:pt idx="2546">
                  <c:v>164.89564644966404</c:v>
                </c:pt>
                <c:pt idx="2547">
                  <c:v>164.93101015509924</c:v>
                </c:pt>
                <c:pt idx="2548">
                  <c:v>164.96638144467443</c:v>
                </c:pt>
                <c:pt idx="2549">
                  <c:v>165.00176032001607</c:v>
                </c:pt>
                <c:pt idx="2550">
                  <c:v>165.03714678275102</c:v>
                </c:pt>
                <c:pt idx="2551">
                  <c:v>165.0725408345065</c:v>
                </c:pt>
                <c:pt idx="2552">
                  <c:v>165.10794247691004</c:v>
                </c:pt>
                <c:pt idx="2553">
                  <c:v>165.14335171158956</c:v>
                </c:pt>
                <c:pt idx="2554">
                  <c:v>165.17876854017331</c:v>
                </c:pt>
                <c:pt idx="2555">
                  <c:v>165.21419296428985</c:v>
                </c:pt>
                <c:pt idx="2556">
                  <c:v>165.24962498556818</c:v>
                </c:pt>
                <c:pt idx="2557">
                  <c:v>165.28506460563753</c:v>
                </c:pt>
                <c:pt idx="2558">
                  <c:v>165.32051182612759</c:v>
                </c:pt>
                <c:pt idx="2559">
                  <c:v>165.35596664866836</c:v>
                </c:pt>
                <c:pt idx="2560">
                  <c:v>165.39142907489017</c:v>
                </c:pt>
                <c:pt idx="2561">
                  <c:v>165.42689910642372</c:v>
                </c:pt>
                <c:pt idx="2562">
                  <c:v>165.46237674490004</c:v>
                </c:pt>
                <c:pt idx="2563">
                  <c:v>165.49786199195054</c:v>
                </c:pt>
                <c:pt idx="2564">
                  <c:v>165.53335484920694</c:v>
                </c:pt>
                <c:pt idx="2565">
                  <c:v>165.56885531830136</c:v>
                </c:pt>
                <c:pt idx="2566">
                  <c:v>165.60436340086622</c:v>
                </c:pt>
                <c:pt idx="2567">
                  <c:v>165.63987909853432</c:v>
                </c:pt>
                <c:pt idx="2568">
                  <c:v>165.67540241293881</c:v>
                </c:pt>
                <c:pt idx="2569">
                  <c:v>165.71093334571319</c:v>
                </c:pt>
                <c:pt idx="2570">
                  <c:v>165.74647189849131</c:v>
                </c:pt>
                <c:pt idx="2571">
                  <c:v>165.78201807290733</c:v>
                </c:pt>
                <c:pt idx="2572">
                  <c:v>165.81757187059583</c:v>
                </c:pt>
                <c:pt idx="2573">
                  <c:v>165.85313329319169</c:v>
                </c:pt>
                <c:pt idx="2574">
                  <c:v>165.88870234233016</c:v>
                </c:pt>
                <c:pt idx="2575">
                  <c:v>165.92427901964683</c:v>
                </c:pt>
                <c:pt idx="2576">
                  <c:v>165.95986332677765</c:v>
                </c:pt>
                <c:pt idx="2577">
                  <c:v>165.99545526535891</c:v>
                </c:pt>
                <c:pt idx="2578">
                  <c:v>166.03105483702728</c:v>
                </c:pt>
                <c:pt idx="2579">
                  <c:v>166.06666204341977</c:v>
                </c:pt>
                <c:pt idx="2580">
                  <c:v>166.10227688617368</c:v>
                </c:pt>
                <c:pt idx="2581">
                  <c:v>166.13789936692677</c:v>
                </c:pt>
                <c:pt idx="2582">
                  <c:v>166.17352948731707</c:v>
                </c:pt>
                <c:pt idx="2583">
                  <c:v>166.20916724898296</c:v>
                </c:pt>
                <c:pt idx="2584">
                  <c:v>166.24481265356323</c:v>
                </c:pt>
                <c:pt idx="2585">
                  <c:v>166.280465702697</c:v>
                </c:pt>
                <c:pt idx="2586">
                  <c:v>166.3161263980237</c:v>
                </c:pt>
                <c:pt idx="2587">
                  <c:v>166.35179474118314</c:v>
                </c:pt>
                <c:pt idx="2588">
                  <c:v>166.38747073381549</c:v>
                </c:pt>
                <c:pt idx="2589">
                  <c:v>166.42315437756127</c:v>
                </c:pt>
                <c:pt idx="2590">
                  <c:v>166.45884567406137</c:v>
                </c:pt>
                <c:pt idx="2591">
                  <c:v>166.49454462495694</c:v>
                </c:pt>
                <c:pt idx="2592">
                  <c:v>166.53025123188962</c:v>
                </c:pt>
                <c:pt idx="2593">
                  <c:v>166.56596549650129</c:v>
                </c:pt>
                <c:pt idx="2594">
                  <c:v>166.60168742043425</c:v>
                </c:pt>
                <c:pt idx="2595">
                  <c:v>166.63741700533112</c:v>
                </c:pt>
                <c:pt idx="2596">
                  <c:v>166.67315425283485</c:v>
                </c:pt>
                <c:pt idx="2597">
                  <c:v>166.70889916458881</c:v>
                </c:pt>
                <c:pt idx="2598">
                  <c:v>166.74465174223667</c:v>
                </c:pt>
                <c:pt idx="2599">
                  <c:v>166.78041198742247</c:v>
                </c:pt>
                <c:pt idx="2600">
                  <c:v>166.81617990179058</c:v>
                </c:pt>
                <c:pt idx="2601">
                  <c:v>166.85195548698576</c:v>
                </c:pt>
                <c:pt idx="2602">
                  <c:v>166.88773874465309</c:v>
                </c:pt>
                <c:pt idx="2603">
                  <c:v>166.92352967643805</c:v>
                </c:pt>
                <c:pt idx="2604">
                  <c:v>166.95932828398639</c:v>
                </c:pt>
                <c:pt idx="2605">
                  <c:v>166.99513456894431</c:v>
                </c:pt>
                <c:pt idx="2606">
                  <c:v>167.03094853295829</c:v>
                </c:pt>
                <c:pt idx="2607">
                  <c:v>167.06677017767518</c:v>
                </c:pt>
                <c:pt idx="2608">
                  <c:v>167.10259950474222</c:v>
                </c:pt>
                <c:pt idx="2609">
                  <c:v>167.13843651580694</c:v>
                </c:pt>
                <c:pt idx="2610">
                  <c:v>167.17428121251731</c:v>
                </c:pt>
                <c:pt idx="2611">
                  <c:v>167.21013359652156</c:v>
                </c:pt>
                <c:pt idx="2612">
                  <c:v>167.24599366946833</c:v>
                </c:pt>
                <c:pt idx="2613">
                  <c:v>167.28186143300661</c:v>
                </c:pt>
                <c:pt idx="2614">
                  <c:v>167.3177368887857</c:v>
                </c:pt>
                <c:pt idx="2615">
                  <c:v>167.35362003845532</c:v>
                </c:pt>
                <c:pt idx="2616">
                  <c:v>167.38951088366548</c:v>
                </c:pt>
                <c:pt idx="2617">
                  <c:v>167.42540942606661</c:v>
                </c:pt>
                <c:pt idx="2618">
                  <c:v>167.46131566730944</c:v>
                </c:pt>
                <c:pt idx="2619">
                  <c:v>167.49722960904506</c:v>
                </c:pt>
                <c:pt idx="2620">
                  <c:v>167.53315125292494</c:v>
                </c:pt>
                <c:pt idx="2621">
                  <c:v>167.5690806006009</c:v>
                </c:pt>
                <c:pt idx="2622">
                  <c:v>167.6050176537251</c:v>
                </c:pt>
                <c:pt idx="2623">
                  <c:v>167.64096241395004</c:v>
                </c:pt>
                <c:pt idx="2624">
                  <c:v>167.6769148829286</c:v>
                </c:pt>
                <c:pt idx="2625">
                  <c:v>167.71287506231403</c:v>
                </c:pt>
                <c:pt idx="2626">
                  <c:v>167.74884295375989</c:v>
                </c:pt>
                <c:pt idx="2627">
                  <c:v>167.78481855892014</c:v>
                </c:pt>
                <c:pt idx="2628">
                  <c:v>167.82080187944902</c:v>
                </c:pt>
                <c:pt idx="2629">
                  <c:v>167.85679291700123</c:v>
                </c:pt>
                <c:pt idx="2630">
                  <c:v>167.89279167323176</c:v>
                </c:pt>
                <c:pt idx="2631">
                  <c:v>167.92879814979594</c:v>
                </c:pt>
                <c:pt idx="2632">
                  <c:v>167.96481234834951</c:v>
                </c:pt>
                <c:pt idx="2633">
                  <c:v>168.00083427054852</c:v>
                </c:pt>
                <c:pt idx="2634">
                  <c:v>168.03686391804942</c:v>
                </c:pt>
                <c:pt idx="2635">
                  <c:v>168.07290129250896</c:v>
                </c:pt>
                <c:pt idx="2636">
                  <c:v>168.10894639558427</c:v>
                </c:pt>
                <c:pt idx="2637">
                  <c:v>168.14499922893285</c:v>
                </c:pt>
                <c:pt idx="2638">
                  <c:v>168.18105979421253</c:v>
                </c:pt>
                <c:pt idx="2639">
                  <c:v>168.21712809308153</c:v>
                </c:pt>
                <c:pt idx="2640">
                  <c:v>168.25320412719839</c:v>
                </c:pt>
                <c:pt idx="2641">
                  <c:v>167.46643210916088</c:v>
                </c:pt>
                <c:pt idx="2642">
                  <c:v>167.50234714817438</c:v>
                </c:pt>
                <c:pt idx="2643">
                  <c:v>167.53826988956746</c:v>
                </c:pt>
                <c:pt idx="2644">
                  <c:v>167.57420033499199</c:v>
                </c:pt>
                <c:pt idx="2645">
                  <c:v>167.61013848610017</c:v>
                </c:pt>
                <c:pt idx="2646">
                  <c:v>167.64608434454456</c:v>
                </c:pt>
                <c:pt idx="2647">
                  <c:v>167.68203791197811</c:v>
                </c:pt>
                <c:pt idx="2648">
                  <c:v>167.71799919005409</c:v>
                </c:pt>
                <c:pt idx="2649">
                  <c:v>167.75396818042614</c:v>
                </c:pt>
                <c:pt idx="2650">
                  <c:v>167.78994488474825</c:v>
                </c:pt>
                <c:pt idx="2651">
                  <c:v>167.82592930467473</c:v>
                </c:pt>
                <c:pt idx="2652">
                  <c:v>167.86192144186032</c:v>
                </c:pt>
                <c:pt idx="2653">
                  <c:v>167.89792129796004</c:v>
                </c:pt>
                <c:pt idx="2654">
                  <c:v>167.93392887462932</c:v>
                </c:pt>
                <c:pt idx="2655">
                  <c:v>167.96994417352391</c:v>
                </c:pt>
                <c:pt idx="2656">
                  <c:v>168.00596719629993</c:v>
                </c:pt>
                <c:pt idx="2657">
                  <c:v>168.04199794461385</c:v>
                </c:pt>
                <c:pt idx="2658">
                  <c:v>168.07803642012249</c:v>
                </c:pt>
                <c:pt idx="2659">
                  <c:v>168.11408262448305</c:v>
                </c:pt>
                <c:pt idx="2660">
                  <c:v>168.15013655935306</c:v>
                </c:pt>
                <c:pt idx="2661">
                  <c:v>168.18619822639042</c:v>
                </c:pt>
                <c:pt idx="2662">
                  <c:v>168.22226762725336</c:v>
                </c:pt>
                <c:pt idx="2663">
                  <c:v>168.25834476360049</c:v>
                </c:pt>
                <c:pt idx="2664">
                  <c:v>168.29442963709079</c:v>
                </c:pt>
                <c:pt idx="2665">
                  <c:v>168.33052224938356</c:v>
                </c:pt>
                <c:pt idx="2666">
                  <c:v>168.36662260213848</c:v>
                </c:pt>
                <c:pt idx="2667">
                  <c:v>168.40273069701556</c:v>
                </c:pt>
                <c:pt idx="2668">
                  <c:v>168.4388465356752</c:v>
                </c:pt>
                <c:pt idx="2669">
                  <c:v>168.47497011977813</c:v>
                </c:pt>
                <c:pt idx="2670">
                  <c:v>168.51110145098548</c:v>
                </c:pt>
                <c:pt idx="2671">
                  <c:v>164.21763351133242</c:v>
                </c:pt>
                <c:pt idx="2672">
                  <c:v>164.2528518093518</c:v>
                </c:pt>
                <c:pt idx="2673">
                  <c:v>164.28807766032691</c:v>
                </c:pt>
                <c:pt idx="2674">
                  <c:v>164.32331106587756</c:v>
                </c:pt>
                <c:pt idx="2675">
                  <c:v>164.35855202762392</c:v>
                </c:pt>
                <c:pt idx="2676">
                  <c:v>164.39380054718649</c:v>
                </c:pt>
                <c:pt idx="2677">
                  <c:v>164.42905662618611</c:v>
                </c:pt>
                <c:pt idx="2678">
                  <c:v>164.46432026624402</c:v>
                </c:pt>
                <c:pt idx="2679">
                  <c:v>164.49959146898175</c:v>
                </c:pt>
                <c:pt idx="2680">
                  <c:v>164.53487023602122</c:v>
                </c:pt>
                <c:pt idx="2681">
                  <c:v>164.57015656898469</c:v>
                </c:pt>
                <c:pt idx="2682">
                  <c:v>164.60545046949471</c:v>
                </c:pt>
                <c:pt idx="2683">
                  <c:v>164.64075193917427</c:v>
                </c:pt>
                <c:pt idx="2684">
                  <c:v>164.67606097964662</c:v>
                </c:pt>
                <c:pt idx="2685">
                  <c:v>164.71137759253546</c:v>
                </c:pt>
                <c:pt idx="2686">
                  <c:v>164.74670177946473</c:v>
                </c:pt>
                <c:pt idx="2687">
                  <c:v>164.78203354205877</c:v>
                </c:pt>
                <c:pt idx="2688">
                  <c:v>164.81737288194228</c:v>
                </c:pt>
                <c:pt idx="2689">
                  <c:v>164.85271980074029</c:v>
                </c:pt>
                <c:pt idx="2690">
                  <c:v>164.88807430007819</c:v>
                </c:pt>
                <c:pt idx="2691">
                  <c:v>164.92343638158169</c:v>
                </c:pt>
                <c:pt idx="2692">
                  <c:v>164.9588060468769</c:v>
                </c:pt>
                <c:pt idx="2693">
                  <c:v>164.99418329759024</c:v>
                </c:pt>
                <c:pt idx="2694">
                  <c:v>165.02956813534846</c:v>
                </c:pt>
                <c:pt idx="2695">
                  <c:v>165.06496056177872</c:v>
                </c:pt>
                <c:pt idx="2696">
                  <c:v>165.10036057850849</c:v>
                </c:pt>
                <c:pt idx="2697">
                  <c:v>165.13576818716555</c:v>
                </c:pt>
                <c:pt idx="2698">
                  <c:v>165.17118338937811</c:v>
                </c:pt>
                <c:pt idx="2699">
                  <c:v>165.20660618677471</c:v>
                </c:pt>
                <c:pt idx="2700">
                  <c:v>165.24203658098421</c:v>
                </c:pt>
                <c:pt idx="2701">
                  <c:v>165.2774745736358</c:v>
                </c:pt>
                <c:pt idx="2702">
                  <c:v>165.31292016635908</c:v>
                </c:pt>
                <c:pt idx="2703">
                  <c:v>165.34837336078397</c:v>
                </c:pt>
                <c:pt idx="2704">
                  <c:v>165.38383415854074</c:v>
                </c:pt>
                <c:pt idx="2705">
                  <c:v>165.41930256126</c:v>
                </c:pt>
                <c:pt idx="2706">
                  <c:v>165.4547785705727</c:v>
                </c:pt>
                <c:pt idx="2707">
                  <c:v>165.49026218811019</c:v>
                </c:pt>
                <c:pt idx="2708">
                  <c:v>165.52575341550414</c:v>
                </c:pt>
                <c:pt idx="2709">
                  <c:v>165.56125225438655</c:v>
                </c:pt>
                <c:pt idx="2710">
                  <c:v>165.59675870638978</c:v>
                </c:pt>
                <c:pt idx="2711">
                  <c:v>165.63227277314658</c:v>
                </c:pt>
                <c:pt idx="2712">
                  <c:v>165.66779445629001</c:v>
                </c:pt>
                <c:pt idx="2713">
                  <c:v>165.70332375745346</c:v>
                </c:pt>
                <c:pt idx="2714">
                  <c:v>165.73886067827073</c:v>
                </c:pt>
                <c:pt idx="2715">
                  <c:v>165.77440522037591</c:v>
                </c:pt>
                <c:pt idx="2716">
                  <c:v>165.80995738540352</c:v>
                </c:pt>
                <c:pt idx="2717">
                  <c:v>165.84551717498834</c:v>
                </c:pt>
                <c:pt idx="2718">
                  <c:v>165.88108459076554</c:v>
                </c:pt>
                <c:pt idx="2719">
                  <c:v>165.91665963437066</c:v>
                </c:pt>
                <c:pt idx="2720">
                  <c:v>165.95224230743958</c:v>
                </c:pt>
                <c:pt idx="2721">
                  <c:v>165.9878326116085</c:v>
                </c:pt>
                <c:pt idx="2722">
                  <c:v>166.023430548514</c:v>
                </c:pt>
                <c:pt idx="2723">
                  <c:v>166.05903611979301</c:v>
                </c:pt>
                <c:pt idx="2724">
                  <c:v>166.09464932708281</c:v>
                </c:pt>
                <c:pt idx="2725">
                  <c:v>166.130270172021</c:v>
                </c:pt>
                <c:pt idx="2726">
                  <c:v>166.16589865624559</c:v>
                </c:pt>
                <c:pt idx="2727">
                  <c:v>166.20153478139491</c:v>
                </c:pt>
                <c:pt idx="2728">
                  <c:v>166.23717854910763</c:v>
                </c:pt>
                <c:pt idx="2729">
                  <c:v>166.27282996102278</c:v>
                </c:pt>
                <c:pt idx="2730">
                  <c:v>166.30848901877974</c:v>
                </c:pt>
                <c:pt idx="2731">
                  <c:v>166.34415572401826</c:v>
                </c:pt>
                <c:pt idx="2732">
                  <c:v>166.37983007837843</c:v>
                </c:pt>
                <c:pt idx="2733">
                  <c:v>166.41551208350069</c:v>
                </c:pt>
                <c:pt idx="2734">
                  <c:v>166.45120174102581</c:v>
                </c:pt>
                <c:pt idx="2735">
                  <c:v>166.48689905259494</c:v>
                </c:pt>
                <c:pt idx="2736">
                  <c:v>166.52260401984958</c:v>
                </c:pt>
                <c:pt idx="2737">
                  <c:v>166.55831664443159</c:v>
                </c:pt>
                <c:pt idx="2738">
                  <c:v>166.59403692798313</c:v>
                </c:pt>
                <c:pt idx="2739">
                  <c:v>166.62976487214678</c:v>
                </c:pt>
                <c:pt idx="2740">
                  <c:v>166.66550047856543</c:v>
                </c:pt>
                <c:pt idx="2741">
                  <c:v>166.70124374888238</c:v>
                </c:pt>
                <c:pt idx="2742">
                  <c:v>166.73699468474118</c:v>
                </c:pt>
                <c:pt idx="2743">
                  <c:v>166.77275328778583</c:v>
                </c:pt>
                <c:pt idx="2744">
                  <c:v>166.80851955966062</c:v>
                </c:pt>
                <c:pt idx="2745">
                  <c:v>166.84429350201023</c:v>
                </c:pt>
                <c:pt idx="2746">
                  <c:v>166.88007511647967</c:v>
                </c:pt>
                <c:pt idx="2747">
                  <c:v>166.91586440471431</c:v>
                </c:pt>
                <c:pt idx="2748">
                  <c:v>166.95166136835988</c:v>
                </c:pt>
                <c:pt idx="2749">
                  <c:v>166.98746600906247</c:v>
                </c:pt>
                <c:pt idx="2750">
                  <c:v>167.02327832846848</c:v>
                </c:pt>
                <c:pt idx="2751">
                  <c:v>167.05909832822471</c:v>
                </c:pt>
                <c:pt idx="2752">
                  <c:v>167.09492600997831</c:v>
                </c:pt>
                <c:pt idx="2753">
                  <c:v>167.13076137537675</c:v>
                </c:pt>
                <c:pt idx="2754">
                  <c:v>167.16660442606786</c:v>
                </c:pt>
                <c:pt idx="2755">
                  <c:v>167.20245516369988</c:v>
                </c:pt>
                <c:pt idx="2756">
                  <c:v>167.23831358992132</c:v>
                </c:pt>
                <c:pt idx="2757">
                  <c:v>167.27417970638112</c:v>
                </c:pt>
                <c:pt idx="2758">
                  <c:v>167.31005351472851</c:v>
                </c:pt>
                <c:pt idx="2759">
                  <c:v>167.34593501661311</c:v>
                </c:pt>
                <c:pt idx="2760">
                  <c:v>167.38182421368487</c:v>
                </c:pt>
                <c:pt idx="2761">
                  <c:v>167.4177211075941</c:v>
                </c:pt>
                <c:pt idx="2762">
                  <c:v>167.45362569999151</c:v>
                </c:pt>
                <c:pt idx="2763">
                  <c:v>167.48953799252811</c:v>
                </c:pt>
                <c:pt idx="2764">
                  <c:v>167.52545798685529</c:v>
                </c:pt>
                <c:pt idx="2765">
                  <c:v>167.56138568462475</c:v>
                </c:pt>
                <c:pt idx="2766">
                  <c:v>167.59732108748861</c:v>
                </c:pt>
                <c:pt idx="2767">
                  <c:v>167.63326419709932</c:v>
                </c:pt>
                <c:pt idx="2768">
                  <c:v>167.66921501510967</c:v>
                </c:pt>
                <c:pt idx="2769">
                  <c:v>167.7051735431728</c:v>
                </c:pt>
                <c:pt idx="2770">
                  <c:v>167.74113978294221</c:v>
                </c:pt>
                <c:pt idx="2771">
                  <c:v>167.77711373607178</c:v>
                </c:pt>
                <c:pt idx="2772">
                  <c:v>167.81309540421572</c:v>
                </c:pt>
                <c:pt idx="2773">
                  <c:v>167.84908478902861</c:v>
                </c:pt>
                <c:pt idx="2774">
                  <c:v>167.88508189216535</c:v>
                </c:pt>
                <c:pt idx="2775">
                  <c:v>167.92108671528123</c:v>
                </c:pt>
                <c:pt idx="2776">
                  <c:v>167.9570992600319</c:v>
                </c:pt>
                <c:pt idx="2777">
                  <c:v>167.99311952807335</c:v>
                </c:pt>
                <c:pt idx="2778">
                  <c:v>168.0291475210619</c:v>
                </c:pt>
                <c:pt idx="2779">
                  <c:v>168.06518324065428</c:v>
                </c:pt>
                <c:pt idx="2780">
                  <c:v>168.10122668850752</c:v>
                </c:pt>
                <c:pt idx="2781">
                  <c:v>168.13727786627908</c:v>
                </c:pt>
                <c:pt idx="2782">
                  <c:v>168.17333677562667</c:v>
                </c:pt>
                <c:pt idx="2783">
                  <c:v>168.20940341820844</c:v>
                </c:pt>
                <c:pt idx="2784">
                  <c:v>168.24547779568286</c:v>
                </c:pt>
                <c:pt idx="2785">
                  <c:v>168.28155990970876</c:v>
                </c:pt>
                <c:pt idx="2786">
                  <c:v>168.31764976194535</c:v>
                </c:pt>
                <c:pt idx="2787">
                  <c:v>168.35374735405216</c:v>
                </c:pt>
                <c:pt idx="2788">
                  <c:v>168.38985268768909</c:v>
                </c:pt>
                <c:pt idx="2789">
                  <c:v>168.42596576451641</c:v>
                </c:pt>
                <c:pt idx="2790">
                  <c:v>168.46208658619472</c:v>
                </c:pt>
                <c:pt idx="2791">
                  <c:v>168.49821515438498</c:v>
                </c:pt>
                <c:pt idx="2792">
                  <c:v>168.53435147074853</c:v>
                </c:pt>
                <c:pt idx="2793">
                  <c:v>168.57049553694705</c:v>
                </c:pt>
                <c:pt idx="2794">
                  <c:v>168.60664735464258</c:v>
                </c:pt>
                <c:pt idx="2795">
                  <c:v>168.64280692549752</c:v>
                </c:pt>
                <c:pt idx="2796">
                  <c:v>168.67897425117462</c:v>
                </c:pt>
                <c:pt idx="2797">
                  <c:v>168.715149333337</c:v>
                </c:pt>
                <c:pt idx="2798">
                  <c:v>168.75133217364808</c:v>
                </c:pt>
                <c:pt idx="2799">
                  <c:v>168.78752277377171</c:v>
                </c:pt>
                <c:pt idx="2800">
                  <c:v>168.82372113537207</c:v>
                </c:pt>
                <c:pt idx="2801">
                  <c:v>168.85992726011369</c:v>
                </c:pt>
                <c:pt idx="2802">
                  <c:v>168.89614114966147</c:v>
                </c:pt>
                <c:pt idx="2803">
                  <c:v>168.93236280568067</c:v>
                </c:pt>
                <c:pt idx="2804">
                  <c:v>168.96859222983687</c:v>
                </c:pt>
                <c:pt idx="2805">
                  <c:v>169.00482942379602</c:v>
                </c:pt>
                <c:pt idx="2806">
                  <c:v>169.04107438922449</c:v>
                </c:pt>
                <c:pt idx="2807">
                  <c:v>169.07732712778892</c:v>
                </c:pt>
                <c:pt idx="2808">
                  <c:v>169.11358764115636</c:v>
                </c:pt>
                <c:pt idx="2809">
                  <c:v>169.14985593099419</c:v>
                </c:pt>
                <c:pt idx="2810">
                  <c:v>169.18613199897018</c:v>
                </c:pt>
                <c:pt idx="2811">
                  <c:v>169.22241584675243</c:v>
                </c:pt>
                <c:pt idx="2812">
                  <c:v>169.25870747600939</c:v>
                </c:pt>
                <c:pt idx="2813">
                  <c:v>169.29500688840992</c:v>
                </c:pt>
                <c:pt idx="2814">
                  <c:v>169.33131408562315</c:v>
                </c:pt>
                <c:pt idx="2815">
                  <c:v>169.36762906931867</c:v>
                </c:pt>
                <c:pt idx="2816">
                  <c:v>169.40395184116636</c:v>
                </c:pt>
                <c:pt idx="2817">
                  <c:v>169.44028240283646</c:v>
                </c:pt>
                <c:pt idx="2818">
                  <c:v>169.47662075599959</c:v>
                </c:pt>
                <c:pt idx="2819">
                  <c:v>169.51296690232675</c:v>
                </c:pt>
                <c:pt idx="2820">
                  <c:v>169.54932084348926</c:v>
                </c:pt>
                <c:pt idx="2821">
                  <c:v>169.58568258115878</c:v>
                </c:pt>
                <c:pt idx="2822">
                  <c:v>169.62205211700737</c:v>
                </c:pt>
                <c:pt idx="2823">
                  <c:v>169.65842945270745</c:v>
                </c:pt>
                <c:pt idx="2824">
                  <c:v>169.69481458993178</c:v>
                </c:pt>
                <c:pt idx="2825">
                  <c:v>169.73120753035349</c:v>
                </c:pt>
                <c:pt idx="2826">
                  <c:v>169.76760827564604</c:v>
                </c:pt>
                <c:pt idx="2827">
                  <c:v>169.80401682748331</c:v>
                </c:pt>
                <c:pt idx="2828">
                  <c:v>169.84043318753947</c:v>
                </c:pt>
                <c:pt idx="2829">
                  <c:v>169.87685735748909</c:v>
                </c:pt>
                <c:pt idx="2830">
                  <c:v>169.91328933900706</c:v>
                </c:pt>
                <c:pt idx="2831">
                  <c:v>169.9497291337687</c:v>
                </c:pt>
                <c:pt idx="2832">
                  <c:v>169.98617674344962</c:v>
                </c:pt>
                <c:pt idx="2833">
                  <c:v>170.02263216972582</c:v>
                </c:pt>
                <c:pt idx="2834">
                  <c:v>170.05909541427368</c:v>
                </c:pt>
                <c:pt idx="2835">
                  <c:v>170.09556647876988</c:v>
                </c:pt>
                <c:pt idx="2836">
                  <c:v>170.13204536489152</c:v>
                </c:pt>
                <c:pt idx="2837">
                  <c:v>170.16853207431603</c:v>
                </c:pt>
                <c:pt idx="2838">
                  <c:v>170.2050266087212</c:v>
                </c:pt>
                <c:pt idx="2839">
                  <c:v>170.24152896978518</c:v>
                </c:pt>
                <c:pt idx="2840">
                  <c:v>170.27803915918648</c:v>
                </c:pt>
                <c:pt idx="2841">
                  <c:v>170.31455717860399</c:v>
                </c:pt>
                <c:pt idx="2842">
                  <c:v>170.35108302971693</c:v>
                </c:pt>
                <c:pt idx="2843">
                  <c:v>170.38761671420491</c:v>
                </c:pt>
                <c:pt idx="2844">
                  <c:v>170.42415823374787</c:v>
                </c:pt>
                <c:pt idx="2845">
                  <c:v>170.46070759002612</c:v>
                </c:pt>
                <c:pt idx="2846">
                  <c:v>170.49726478472036</c:v>
                </c:pt>
                <c:pt idx="2847">
                  <c:v>170.5338298195116</c:v>
                </c:pt>
                <c:pt idx="2848">
                  <c:v>170.57040269608123</c:v>
                </c:pt>
                <c:pt idx="2849">
                  <c:v>170.60698341611104</c:v>
                </c:pt>
                <c:pt idx="2850">
                  <c:v>170.64357198128312</c:v>
                </c:pt>
                <c:pt idx="2851">
                  <c:v>171.5356656698107</c:v>
                </c:pt>
                <c:pt idx="2852">
                  <c:v>171.57245340122137</c:v>
                </c:pt>
                <c:pt idx="2853">
                  <c:v>171.60924902217022</c:v>
                </c:pt>
                <c:pt idx="2854">
                  <c:v>171.64605253434925</c:v>
                </c:pt>
                <c:pt idx="2855">
                  <c:v>171.68286393945081</c:v>
                </c:pt>
                <c:pt idx="2856">
                  <c:v>171.71968323916764</c:v>
                </c:pt>
                <c:pt idx="2857">
                  <c:v>171.75651043519281</c:v>
                </c:pt>
                <c:pt idx="2858">
                  <c:v>171.79334552921978</c:v>
                </c:pt>
                <c:pt idx="2859">
                  <c:v>171.83018852294236</c:v>
                </c:pt>
                <c:pt idx="2860">
                  <c:v>171.86703941805473</c:v>
                </c:pt>
                <c:pt idx="2861">
                  <c:v>171.90389821625143</c:v>
                </c:pt>
                <c:pt idx="2862">
                  <c:v>171.94076491922738</c:v>
                </c:pt>
                <c:pt idx="2863">
                  <c:v>171.9776395286778</c:v>
                </c:pt>
                <c:pt idx="2864">
                  <c:v>172.01452204629837</c:v>
                </c:pt>
                <c:pt idx="2865">
                  <c:v>172.05141247378506</c:v>
                </c:pt>
                <c:pt idx="2866">
                  <c:v>172.08831081283427</c:v>
                </c:pt>
                <c:pt idx="2867">
                  <c:v>172.12521706514266</c:v>
                </c:pt>
                <c:pt idx="2868">
                  <c:v>172.16213123240738</c:v>
                </c:pt>
                <c:pt idx="2869">
                  <c:v>172.19905331632583</c:v>
                </c:pt>
                <c:pt idx="2870">
                  <c:v>172.23598331859583</c:v>
                </c:pt>
                <c:pt idx="2871">
                  <c:v>172.27292124091557</c:v>
                </c:pt>
                <c:pt idx="2872">
                  <c:v>172.30986708498361</c:v>
                </c:pt>
                <c:pt idx="2873">
                  <c:v>172.34682085249884</c:v>
                </c:pt>
                <c:pt idx="2874">
                  <c:v>172.38378254516053</c:v>
                </c:pt>
                <c:pt idx="2875">
                  <c:v>172.42075216466833</c:v>
                </c:pt>
                <c:pt idx="2876">
                  <c:v>172.45772971272223</c:v>
                </c:pt>
                <c:pt idx="2877">
                  <c:v>172.49471519102258</c:v>
                </c:pt>
                <c:pt idx="2878">
                  <c:v>172.53170860127011</c:v>
                </c:pt>
                <c:pt idx="2879">
                  <c:v>172.56870994516595</c:v>
                </c:pt>
                <c:pt idx="2880">
                  <c:v>172.60571922441153</c:v>
                </c:pt>
                <c:pt idx="2881">
                  <c:v>174.5986614867318</c:v>
                </c:pt>
                <c:pt idx="2882">
                  <c:v>174.63610611166362</c:v>
                </c:pt>
                <c:pt idx="2883">
                  <c:v>174.67355876701174</c:v>
                </c:pt>
                <c:pt idx="2884">
                  <c:v>174.71101945449837</c:v>
                </c:pt>
                <c:pt idx="2885">
                  <c:v>174.74848817584609</c:v>
                </c:pt>
                <c:pt idx="2886">
                  <c:v>174.78596493277786</c:v>
                </c:pt>
                <c:pt idx="2887">
                  <c:v>174.82344972701696</c:v>
                </c:pt>
                <c:pt idx="2888">
                  <c:v>174.86094256028713</c:v>
                </c:pt>
                <c:pt idx="2889">
                  <c:v>174.89844343431241</c:v>
                </c:pt>
                <c:pt idx="2890">
                  <c:v>174.93595235081722</c:v>
                </c:pt>
                <c:pt idx="2891">
                  <c:v>174.97346931152637</c:v>
                </c:pt>
                <c:pt idx="2892">
                  <c:v>175.01099431816505</c:v>
                </c:pt>
                <c:pt idx="2893">
                  <c:v>175.04852737245875</c:v>
                </c:pt>
                <c:pt idx="2894">
                  <c:v>175.08606847613342</c:v>
                </c:pt>
                <c:pt idx="2895">
                  <c:v>175.12361763091531</c:v>
                </c:pt>
                <c:pt idx="2896">
                  <c:v>175.16117483853108</c:v>
                </c:pt>
                <c:pt idx="2897">
                  <c:v>175.19874010070777</c:v>
                </c:pt>
                <c:pt idx="2898">
                  <c:v>175.23631341917275</c:v>
                </c:pt>
                <c:pt idx="2899">
                  <c:v>175.27389479565377</c:v>
                </c:pt>
                <c:pt idx="2900">
                  <c:v>175.31148423187898</c:v>
                </c:pt>
                <c:pt idx="2901">
                  <c:v>175.34908172957688</c:v>
                </c:pt>
                <c:pt idx="2902">
                  <c:v>175.38668729047635</c:v>
                </c:pt>
                <c:pt idx="2903">
                  <c:v>175.42430091630661</c:v>
                </c:pt>
                <c:pt idx="2904">
                  <c:v>175.46192260879729</c:v>
                </c:pt>
                <c:pt idx="2905">
                  <c:v>175.49955236967838</c:v>
                </c:pt>
                <c:pt idx="2906">
                  <c:v>175.53719020068024</c:v>
                </c:pt>
                <c:pt idx="2907">
                  <c:v>175.57483610353358</c:v>
                </c:pt>
                <c:pt idx="2908">
                  <c:v>175.61249007996949</c:v>
                </c:pt>
                <c:pt idx="2909">
                  <c:v>175.65015213171947</c:v>
                </c:pt>
                <c:pt idx="2910">
                  <c:v>175.68782226051533</c:v>
                </c:pt>
                <c:pt idx="2911">
                  <c:v>175.31091894052571</c:v>
                </c:pt>
                <c:pt idx="2912">
                  <c:v>175.34851631699058</c:v>
                </c:pt>
                <c:pt idx="2913">
                  <c:v>175.38612175663104</c:v>
                </c:pt>
                <c:pt idx="2914">
                  <c:v>175.42373526117629</c:v>
                </c:pt>
                <c:pt idx="2915">
                  <c:v>175.46135683235593</c:v>
                </c:pt>
                <c:pt idx="2916">
                  <c:v>175.49898647189997</c:v>
                </c:pt>
                <c:pt idx="2917">
                  <c:v>175.53662418153874</c:v>
                </c:pt>
                <c:pt idx="2918">
                  <c:v>175.57426996300296</c:v>
                </c:pt>
                <c:pt idx="2919">
                  <c:v>175.61192381802374</c:v>
                </c:pt>
                <c:pt idx="2920">
                  <c:v>175.64958574833253</c:v>
                </c:pt>
                <c:pt idx="2921">
                  <c:v>175.68725575566117</c:v>
                </c:pt>
                <c:pt idx="2922">
                  <c:v>175.72493384174189</c:v>
                </c:pt>
                <c:pt idx="2923">
                  <c:v>175.76262000830724</c:v>
                </c:pt>
                <c:pt idx="2924">
                  <c:v>175.80031425709015</c:v>
                </c:pt>
                <c:pt idx="2925">
                  <c:v>175.83801658982398</c:v>
                </c:pt>
                <c:pt idx="2926">
                  <c:v>175.87572700824242</c:v>
                </c:pt>
                <c:pt idx="2927">
                  <c:v>175.91344551407951</c:v>
                </c:pt>
                <c:pt idx="2928">
                  <c:v>175.95117210906972</c:v>
                </c:pt>
                <c:pt idx="2929">
                  <c:v>175.98890679494781</c:v>
                </c:pt>
                <c:pt idx="2930">
                  <c:v>176.02664957344899</c:v>
                </c:pt>
                <c:pt idx="2931">
                  <c:v>176.06440044630884</c:v>
                </c:pt>
                <c:pt idx="2932">
                  <c:v>176.10215941526326</c:v>
                </c:pt>
                <c:pt idx="2933">
                  <c:v>176.13992648204854</c:v>
                </c:pt>
                <c:pt idx="2934">
                  <c:v>176.17770164840135</c:v>
                </c:pt>
                <c:pt idx="2935">
                  <c:v>176.21548491605876</c:v>
                </c:pt>
                <c:pt idx="2936">
                  <c:v>176.25327628675814</c:v>
                </c:pt>
                <c:pt idx="2937">
                  <c:v>176.29107576223731</c:v>
                </c:pt>
                <c:pt idx="2938">
                  <c:v>176.32888334423441</c:v>
                </c:pt>
                <c:pt idx="2939">
                  <c:v>176.36669903448799</c:v>
                </c:pt>
                <c:pt idx="2940">
                  <c:v>176.40452283473695</c:v>
                </c:pt>
                <c:pt idx="2941">
                  <c:v>176.44235474672058</c:v>
                </c:pt>
                <c:pt idx="2942">
                  <c:v>176.48019477217852</c:v>
                </c:pt>
                <c:pt idx="2943">
                  <c:v>176.5180429128508</c:v>
                </c:pt>
                <c:pt idx="2944">
                  <c:v>176.5558991704778</c:v>
                </c:pt>
                <c:pt idx="2945">
                  <c:v>176.59376354680032</c:v>
                </c:pt>
                <c:pt idx="2946">
                  <c:v>176.63163604355947</c:v>
                </c:pt>
                <c:pt idx="2947">
                  <c:v>176.66951666249679</c:v>
                </c:pt>
                <c:pt idx="2948">
                  <c:v>176.70740540535417</c:v>
                </c:pt>
                <c:pt idx="2949">
                  <c:v>176.74530227387388</c:v>
                </c:pt>
                <c:pt idx="2950">
                  <c:v>176.78320726979854</c:v>
                </c:pt>
                <c:pt idx="2951">
                  <c:v>176.82112039487117</c:v>
                </c:pt>
                <c:pt idx="2952">
                  <c:v>176.85904165083517</c:v>
                </c:pt>
                <c:pt idx="2953">
                  <c:v>176.89697103943431</c:v>
                </c:pt>
                <c:pt idx="2954">
                  <c:v>176.93490856241269</c:v>
                </c:pt>
                <c:pt idx="2955">
                  <c:v>176.97285422151484</c:v>
                </c:pt>
                <c:pt idx="2956">
                  <c:v>177.01080801848562</c:v>
                </c:pt>
                <c:pt idx="2957">
                  <c:v>177.04876995507033</c:v>
                </c:pt>
                <c:pt idx="2958">
                  <c:v>177.08674003301456</c:v>
                </c:pt>
                <c:pt idx="2959">
                  <c:v>177.12471825406433</c:v>
                </c:pt>
                <c:pt idx="2960">
                  <c:v>177.16270461996601</c:v>
                </c:pt>
                <c:pt idx="2961">
                  <c:v>177.20069913246635</c:v>
                </c:pt>
                <c:pt idx="2962">
                  <c:v>177.23870179331252</c:v>
                </c:pt>
                <c:pt idx="2963">
                  <c:v>177.27671260425197</c:v>
                </c:pt>
                <c:pt idx="2964">
                  <c:v>177.31473156703262</c:v>
                </c:pt>
                <c:pt idx="2965">
                  <c:v>177.3527586834027</c:v>
                </c:pt>
                <c:pt idx="2966">
                  <c:v>177.39079395511084</c:v>
                </c:pt>
                <c:pt idx="2967">
                  <c:v>177.42883738390603</c:v>
                </c:pt>
                <c:pt idx="2968">
                  <c:v>177.46688897153768</c:v>
                </c:pt>
                <c:pt idx="2969">
                  <c:v>177.50494871975553</c:v>
                </c:pt>
                <c:pt idx="2970">
                  <c:v>177.54301663030969</c:v>
                </c:pt>
                <c:pt idx="2971">
                  <c:v>177.58109270495069</c:v>
                </c:pt>
                <c:pt idx="2972">
                  <c:v>177.61917694542939</c:v>
                </c:pt>
                <c:pt idx="2973">
                  <c:v>177.65726935349707</c:v>
                </c:pt>
                <c:pt idx="2974">
                  <c:v>177.69536993090534</c:v>
                </c:pt>
                <c:pt idx="2975">
                  <c:v>177.7334786794062</c:v>
                </c:pt>
                <c:pt idx="2976">
                  <c:v>177.77159560075205</c:v>
                </c:pt>
                <c:pt idx="2977">
                  <c:v>177.80972069669562</c:v>
                </c:pt>
                <c:pt idx="2978">
                  <c:v>177.84785396899008</c:v>
                </c:pt>
                <c:pt idx="2979">
                  <c:v>177.88599541938891</c:v>
                </c:pt>
                <c:pt idx="2980">
                  <c:v>177.924145049646</c:v>
                </c:pt>
                <c:pt idx="2981">
                  <c:v>177.96230286151564</c:v>
                </c:pt>
                <c:pt idx="2982">
                  <c:v>178.00046885675243</c:v>
                </c:pt>
                <c:pt idx="2983">
                  <c:v>178.0386430371114</c:v>
                </c:pt>
                <c:pt idx="2984">
                  <c:v>178.07682540434794</c:v>
                </c:pt>
                <c:pt idx="2985">
                  <c:v>178.11501596021782</c:v>
                </c:pt>
                <c:pt idx="2986">
                  <c:v>178.15321470647717</c:v>
                </c:pt>
                <c:pt idx="2987">
                  <c:v>178.19142164488255</c:v>
                </c:pt>
                <c:pt idx="2988">
                  <c:v>178.22963677719082</c:v>
                </c:pt>
                <c:pt idx="2989">
                  <c:v>178.26786010515926</c:v>
                </c:pt>
                <c:pt idx="2990">
                  <c:v>178.30609163054552</c:v>
                </c:pt>
                <c:pt idx="2991">
                  <c:v>178.34433135510764</c:v>
                </c:pt>
                <c:pt idx="2992">
                  <c:v>178.38257928060401</c:v>
                </c:pt>
                <c:pt idx="2993">
                  <c:v>178.42083540879341</c:v>
                </c:pt>
                <c:pt idx="2994">
                  <c:v>178.45909974143501</c:v>
                </c:pt>
                <c:pt idx="2995">
                  <c:v>178.49737228028835</c:v>
                </c:pt>
                <c:pt idx="2996">
                  <c:v>178.53565302711331</c:v>
                </c:pt>
                <c:pt idx="2997">
                  <c:v>178.57394198367021</c:v>
                </c:pt>
                <c:pt idx="2998">
                  <c:v>178.61223915171971</c:v>
                </c:pt>
                <c:pt idx="2999">
                  <c:v>178.65054453302287</c:v>
                </c:pt>
                <c:pt idx="3000">
                  <c:v>178.6888581293411</c:v>
                </c:pt>
                <c:pt idx="3001">
                  <c:v>178.72717994243621</c:v>
                </c:pt>
                <c:pt idx="3002">
                  <c:v>178.76550997407037</c:v>
                </c:pt>
                <c:pt idx="3003">
                  <c:v>178.80384822600612</c:v>
                </c:pt>
                <c:pt idx="3004">
                  <c:v>178.84219470000644</c:v>
                </c:pt>
                <c:pt idx="3005">
                  <c:v>178.88054939783461</c:v>
                </c:pt>
                <c:pt idx="3006">
                  <c:v>178.91891232125434</c:v>
                </c:pt>
                <c:pt idx="3007">
                  <c:v>178.95728347202967</c:v>
                </c:pt>
                <c:pt idx="3008">
                  <c:v>178.99566285192509</c:v>
                </c:pt>
                <c:pt idx="3009">
                  <c:v>179.03405046270538</c:v>
                </c:pt>
                <c:pt idx="3010">
                  <c:v>179.07244630613579</c:v>
                </c:pt>
                <c:pt idx="3011">
                  <c:v>179.11085038398187</c:v>
                </c:pt>
                <c:pt idx="3012">
                  <c:v>179.14926269800961</c:v>
                </c:pt>
                <c:pt idx="3013">
                  <c:v>179.18768324998533</c:v>
                </c:pt>
                <c:pt idx="3014">
                  <c:v>179.22611204167575</c:v>
                </c:pt>
                <c:pt idx="3015">
                  <c:v>179.26454907484796</c:v>
                </c:pt>
                <c:pt idx="3016">
                  <c:v>179.30299435126946</c:v>
                </c:pt>
                <c:pt idx="3017">
                  <c:v>179.3414478727081</c:v>
                </c:pt>
                <c:pt idx="3018">
                  <c:v>179.37990964093211</c:v>
                </c:pt>
                <c:pt idx="3019">
                  <c:v>179.41837965771012</c:v>
                </c:pt>
                <c:pt idx="3020">
                  <c:v>179.45685792481109</c:v>
                </c:pt>
                <c:pt idx="3021">
                  <c:v>179.49534444400442</c:v>
                </c:pt>
                <c:pt idx="3022">
                  <c:v>179.53383921705986</c:v>
                </c:pt>
                <c:pt idx="3023">
                  <c:v>179.57234224574754</c:v>
                </c:pt>
                <c:pt idx="3024">
                  <c:v>179.61085353183796</c:v>
                </c:pt>
                <c:pt idx="3025">
                  <c:v>179.64937307710204</c:v>
                </c:pt>
                <c:pt idx="3026">
                  <c:v>179.68790088331104</c:v>
                </c:pt>
                <c:pt idx="3027">
                  <c:v>179.72643695223661</c:v>
                </c:pt>
                <c:pt idx="3028">
                  <c:v>179.76498128565078</c:v>
                </c:pt>
                <c:pt idx="3029">
                  <c:v>179.80353388532595</c:v>
                </c:pt>
                <c:pt idx="3030">
                  <c:v>179.84209475303493</c:v>
                </c:pt>
                <c:pt idx="3031">
                  <c:v>179.88066389055086</c:v>
                </c:pt>
                <c:pt idx="3032">
                  <c:v>179.91924129964733</c:v>
                </c:pt>
                <c:pt idx="3033">
                  <c:v>179.95782698209825</c:v>
                </c:pt>
                <c:pt idx="3034">
                  <c:v>179.99642093967796</c:v>
                </c:pt>
                <c:pt idx="3035">
                  <c:v>180.03502317416113</c:v>
                </c:pt>
                <c:pt idx="3036">
                  <c:v>180.07363368732283</c:v>
                </c:pt>
                <c:pt idx="3037">
                  <c:v>180.11225248093854</c:v>
                </c:pt>
                <c:pt idx="3038">
                  <c:v>180.15087955678408</c:v>
                </c:pt>
                <c:pt idx="3039">
                  <c:v>180.18951491663566</c:v>
                </c:pt>
                <c:pt idx="3040">
                  <c:v>180.22815856226987</c:v>
                </c:pt>
                <c:pt idx="3041">
                  <c:v>180.26681049546372</c:v>
                </c:pt>
                <c:pt idx="3042">
                  <c:v>180.30547071799452</c:v>
                </c:pt>
                <c:pt idx="3043">
                  <c:v>180.34413923164007</c:v>
                </c:pt>
                <c:pt idx="3044">
                  <c:v>180.38281603817845</c:v>
                </c:pt>
                <c:pt idx="3045">
                  <c:v>180.42150113938817</c:v>
                </c:pt>
                <c:pt idx="3046">
                  <c:v>180.46019453704812</c:v>
                </c:pt>
                <c:pt idx="3047">
                  <c:v>180.49889623293757</c:v>
                </c:pt>
                <c:pt idx="3048">
                  <c:v>180.53760622883615</c:v>
                </c:pt>
                <c:pt idx="3049">
                  <c:v>180.57632452652393</c:v>
                </c:pt>
                <c:pt idx="3050">
                  <c:v>180.61505112778127</c:v>
                </c:pt>
                <c:pt idx="3051">
                  <c:v>180.65378603438899</c:v>
                </c:pt>
                <c:pt idx="3052">
                  <c:v>180.69252924812827</c:v>
                </c:pt>
                <c:pt idx="3053">
                  <c:v>180.73128077078064</c:v>
                </c:pt>
                <c:pt idx="3054">
                  <c:v>180.77004060412807</c:v>
                </c:pt>
                <c:pt idx="3055">
                  <c:v>180.80880874995287</c:v>
                </c:pt>
                <c:pt idx="3056">
                  <c:v>180.84758521003775</c:v>
                </c:pt>
                <c:pt idx="3057">
                  <c:v>180.88636998616579</c:v>
                </c:pt>
                <c:pt idx="3058">
                  <c:v>180.92516308012046</c:v>
                </c:pt>
                <c:pt idx="3059">
                  <c:v>180.96396449368558</c:v>
                </c:pt>
                <c:pt idx="3060">
                  <c:v>181.00277422864542</c:v>
                </c:pt>
                <c:pt idx="3061">
                  <c:v>183.29601111202712</c:v>
                </c:pt>
                <c:pt idx="3062">
                  <c:v>183.33532098032248</c:v>
                </c:pt>
                <c:pt idx="3063">
                  <c:v>183.37463927905631</c:v>
                </c:pt>
                <c:pt idx="3064">
                  <c:v>183.41396601003663</c:v>
                </c:pt>
                <c:pt idx="3065">
                  <c:v>183.45330117507183</c:v>
                </c:pt>
                <c:pt idx="3066">
                  <c:v>183.49264477597066</c:v>
                </c:pt>
                <c:pt idx="3067">
                  <c:v>183.53199681454231</c:v>
                </c:pt>
                <c:pt idx="3068">
                  <c:v>183.57135729259633</c:v>
                </c:pt>
                <c:pt idx="3069">
                  <c:v>183.61072621194265</c:v>
                </c:pt>
                <c:pt idx="3070">
                  <c:v>183.65010357439161</c:v>
                </c:pt>
                <c:pt idx="3071">
                  <c:v>183.68948938175393</c:v>
                </c:pt>
                <c:pt idx="3072">
                  <c:v>183.7288836358407</c:v>
                </c:pt>
                <c:pt idx="3073">
                  <c:v>183.76828633846344</c:v>
                </c:pt>
                <c:pt idx="3074">
                  <c:v>183.807697491434</c:v>
                </c:pt>
                <c:pt idx="3075">
                  <c:v>183.84711709656466</c:v>
                </c:pt>
                <c:pt idx="3076">
                  <c:v>183.8865451556681</c:v>
                </c:pt>
                <c:pt idx="3077">
                  <c:v>183.92598167055735</c:v>
                </c:pt>
                <c:pt idx="3078">
                  <c:v>183.96542664304584</c:v>
                </c:pt>
                <c:pt idx="3079">
                  <c:v>184.00488007494741</c:v>
                </c:pt>
                <c:pt idx="3080">
                  <c:v>184.04434196807628</c:v>
                </c:pt>
                <c:pt idx="3081">
                  <c:v>184.08381232424705</c:v>
                </c:pt>
                <c:pt idx="3082">
                  <c:v>184.12329114527469</c:v>
                </c:pt>
                <c:pt idx="3083">
                  <c:v>184.16277843297462</c:v>
                </c:pt>
                <c:pt idx="3084">
                  <c:v>184.20227418916258</c:v>
                </c:pt>
                <c:pt idx="3085">
                  <c:v>184.24177841565475</c:v>
                </c:pt>
                <c:pt idx="3086">
                  <c:v>184.28129111426767</c:v>
                </c:pt>
                <c:pt idx="3087">
                  <c:v>184.3208122868183</c:v>
                </c:pt>
                <c:pt idx="3088">
                  <c:v>184.36034193512396</c:v>
                </c:pt>
                <c:pt idx="3089">
                  <c:v>184.39988006100236</c:v>
                </c:pt>
                <c:pt idx="3090">
                  <c:v>184.43942666627163</c:v>
                </c:pt>
                <c:pt idx="3091">
                  <c:v>185.06840232933925</c:v>
                </c:pt>
                <c:pt idx="3092">
                  <c:v>185.10809230664461</c:v>
                </c:pt>
                <c:pt idx="3093">
                  <c:v>185.14779079590704</c:v>
                </c:pt>
                <c:pt idx="3094">
                  <c:v>185.18749779895205</c:v>
                </c:pt>
                <c:pt idx="3095">
                  <c:v>185.2272133176055</c:v>
                </c:pt>
                <c:pt idx="3096">
                  <c:v>185.26693735369366</c:v>
                </c:pt>
                <c:pt idx="3097">
                  <c:v>185.30666990904319</c:v>
                </c:pt>
                <c:pt idx="3098">
                  <c:v>185.34641098548116</c:v>
                </c:pt>
                <c:pt idx="3099">
                  <c:v>185.38616058483498</c:v>
                </c:pt>
                <c:pt idx="3100">
                  <c:v>185.4259187089325</c:v>
                </c:pt>
                <c:pt idx="3101">
                  <c:v>185.46568535960193</c:v>
                </c:pt>
                <c:pt idx="3102">
                  <c:v>185.50546053867191</c:v>
                </c:pt>
                <c:pt idx="3103">
                  <c:v>185.54524424797145</c:v>
                </c:pt>
                <c:pt idx="3104">
                  <c:v>185.58503648932995</c:v>
                </c:pt>
                <c:pt idx="3105">
                  <c:v>185.6248372645772</c:v>
                </c:pt>
                <c:pt idx="3106">
                  <c:v>185.66464657554337</c:v>
                </c:pt>
                <c:pt idx="3107">
                  <c:v>185.70446442405907</c:v>
                </c:pt>
                <c:pt idx="3108">
                  <c:v>185.74429081195524</c:v>
                </c:pt>
                <c:pt idx="3109">
                  <c:v>185.78412574106326</c:v>
                </c:pt>
                <c:pt idx="3110">
                  <c:v>185.82396921321492</c:v>
                </c:pt>
                <c:pt idx="3111">
                  <c:v>185.86382123024234</c:v>
                </c:pt>
                <c:pt idx="3112">
                  <c:v>185.90368179397805</c:v>
                </c:pt>
                <c:pt idx="3113">
                  <c:v>185.94355090625501</c:v>
                </c:pt>
                <c:pt idx="3114">
                  <c:v>185.98342856890653</c:v>
                </c:pt>
                <c:pt idx="3115">
                  <c:v>186.02331478376635</c:v>
                </c:pt>
                <c:pt idx="3116">
                  <c:v>186.06320955266858</c:v>
                </c:pt>
                <c:pt idx="3117">
                  <c:v>163.26557515798137</c:v>
                </c:pt>
                <c:pt idx="3118">
                  <c:v>163.30058927649759</c:v>
                </c:pt>
                <c:pt idx="3119">
                  <c:v>163.33561090418098</c:v>
                </c:pt>
                <c:pt idx="3120">
                  <c:v>163.37064004264195</c:v>
                </c:pt>
                <c:pt idx="3121">
                  <c:v>163.40567669349127</c:v>
                </c:pt>
                <c:pt idx="3122">
                  <c:v>163.44072085834006</c:v>
                </c:pt>
                <c:pt idx="3123">
                  <c:v>163.47577253879979</c:v>
                </c:pt>
                <c:pt idx="3124">
                  <c:v>163.51083173648226</c:v>
                </c:pt>
                <c:pt idx="3125">
                  <c:v>163.54589845299961</c:v>
                </c:pt>
                <c:pt idx="3126">
                  <c:v>163.58097268996434</c:v>
                </c:pt>
                <c:pt idx="3127">
                  <c:v>163.6160544489893</c:v>
                </c:pt>
                <c:pt idx="3128">
                  <c:v>163.65114373168768</c:v>
                </c:pt>
                <c:pt idx="3129">
                  <c:v>163.68624053967304</c:v>
                </c:pt>
                <c:pt idx="3130">
                  <c:v>163.72134487455921</c:v>
                </c:pt>
                <c:pt idx="3131">
                  <c:v>163.75645673796046</c:v>
                </c:pt>
                <c:pt idx="3132">
                  <c:v>163.79157613149135</c:v>
                </c:pt>
                <c:pt idx="3133">
                  <c:v>163.8267030567668</c:v>
                </c:pt>
                <c:pt idx="3134">
                  <c:v>163.86183751540207</c:v>
                </c:pt>
                <c:pt idx="3135">
                  <c:v>163.89697950901277</c:v>
                </c:pt>
                <c:pt idx="3136">
                  <c:v>163.93212903921486</c:v>
                </c:pt>
                <c:pt idx="3137">
                  <c:v>163.96728610762466</c:v>
                </c:pt>
                <c:pt idx="3138">
                  <c:v>164.00245071585883</c:v>
                </c:pt>
                <c:pt idx="3139">
                  <c:v>164.03762286553433</c:v>
                </c:pt>
                <c:pt idx="3140">
                  <c:v>164.07280255826853</c:v>
                </c:pt>
                <c:pt idx="3141">
                  <c:v>164.10798979567915</c:v>
                </c:pt>
                <c:pt idx="3142">
                  <c:v>164.14318457938418</c:v>
                </c:pt>
                <c:pt idx="3143">
                  <c:v>164.17838691100204</c:v>
                </c:pt>
                <c:pt idx="3144">
                  <c:v>164.21359679215146</c:v>
                </c:pt>
                <c:pt idx="3145">
                  <c:v>164.24881422445151</c:v>
                </c:pt>
                <c:pt idx="3146">
                  <c:v>164.28403920952161</c:v>
                </c:pt>
                <c:pt idx="3147">
                  <c:v>164.31927174898155</c:v>
                </c:pt>
                <c:pt idx="3148">
                  <c:v>164.35451184445145</c:v>
                </c:pt>
                <c:pt idx="3149">
                  <c:v>164.38975949755181</c:v>
                </c:pt>
                <c:pt idx="3150">
                  <c:v>164.42501470990339</c:v>
                </c:pt>
                <c:pt idx="3151">
                  <c:v>164.46027748312741</c:v>
                </c:pt>
                <c:pt idx="3152">
                  <c:v>164.49554781884535</c:v>
                </c:pt>
                <c:pt idx="3153">
                  <c:v>164.53082571867907</c:v>
                </c:pt>
                <c:pt idx="3154">
                  <c:v>164.56611118425079</c:v>
                </c:pt>
                <c:pt idx="3155">
                  <c:v>164.60140421718307</c:v>
                </c:pt>
                <c:pt idx="3156">
                  <c:v>164.63670481909881</c:v>
                </c:pt>
                <c:pt idx="3157">
                  <c:v>164.67201299162127</c:v>
                </c:pt>
                <c:pt idx="3158">
                  <c:v>164.70732873637405</c:v>
                </c:pt>
                <c:pt idx="3159">
                  <c:v>164.74265205498108</c:v>
                </c:pt>
                <c:pt idx="3160">
                  <c:v>164.77798294906665</c:v>
                </c:pt>
                <c:pt idx="3161">
                  <c:v>164.81332142025545</c:v>
                </c:pt>
                <c:pt idx="3162">
                  <c:v>164.84866747017244</c:v>
                </c:pt>
                <c:pt idx="3163">
                  <c:v>164.88402110044299</c:v>
                </c:pt>
                <c:pt idx="3164">
                  <c:v>164.91938231269276</c:v>
                </c:pt>
                <c:pt idx="3165">
                  <c:v>164.95475110854781</c:v>
                </c:pt>
                <c:pt idx="3166">
                  <c:v>164.99012748963452</c:v>
                </c:pt>
                <c:pt idx="3167">
                  <c:v>165.02551145757963</c:v>
                </c:pt>
                <c:pt idx="3168">
                  <c:v>165.06090301401022</c:v>
                </c:pt>
                <c:pt idx="3169">
                  <c:v>165.09630216055373</c:v>
                </c:pt>
                <c:pt idx="3170">
                  <c:v>165.13170889883793</c:v>
                </c:pt>
                <c:pt idx="3171">
                  <c:v>165.16712323049097</c:v>
                </c:pt>
                <c:pt idx="3172">
                  <c:v>165.20254515714134</c:v>
                </c:pt>
                <c:pt idx="3173">
                  <c:v>165.23797468041786</c:v>
                </c:pt>
                <c:pt idx="3174">
                  <c:v>165.27341180194972</c:v>
                </c:pt>
                <c:pt idx="3175">
                  <c:v>165.30885652336642</c:v>
                </c:pt>
                <c:pt idx="3176">
                  <c:v>165.34430884629788</c:v>
                </c:pt>
                <c:pt idx="3177">
                  <c:v>165.37976877237429</c:v>
                </c:pt>
                <c:pt idx="3178">
                  <c:v>165.41523630322627</c:v>
                </c:pt>
                <c:pt idx="3179">
                  <c:v>165.45071144048472</c:v>
                </c:pt>
                <c:pt idx="3180">
                  <c:v>165.48619418578093</c:v>
                </c:pt>
                <c:pt idx="3181">
                  <c:v>166.28735971535667</c:v>
                </c:pt>
                <c:pt idx="3182">
                  <c:v>166.32302188918106</c:v>
                </c:pt>
                <c:pt idx="3183">
                  <c:v>166.35869171115527</c:v>
                </c:pt>
                <c:pt idx="3184">
                  <c:v>166.39436918291955</c:v>
                </c:pt>
                <c:pt idx="3185">
                  <c:v>166.43005430611447</c:v>
                </c:pt>
                <c:pt idx="3186">
                  <c:v>166.46574708238097</c:v>
                </c:pt>
                <c:pt idx="3187">
                  <c:v>166.50144751336035</c:v>
                </c:pt>
                <c:pt idx="3188">
                  <c:v>166.53715560069421</c:v>
                </c:pt>
                <c:pt idx="3189">
                  <c:v>166.57287134602456</c:v>
                </c:pt>
                <c:pt idx="3190">
                  <c:v>166.60859475099375</c:v>
                </c:pt>
                <c:pt idx="3191">
                  <c:v>166.64432581724446</c:v>
                </c:pt>
                <c:pt idx="3192">
                  <c:v>166.68006454641977</c:v>
                </c:pt>
                <c:pt idx="3193">
                  <c:v>166.71581094016304</c:v>
                </c:pt>
                <c:pt idx="3194">
                  <c:v>166.75156500011803</c:v>
                </c:pt>
                <c:pt idx="3195">
                  <c:v>166.78732672792887</c:v>
                </c:pt>
                <c:pt idx="3196">
                  <c:v>166.82309612524</c:v>
                </c:pt>
                <c:pt idx="3197">
                  <c:v>166.85887319369621</c:v>
                </c:pt>
                <c:pt idx="3198">
                  <c:v>166.8946579349427</c:v>
                </c:pt>
                <c:pt idx="3199">
                  <c:v>166.93045035062497</c:v>
                </c:pt>
                <c:pt idx="3200">
                  <c:v>179.93708779921889</c:v>
                </c:pt>
                <c:pt idx="3201">
                  <c:v>179.97567730905016</c:v>
                </c:pt>
                <c:pt idx="3202">
                  <c:v>180.01427509483102</c:v>
                </c:pt>
                <c:pt idx="3203">
                  <c:v>180.05288115833633</c:v>
                </c:pt>
                <c:pt idx="3204">
                  <c:v>180.09149550134137</c:v>
                </c:pt>
                <c:pt idx="3205">
                  <c:v>180.13011812562175</c:v>
                </c:pt>
                <c:pt idx="3206">
                  <c:v>180.16874903295349</c:v>
                </c:pt>
                <c:pt idx="3207">
                  <c:v>180.20738822511296</c:v>
                </c:pt>
                <c:pt idx="3208">
                  <c:v>180.24603570387697</c:v>
                </c:pt>
                <c:pt idx="3209">
                  <c:v>180.28469147102265</c:v>
                </c:pt>
                <c:pt idx="3210">
                  <c:v>180.32335552832757</c:v>
                </c:pt>
                <c:pt idx="3211">
                  <c:v>180.3620278775696</c:v>
                </c:pt>
                <c:pt idx="3212">
                  <c:v>180.40070852052708</c:v>
                </c:pt>
                <c:pt idx="3213">
                  <c:v>180.43939745897865</c:v>
                </c:pt>
                <c:pt idx="3214">
                  <c:v>180.4780946947034</c:v>
                </c:pt>
                <c:pt idx="3215">
                  <c:v>180.51680022948076</c:v>
                </c:pt>
                <c:pt idx="3216">
                  <c:v>180.55551406509056</c:v>
                </c:pt>
                <c:pt idx="3217">
                  <c:v>180.59423620331299</c:v>
                </c:pt>
                <c:pt idx="3218">
                  <c:v>180.63296664592866</c:v>
                </c:pt>
                <c:pt idx="3219">
                  <c:v>180.67170539471851</c:v>
                </c:pt>
                <c:pt idx="3220">
                  <c:v>180.71045245146394</c:v>
                </c:pt>
                <c:pt idx="3221">
                  <c:v>180.74920781794663</c:v>
                </c:pt>
                <c:pt idx="3222">
                  <c:v>180.78797149594871</c:v>
                </c:pt>
                <c:pt idx="3223">
                  <c:v>180.82674348725271</c:v>
                </c:pt>
                <c:pt idx="3224">
                  <c:v>180.86552379364147</c:v>
                </c:pt>
                <c:pt idx="3225">
                  <c:v>180.90431241689828</c:v>
                </c:pt>
                <c:pt idx="3226">
                  <c:v>180.94310935880677</c:v>
                </c:pt>
                <c:pt idx="3227">
                  <c:v>180.98191462115096</c:v>
                </c:pt>
                <c:pt idx="3228">
                  <c:v>181.0207282057153</c:v>
                </c:pt>
                <c:pt idx="3229">
                  <c:v>181.05955011428455</c:v>
                </c:pt>
                <c:pt idx="3230">
                  <c:v>181.09838034864387</c:v>
                </c:pt>
                <c:pt idx="3231">
                  <c:v>181.13721891057884</c:v>
                </c:pt>
                <c:pt idx="3232">
                  <c:v>181.17606580187541</c:v>
                </c:pt>
                <c:pt idx="3233">
                  <c:v>181.21492102431989</c:v>
                </c:pt>
                <c:pt idx="3234">
                  <c:v>181.25378457969899</c:v>
                </c:pt>
                <c:pt idx="3235">
                  <c:v>181.29265646979979</c:v>
                </c:pt>
                <c:pt idx="3236">
                  <c:v>181.33153669640978</c:v>
                </c:pt>
                <c:pt idx="3237">
                  <c:v>181.37042526131683</c:v>
                </c:pt>
                <c:pt idx="3238">
                  <c:v>181.40932216630915</c:v>
                </c:pt>
                <c:pt idx="3239">
                  <c:v>181.44822741317537</c:v>
                </c:pt>
                <c:pt idx="3240">
                  <c:v>181.48714100370452</c:v>
                </c:pt>
                <c:pt idx="3241">
                  <c:v>181.52606293968597</c:v>
                </c:pt>
                <c:pt idx="3242">
                  <c:v>181.56499322290949</c:v>
                </c:pt>
                <c:pt idx="3243">
                  <c:v>181.60393185516526</c:v>
                </c:pt>
                <c:pt idx="3244">
                  <c:v>181.6428788382438</c:v>
                </c:pt>
                <c:pt idx="3245">
                  <c:v>181.68183417393607</c:v>
                </c:pt>
                <c:pt idx="3246">
                  <c:v>181.72079786403336</c:v>
                </c:pt>
                <c:pt idx="3247">
                  <c:v>181.75976991032735</c:v>
                </c:pt>
                <c:pt idx="3248">
                  <c:v>181.79875031461015</c:v>
                </c:pt>
                <c:pt idx="3249">
                  <c:v>181.83773907867419</c:v>
                </c:pt>
                <c:pt idx="3250">
                  <c:v>181.87673620431235</c:v>
                </c:pt>
                <c:pt idx="3251">
                  <c:v>181.91574169331784</c:v>
                </c:pt>
                <c:pt idx="3252">
                  <c:v>181.9547555474843</c:v>
                </c:pt>
                <c:pt idx="3253">
                  <c:v>181.9937777686057</c:v>
                </c:pt>
                <c:pt idx="3254">
                  <c:v>182.03280835847644</c:v>
                </c:pt>
                <c:pt idx="3255">
                  <c:v>182.07184731889132</c:v>
                </c:pt>
                <c:pt idx="3256">
                  <c:v>182.11089465164545</c:v>
                </c:pt>
                <c:pt idx="3257">
                  <c:v>182.14995035853443</c:v>
                </c:pt>
                <c:pt idx="3258">
                  <c:v>182.18901444135412</c:v>
                </c:pt>
                <c:pt idx="3259">
                  <c:v>182.22808690190087</c:v>
                </c:pt>
                <c:pt idx="3260">
                  <c:v>182.26716774197138</c:v>
                </c:pt>
                <c:pt idx="3261">
                  <c:v>182.3062569633627</c:v>
                </c:pt>
                <c:pt idx="3262">
                  <c:v>182.34535456787233</c:v>
                </c:pt>
                <c:pt idx="3263">
                  <c:v>182.38446055729813</c:v>
                </c:pt>
                <c:pt idx="3264">
                  <c:v>182.42357493343829</c:v>
                </c:pt>
                <c:pt idx="3265">
                  <c:v>182.46269769809146</c:v>
                </c:pt>
                <c:pt idx="3266">
                  <c:v>182.50182885305665</c:v>
                </c:pt>
                <c:pt idx="3267">
                  <c:v>182.54096840013327</c:v>
                </c:pt>
                <c:pt idx="3268">
                  <c:v>182.58011634112108</c:v>
                </c:pt>
                <c:pt idx="3269">
                  <c:v>182.61927267782028</c:v>
                </c:pt>
                <c:pt idx="3270">
                  <c:v>182.65843741203139</c:v>
                </c:pt>
                <c:pt idx="3271">
                  <c:v>182.69761054555536</c:v>
                </c:pt>
                <c:pt idx="3272">
                  <c:v>182.73679208019354</c:v>
                </c:pt>
                <c:pt idx="3273">
                  <c:v>182.77598201774759</c:v>
                </c:pt>
                <c:pt idx="3274">
                  <c:v>182.81518036001967</c:v>
                </c:pt>
                <c:pt idx="3275">
                  <c:v>182.8543871088122</c:v>
                </c:pt>
                <c:pt idx="3276">
                  <c:v>182.89360226592811</c:v>
                </c:pt>
                <c:pt idx="3277">
                  <c:v>182.93282583317063</c:v>
                </c:pt>
                <c:pt idx="3278">
                  <c:v>182.97205781234339</c:v>
                </c:pt>
                <c:pt idx="3279">
                  <c:v>183.01129820525045</c:v>
                </c:pt>
                <c:pt idx="3280">
                  <c:v>183.05054701369625</c:v>
                </c:pt>
                <c:pt idx="3281">
                  <c:v>183.08980423948555</c:v>
                </c:pt>
                <c:pt idx="3282">
                  <c:v>183.12906988442356</c:v>
                </c:pt>
                <c:pt idx="3283">
                  <c:v>183.16834395031586</c:v>
                </c:pt>
                <c:pt idx="3284">
                  <c:v>183.20762643896842</c:v>
                </c:pt>
                <c:pt idx="3285">
                  <c:v>183.24691735218758</c:v>
                </c:pt>
                <c:pt idx="3286">
                  <c:v>183.28621669178011</c:v>
                </c:pt>
                <c:pt idx="3287">
                  <c:v>183.32552445955312</c:v>
                </c:pt>
                <c:pt idx="3288">
                  <c:v>183.36484065731412</c:v>
                </c:pt>
                <c:pt idx="3289">
                  <c:v>183.40416528687103</c:v>
                </c:pt>
                <c:pt idx="3290">
                  <c:v>183.44349835003214</c:v>
                </c:pt>
                <c:pt idx="3291">
                  <c:v>183.48283984860612</c:v>
                </c:pt>
                <c:pt idx="3292">
                  <c:v>183.52218978440206</c:v>
                </c:pt>
                <c:pt idx="3293">
                  <c:v>183.56154815922937</c:v>
                </c:pt>
                <c:pt idx="3294">
                  <c:v>183.60091497489796</c:v>
                </c:pt>
                <c:pt idx="3295">
                  <c:v>183.64029023321802</c:v>
                </c:pt>
                <c:pt idx="3296">
                  <c:v>183.67967393600017</c:v>
                </c:pt>
                <c:pt idx="3297">
                  <c:v>183.71906608505543</c:v>
                </c:pt>
                <c:pt idx="3298">
                  <c:v>183.75846668219521</c:v>
                </c:pt>
                <c:pt idx="3299">
                  <c:v>183.79787572923127</c:v>
                </c:pt>
                <c:pt idx="3300">
                  <c:v>183.83729322797578</c:v>
                </c:pt>
                <c:pt idx="3301">
                  <c:v>183.87671918024131</c:v>
                </c:pt>
                <c:pt idx="3302">
                  <c:v>183.91615358784082</c:v>
                </c:pt>
                <c:pt idx="3303">
                  <c:v>183.95559645258766</c:v>
                </c:pt>
                <c:pt idx="3304">
                  <c:v>183.99504777629554</c:v>
                </c:pt>
                <c:pt idx="3305">
                  <c:v>184.03450756077859</c:v>
                </c:pt>
                <c:pt idx="3306">
                  <c:v>184.07397580785133</c:v>
                </c:pt>
                <c:pt idx="3307">
                  <c:v>184.11345251932863</c:v>
                </c:pt>
                <c:pt idx="3308">
                  <c:v>184.15293769702581</c:v>
                </c:pt>
                <c:pt idx="3309">
                  <c:v>184.19243134275851</c:v>
                </c:pt>
                <c:pt idx="3310">
                  <c:v>184.23193345834281</c:v>
                </c:pt>
                <c:pt idx="3311">
                  <c:v>184.27144404559516</c:v>
                </c:pt>
                <c:pt idx="3312">
                  <c:v>184.31096310633239</c:v>
                </c:pt>
                <c:pt idx="3313">
                  <c:v>184.35049064237177</c:v>
                </c:pt>
                <c:pt idx="3314">
                  <c:v>184.39002665553087</c:v>
                </c:pt>
                <c:pt idx="3315">
                  <c:v>184.42957114762774</c:v>
                </c:pt>
                <c:pt idx="3316">
                  <c:v>184.46912412048079</c:v>
                </c:pt>
                <c:pt idx="3317">
                  <c:v>184.50868557590877</c:v>
                </c:pt>
                <c:pt idx="3318">
                  <c:v>184.54825551573092</c:v>
                </c:pt>
                <c:pt idx="3319">
                  <c:v>184.58783394176675</c:v>
                </c:pt>
                <c:pt idx="3320">
                  <c:v>184.62742085583628</c:v>
                </c:pt>
                <c:pt idx="3321">
                  <c:v>184.66701625975983</c:v>
                </c:pt>
                <c:pt idx="3322">
                  <c:v>184.70662015535814</c:v>
                </c:pt>
                <c:pt idx="3323">
                  <c:v>184.74623254445237</c:v>
                </c:pt>
                <c:pt idx="3324">
                  <c:v>184.78585342886402</c:v>
                </c:pt>
                <c:pt idx="3325">
                  <c:v>184.82548281041502</c:v>
                </c:pt>
                <c:pt idx="3326">
                  <c:v>184.86512069092768</c:v>
                </c:pt>
                <c:pt idx="3327">
                  <c:v>184.90476707222467</c:v>
                </c:pt>
                <c:pt idx="3328">
                  <c:v>184.9444219561291</c:v>
                </c:pt>
                <c:pt idx="3329">
                  <c:v>184.98408534446446</c:v>
                </c:pt>
                <c:pt idx="3330">
                  <c:v>185.02375723905459</c:v>
                </c:pt>
                <c:pt idx="3331">
                  <c:v>185.06343764172377</c:v>
                </c:pt>
                <c:pt idx="3332">
                  <c:v>185.10312655429664</c:v>
                </c:pt>
                <c:pt idx="3333">
                  <c:v>185.14282397859827</c:v>
                </c:pt>
                <c:pt idx="3334">
                  <c:v>185.18252991645409</c:v>
                </c:pt>
                <c:pt idx="3335">
                  <c:v>185.22224436968989</c:v>
                </c:pt>
                <c:pt idx="3336">
                  <c:v>185.26196734013192</c:v>
                </c:pt>
                <c:pt idx="3337">
                  <c:v>185.30169882960678</c:v>
                </c:pt>
                <c:pt idx="3338">
                  <c:v>185.34143883994147</c:v>
                </c:pt>
                <c:pt idx="3339">
                  <c:v>185.38118737296338</c:v>
                </c:pt>
                <c:pt idx="3340">
                  <c:v>185.4209444305003</c:v>
                </c:pt>
                <c:pt idx="3341">
                  <c:v>185.4607100143804</c:v>
                </c:pt>
                <c:pt idx="3342">
                  <c:v>185.50048412643227</c:v>
                </c:pt>
                <c:pt idx="3343">
                  <c:v>185.54026676848486</c:v>
                </c:pt>
                <c:pt idx="3344">
                  <c:v>185.58005794236752</c:v>
                </c:pt>
                <c:pt idx="3345">
                  <c:v>185.61985764990999</c:v>
                </c:pt>
                <c:pt idx="3346">
                  <c:v>185.65966589294243</c:v>
                </c:pt>
                <c:pt idx="3347">
                  <c:v>185.69948267329534</c:v>
                </c:pt>
                <c:pt idx="3348">
                  <c:v>185.73930799279967</c:v>
                </c:pt>
                <c:pt idx="3349">
                  <c:v>185.77914185328672</c:v>
                </c:pt>
                <c:pt idx="3350">
                  <c:v>185.81898425658821</c:v>
                </c:pt>
                <c:pt idx="3351">
                  <c:v>185.85883520453623</c:v>
                </c:pt>
                <c:pt idx="3352">
                  <c:v>185.89869469896328</c:v>
                </c:pt>
                <c:pt idx="3353">
                  <c:v>185.93856274170224</c:v>
                </c:pt>
                <c:pt idx="3354">
                  <c:v>185.9784393345864</c:v>
                </c:pt>
                <c:pt idx="3355">
                  <c:v>186.01832447944943</c:v>
                </c:pt>
                <c:pt idx="3356">
                  <c:v>186.0582181781254</c:v>
                </c:pt>
                <c:pt idx="3357">
                  <c:v>186.09812043244878</c:v>
                </c:pt>
                <c:pt idx="3358">
                  <c:v>186.13803124425442</c:v>
                </c:pt>
                <c:pt idx="3359">
                  <c:v>186.17795061537754</c:v>
                </c:pt>
                <c:pt idx="3360">
                  <c:v>186.21787854765381</c:v>
                </c:pt>
                <c:pt idx="3361">
                  <c:v>186.20703835803516</c:v>
                </c:pt>
                <c:pt idx="3362">
                  <c:v>186.24697252850137</c:v>
                </c:pt>
                <c:pt idx="3363">
                  <c:v>186.28691526329462</c:v>
                </c:pt>
                <c:pt idx="3364">
                  <c:v>186.32686656425159</c:v>
                </c:pt>
                <c:pt idx="3365">
                  <c:v>186.36682643320941</c:v>
                </c:pt>
                <c:pt idx="3366">
                  <c:v>186.40679487200558</c:v>
                </c:pt>
                <c:pt idx="3367">
                  <c:v>186.446771882478</c:v>
                </c:pt>
                <c:pt idx="3368">
                  <c:v>186.48675746646498</c:v>
                </c:pt>
                <c:pt idx="3369">
                  <c:v>186.52675162580516</c:v>
                </c:pt>
                <c:pt idx="3370">
                  <c:v>186.56675436233766</c:v>
                </c:pt>
                <c:pt idx="3371">
                  <c:v>186.60676567790193</c:v>
                </c:pt>
                <c:pt idx="3372">
                  <c:v>186.64678557433785</c:v>
                </c:pt>
                <c:pt idx="3373">
                  <c:v>186.6868140534857</c:v>
                </c:pt>
                <c:pt idx="3374">
                  <c:v>186.72685111718613</c:v>
                </c:pt>
                <c:pt idx="3375">
                  <c:v>186.76689676728017</c:v>
                </c:pt>
                <c:pt idx="3376">
                  <c:v>186.80695100560928</c:v>
                </c:pt>
                <c:pt idx="3377">
                  <c:v>186.84701383401529</c:v>
                </c:pt>
                <c:pt idx="3378">
                  <c:v>186.88708525434046</c:v>
                </c:pt>
                <c:pt idx="3379">
                  <c:v>186.92716526842742</c:v>
                </c:pt>
                <c:pt idx="3380">
                  <c:v>186.96725387811918</c:v>
                </c:pt>
                <c:pt idx="3381">
                  <c:v>187.00735108525919</c:v>
                </c:pt>
                <c:pt idx="3382">
                  <c:v>187.04745689169124</c:v>
                </c:pt>
                <c:pt idx="3383">
                  <c:v>187.08757129925957</c:v>
                </c:pt>
                <c:pt idx="3384">
                  <c:v>187.12769430980876</c:v>
                </c:pt>
                <c:pt idx="3385">
                  <c:v>187.16782592518385</c:v>
                </c:pt>
                <c:pt idx="3386">
                  <c:v>187.2079661472302</c:v>
                </c:pt>
                <c:pt idx="3387">
                  <c:v>187.24811497779362</c:v>
                </c:pt>
                <c:pt idx="3388">
                  <c:v>187.28827241872031</c:v>
                </c:pt>
                <c:pt idx="3389">
                  <c:v>187.32843847185688</c:v>
                </c:pt>
                <c:pt idx="3390">
                  <c:v>187.3686131390503</c:v>
                </c:pt>
                <c:pt idx="3391">
                  <c:v>191.35792619609774</c:v>
                </c:pt>
                <c:pt idx="3392">
                  <c:v>191.39896503175163</c:v>
                </c:pt>
                <c:pt idx="3393">
                  <c:v>191.44001266864029</c:v>
                </c:pt>
                <c:pt idx="3394">
                  <c:v>191.48106910865124</c:v>
                </c:pt>
                <c:pt idx="3395">
                  <c:v>191.52213435367239</c:v>
                </c:pt>
                <c:pt idx="3396">
                  <c:v>191.56320840559209</c:v>
                </c:pt>
                <c:pt idx="3397">
                  <c:v>191.60429126629907</c:v>
                </c:pt>
                <c:pt idx="3398">
                  <c:v>191.64538293768248</c:v>
                </c:pt>
                <c:pt idx="3399">
                  <c:v>191.68648342163186</c:v>
                </c:pt>
                <c:pt idx="3400">
                  <c:v>191.72759272003717</c:v>
                </c:pt>
                <c:pt idx="3401">
                  <c:v>191.76871083478875</c:v>
                </c:pt>
                <c:pt idx="3402">
                  <c:v>191.80983776777737</c:v>
                </c:pt>
                <c:pt idx="3403">
                  <c:v>191.8509735208942</c:v>
                </c:pt>
                <c:pt idx="3404">
                  <c:v>191.89211809603083</c:v>
                </c:pt>
                <c:pt idx="3405">
                  <c:v>191.93327149507923</c:v>
                </c:pt>
                <c:pt idx="3406">
                  <c:v>191.97443371993177</c:v>
                </c:pt>
                <c:pt idx="3407">
                  <c:v>192.01560477248128</c:v>
                </c:pt>
                <c:pt idx="3408">
                  <c:v>192.05678465462094</c:v>
                </c:pt>
                <c:pt idx="3409">
                  <c:v>192.09797336824434</c:v>
                </c:pt>
                <c:pt idx="3410">
                  <c:v>192.1391709152455</c:v>
                </c:pt>
                <c:pt idx="3411">
                  <c:v>192.18037729751882</c:v>
                </c:pt>
                <c:pt idx="3412">
                  <c:v>192.22159251695913</c:v>
                </c:pt>
                <c:pt idx="3413">
                  <c:v>192.2628165754617</c:v>
                </c:pt>
                <c:pt idx="3414">
                  <c:v>192.30404947492212</c:v>
                </c:pt>
                <c:pt idx="3415">
                  <c:v>192.34529121723645</c:v>
                </c:pt>
                <c:pt idx="3416">
                  <c:v>192.38654180430112</c:v>
                </c:pt>
                <c:pt idx="3417">
                  <c:v>192.42780123801299</c:v>
                </c:pt>
                <c:pt idx="3418">
                  <c:v>192.46906952026933</c:v>
                </c:pt>
                <c:pt idx="3419">
                  <c:v>192.5103466529678</c:v>
                </c:pt>
                <c:pt idx="3420">
                  <c:v>192.55163263800648</c:v>
                </c:pt>
                <c:pt idx="3421">
                  <c:v>198.35983049108631</c:v>
                </c:pt>
                <c:pt idx="3422">
                  <c:v>198.40237096299506</c:v>
                </c:pt>
                <c:pt idx="3423">
                  <c:v>198.44492055818117</c:v>
                </c:pt>
                <c:pt idx="3424">
                  <c:v>198.4874792786012</c:v>
                </c:pt>
                <c:pt idx="3425">
                  <c:v>198.5300471262122</c:v>
                </c:pt>
                <c:pt idx="3426">
                  <c:v>198.57262410297159</c:v>
                </c:pt>
                <c:pt idx="3427">
                  <c:v>198.6152102108372</c:v>
                </c:pt>
                <c:pt idx="3428">
                  <c:v>198.6578054517673</c:v>
                </c:pt>
                <c:pt idx="3429">
                  <c:v>198.70040982772059</c:v>
                </c:pt>
                <c:pt idx="3430">
                  <c:v>198.74302334065618</c:v>
                </c:pt>
                <c:pt idx="3431">
                  <c:v>198.78564599253357</c:v>
                </c:pt>
                <c:pt idx="3432">
                  <c:v>198.82827778531274</c:v>
                </c:pt>
                <c:pt idx="3433">
                  <c:v>198.87091872095402</c:v>
                </c:pt>
                <c:pt idx="3434">
                  <c:v>198.91356880141825</c:v>
                </c:pt>
                <c:pt idx="3435">
                  <c:v>198.9562280286666</c:v>
                </c:pt>
                <c:pt idx="3436">
                  <c:v>198.99889640466071</c:v>
                </c:pt>
                <c:pt idx="3437">
                  <c:v>199.04157393136265</c:v>
                </c:pt>
                <c:pt idx="3438">
                  <c:v>199.08426061073484</c:v>
                </c:pt>
                <c:pt idx="3439">
                  <c:v>199.12695644474022</c:v>
                </c:pt>
                <c:pt idx="3440">
                  <c:v>199.16966143534208</c:v>
                </c:pt>
                <c:pt idx="3441">
                  <c:v>199.21237558450417</c:v>
                </c:pt>
                <c:pt idx="3442">
                  <c:v>199.25509889419064</c:v>
                </c:pt>
                <c:pt idx="3443">
                  <c:v>199.29783136636607</c:v>
                </c:pt>
                <c:pt idx="3444">
                  <c:v>199.34057300299543</c:v>
                </c:pt>
                <c:pt idx="3445">
                  <c:v>199.38332380604416</c:v>
                </c:pt>
                <c:pt idx="3446">
                  <c:v>199.42608377747811</c:v>
                </c:pt>
                <c:pt idx="3447">
                  <c:v>199.46885291926353</c:v>
                </c:pt>
                <c:pt idx="3448">
                  <c:v>199.5116312333671</c:v>
                </c:pt>
                <c:pt idx="3449">
                  <c:v>199.55441872175595</c:v>
                </c:pt>
                <c:pt idx="3450">
                  <c:v>199.59721538639758</c:v>
                </c:pt>
                <c:pt idx="3451">
                  <c:v>199.64002122925996</c:v>
                </c:pt>
                <c:pt idx="3452">
                  <c:v>199.68283625231143</c:v>
                </c:pt>
                <c:pt idx="3453">
                  <c:v>199.7256604575208</c:v>
                </c:pt>
                <c:pt idx="3454">
                  <c:v>199.7684938468573</c:v>
                </c:pt>
                <c:pt idx="3455">
                  <c:v>199.81133642229057</c:v>
                </c:pt>
                <c:pt idx="3456">
                  <c:v>199.85418818579063</c:v>
                </c:pt>
                <c:pt idx="3457">
                  <c:v>199.897049139328</c:v>
                </c:pt>
                <c:pt idx="3458">
                  <c:v>199.93991928487358</c:v>
                </c:pt>
                <c:pt idx="3459">
                  <c:v>199.9827986243987</c:v>
                </c:pt>
                <c:pt idx="3460">
                  <c:v>200.0256871598751</c:v>
                </c:pt>
                <c:pt idx="3461">
                  <c:v>200.06858489327499</c:v>
                </c:pt>
                <c:pt idx="3462">
                  <c:v>200.11149182657093</c:v>
                </c:pt>
                <c:pt idx="3463">
                  <c:v>200.15440796173593</c:v>
                </c:pt>
                <c:pt idx="3464">
                  <c:v>200.19733330074345</c:v>
                </c:pt>
                <c:pt idx="3465">
                  <c:v>200.24026784556736</c:v>
                </c:pt>
                <c:pt idx="3466">
                  <c:v>200.28321159818196</c:v>
                </c:pt>
                <c:pt idx="3467">
                  <c:v>200.32616456056195</c:v>
                </c:pt>
                <c:pt idx="3468">
                  <c:v>200.36912673468245</c:v>
                </c:pt>
                <c:pt idx="3469">
                  <c:v>200.41209812251907</c:v>
                </c:pt>
                <c:pt idx="3470">
                  <c:v>200.45507872604773</c:v>
                </c:pt>
                <c:pt idx="3471">
                  <c:v>200.49806854724488</c:v>
                </c:pt>
                <c:pt idx="3472">
                  <c:v>200.54106758808734</c:v>
                </c:pt>
                <c:pt idx="3473">
                  <c:v>200.58407585055238</c:v>
                </c:pt>
                <c:pt idx="3474">
                  <c:v>200.62709333661766</c:v>
                </c:pt>
                <c:pt idx="3475">
                  <c:v>200.67012004826128</c:v>
                </c:pt>
                <c:pt idx="3476">
                  <c:v>200.71315598746179</c:v>
                </c:pt>
                <c:pt idx="3477">
                  <c:v>200.75620115619813</c:v>
                </c:pt>
                <c:pt idx="3478">
                  <c:v>200.79925555644968</c:v>
                </c:pt>
                <c:pt idx="3479">
                  <c:v>200.84231919019624</c:v>
                </c:pt>
                <c:pt idx="3480">
                  <c:v>200.88539205941802</c:v>
                </c:pt>
                <c:pt idx="3481">
                  <c:v>200.9284741660957</c:v>
                </c:pt>
                <c:pt idx="3482">
                  <c:v>200.9715655122103</c:v>
                </c:pt>
                <c:pt idx="3483">
                  <c:v>201.01466609974338</c:v>
                </c:pt>
                <c:pt idx="3484">
                  <c:v>201.05777593067685</c:v>
                </c:pt>
                <c:pt idx="3485">
                  <c:v>201.10089500699306</c:v>
                </c:pt>
                <c:pt idx="3486">
                  <c:v>201.14402333067477</c:v>
                </c:pt>
                <c:pt idx="3487">
                  <c:v>201.18716090370518</c:v>
                </c:pt>
                <c:pt idx="3488">
                  <c:v>201.23030772806791</c:v>
                </c:pt>
                <c:pt idx="3489">
                  <c:v>201.27346380574704</c:v>
                </c:pt>
                <c:pt idx="3490">
                  <c:v>201.31662913872702</c:v>
                </c:pt>
                <c:pt idx="3491">
                  <c:v>201.35980372899277</c:v>
                </c:pt>
                <c:pt idx="3492">
                  <c:v>201.40298757852963</c:v>
                </c:pt>
                <c:pt idx="3493">
                  <c:v>201.44618068932334</c:v>
                </c:pt>
                <c:pt idx="3494">
                  <c:v>201.48938306336007</c:v>
                </c:pt>
                <c:pt idx="3495">
                  <c:v>201.53259470262643</c:v>
                </c:pt>
                <c:pt idx="3496">
                  <c:v>201.57581560910944</c:v>
                </c:pt>
                <c:pt idx="3497">
                  <c:v>201.61904578479658</c:v>
                </c:pt>
                <c:pt idx="3498">
                  <c:v>201.66228523167572</c:v>
                </c:pt>
                <c:pt idx="3499">
                  <c:v>201.70553395173519</c:v>
                </c:pt>
                <c:pt idx="3500">
                  <c:v>201.74879194696371</c:v>
                </c:pt>
                <c:pt idx="3501">
                  <c:v>201.79205921935042</c:v>
                </c:pt>
                <c:pt idx="3502">
                  <c:v>201.83533577088494</c:v>
                </c:pt>
                <c:pt idx="3503">
                  <c:v>201.87862160355729</c:v>
                </c:pt>
                <c:pt idx="3504">
                  <c:v>201.92191671935791</c:v>
                </c:pt>
                <c:pt idx="3505">
                  <c:v>201.96522112027765</c:v>
                </c:pt>
                <c:pt idx="3506">
                  <c:v>202.00853480830781</c:v>
                </c:pt>
                <c:pt idx="3507">
                  <c:v>202.05185778544015</c:v>
                </c:pt>
                <c:pt idx="3508">
                  <c:v>202.09519005366678</c:v>
                </c:pt>
                <c:pt idx="3509">
                  <c:v>202.13853161498031</c:v>
                </c:pt>
                <c:pt idx="3510">
                  <c:v>202.18188247137371</c:v>
                </c:pt>
                <c:pt idx="3511">
                  <c:v>202.72664661047224</c:v>
                </c:pt>
                <c:pt idx="3512">
                  <c:v>202.77012359466775</c:v>
                </c:pt>
                <c:pt idx="3513">
                  <c:v>202.81360990298609</c:v>
                </c:pt>
                <c:pt idx="3514">
                  <c:v>202.85710553742692</c:v>
                </c:pt>
                <c:pt idx="3515">
                  <c:v>202.90061049999034</c:v>
                </c:pt>
                <c:pt idx="3516">
                  <c:v>202.94412479267686</c:v>
                </c:pt>
                <c:pt idx="3517">
                  <c:v>202.98764841748746</c:v>
                </c:pt>
                <c:pt idx="3518">
                  <c:v>203.03118137642349</c:v>
                </c:pt>
                <c:pt idx="3519">
                  <c:v>203.07472367148677</c:v>
                </c:pt>
                <c:pt idx="3520">
                  <c:v>203.11827530467951</c:v>
                </c:pt>
                <c:pt idx="3521">
                  <c:v>203.16183627800439</c:v>
                </c:pt>
                <c:pt idx="3522">
                  <c:v>203.20540659346452</c:v>
                </c:pt>
                <c:pt idx="3523">
                  <c:v>203.24898625306341</c:v>
                </c:pt>
                <c:pt idx="3524">
                  <c:v>203.29257525880502</c:v>
                </c:pt>
                <c:pt idx="3525">
                  <c:v>203.3361736126937</c:v>
                </c:pt>
                <c:pt idx="3526">
                  <c:v>203.37978131673432</c:v>
                </c:pt>
                <c:pt idx="3527">
                  <c:v>203.4233983729321</c:v>
                </c:pt>
                <c:pt idx="3528">
                  <c:v>203.46702478329271</c:v>
                </c:pt>
                <c:pt idx="3529">
                  <c:v>203.51066054982226</c:v>
                </c:pt>
                <c:pt idx="3530">
                  <c:v>203.55430567452728</c:v>
                </c:pt>
                <c:pt idx="3531">
                  <c:v>203.59796015941473</c:v>
                </c:pt>
                <c:pt idx="3532">
                  <c:v>203.64162400649201</c:v>
                </c:pt>
                <c:pt idx="3533">
                  <c:v>203.68529721776696</c:v>
                </c:pt>
                <c:pt idx="3534">
                  <c:v>203.72897979524782</c:v>
                </c:pt>
                <c:pt idx="3535">
                  <c:v>203.77267174094328</c:v>
                </c:pt>
                <c:pt idx="3536">
                  <c:v>203.81637305686246</c:v>
                </c:pt>
                <c:pt idx="3537">
                  <c:v>203.86008374501489</c:v>
                </c:pt>
                <c:pt idx="3538">
                  <c:v>203.90380380741058</c:v>
                </c:pt>
                <c:pt idx="3539">
                  <c:v>203.94753324605992</c:v>
                </c:pt>
                <c:pt idx="3540">
                  <c:v>203.99127206297376</c:v>
                </c:pt>
                <c:pt idx="3541">
                  <c:v>204.03502026016338</c:v>
                </c:pt>
                <c:pt idx="3542">
                  <c:v>204.07877783964048</c:v>
                </c:pt>
                <c:pt idx="3543">
                  <c:v>204.12254480341718</c:v>
                </c:pt>
                <c:pt idx="3544">
                  <c:v>204.16632115350606</c:v>
                </c:pt>
                <c:pt idx="3545">
                  <c:v>204.21010689192013</c:v>
                </c:pt>
                <c:pt idx="3546">
                  <c:v>204.2539020206728</c:v>
                </c:pt>
                <c:pt idx="3547">
                  <c:v>204.29770654177796</c:v>
                </c:pt>
                <c:pt idx="3548">
                  <c:v>204.34152045724989</c:v>
                </c:pt>
                <c:pt idx="3549">
                  <c:v>204.38534376910329</c:v>
                </c:pt>
                <c:pt idx="3550">
                  <c:v>204.42917647935334</c:v>
                </c:pt>
                <c:pt idx="3551">
                  <c:v>204.47301859001564</c:v>
                </c:pt>
                <c:pt idx="3552">
                  <c:v>204.51687010310621</c:v>
                </c:pt>
                <c:pt idx="3553">
                  <c:v>204.5607310206415</c:v>
                </c:pt>
                <c:pt idx="3554">
                  <c:v>204.60460134463841</c:v>
                </c:pt>
                <c:pt idx="3555">
                  <c:v>204.64848107711424</c:v>
                </c:pt>
                <c:pt idx="3556">
                  <c:v>204.69237022008676</c:v>
                </c:pt>
                <c:pt idx="3557">
                  <c:v>204.73626877557413</c:v>
                </c:pt>
                <c:pt idx="3558">
                  <c:v>204.78017674559501</c:v>
                </c:pt>
                <c:pt idx="3559">
                  <c:v>204.82409413216843</c:v>
                </c:pt>
                <c:pt idx="3560">
                  <c:v>204.86802093731384</c:v>
                </c:pt>
                <c:pt idx="3561">
                  <c:v>204.91195716305123</c:v>
                </c:pt>
                <c:pt idx="3562">
                  <c:v>204.95590281140088</c:v>
                </c:pt>
                <c:pt idx="3563">
                  <c:v>204.9998578843836</c:v>
                </c:pt>
                <c:pt idx="3564">
                  <c:v>205.04382238402061</c:v>
                </c:pt>
                <c:pt idx="3565">
                  <c:v>205.08779631233358</c:v>
                </c:pt>
                <c:pt idx="3566">
                  <c:v>205.13177967134459</c:v>
                </c:pt>
                <c:pt idx="3567">
                  <c:v>205.17577246307613</c:v>
                </c:pt>
                <c:pt idx="3568">
                  <c:v>205.21977468955117</c:v>
                </c:pt>
                <c:pt idx="3569">
                  <c:v>205.26378635279309</c:v>
                </c:pt>
                <c:pt idx="3570">
                  <c:v>205.30780745482571</c:v>
                </c:pt>
                <c:pt idx="3571">
                  <c:v>205.3518379976733</c:v>
                </c:pt>
                <c:pt idx="3572">
                  <c:v>205.39587798336052</c:v>
                </c:pt>
                <c:pt idx="3573">
                  <c:v>205.4399274139125</c:v>
                </c:pt>
                <c:pt idx="3574">
                  <c:v>205.48398629135482</c:v>
                </c:pt>
                <c:pt idx="3575">
                  <c:v>205.52805461771345</c:v>
                </c:pt>
                <c:pt idx="3576">
                  <c:v>205.57213239501482</c:v>
                </c:pt>
                <c:pt idx="3577">
                  <c:v>205.61621962528579</c:v>
                </c:pt>
                <c:pt idx="3578">
                  <c:v>205.66031631055364</c:v>
                </c:pt>
                <c:pt idx="3579">
                  <c:v>205.7044224528461</c:v>
                </c:pt>
                <c:pt idx="3580">
                  <c:v>205.74853805419136</c:v>
                </c:pt>
                <c:pt idx="3581">
                  <c:v>205.792663116618</c:v>
                </c:pt>
                <c:pt idx="3582">
                  <c:v>205.83679764215506</c:v>
                </c:pt>
                <c:pt idx="3583">
                  <c:v>205.88094163283202</c:v>
                </c:pt>
                <c:pt idx="3584">
                  <c:v>205.92509509067878</c:v>
                </c:pt>
                <c:pt idx="3585">
                  <c:v>205.96925801772565</c:v>
                </c:pt>
                <c:pt idx="3586">
                  <c:v>206.01343041600344</c:v>
                </c:pt>
                <c:pt idx="3587">
                  <c:v>206.05761228754335</c:v>
                </c:pt>
                <c:pt idx="3588">
                  <c:v>206.10180363437703</c:v>
                </c:pt>
                <c:pt idx="3589">
                  <c:v>206.14600445853657</c:v>
                </c:pt>
                <c:pt idx="3590">
                  <c:v>206.19021476205444</c:v>
                </c:pt>
                <c:pt idx="3591">
                  <c:v>206.23443454696366</c:v>
                </c:pt>
                <c:pt idx="3592">
                  <c:v>206.27866381529756</c:v>
                </c:pt>
                <c:pt idx="3593">
                  <c:v>206.32290256909002</c:v>
                </c:pt>
                <c:pt idx="3594">
                  <c:v>206.36715081037525</c:v>
                </c:pt>
                <c:pt idx="3595">
                  <c:v>206.411408541188</c:v>
                </c:pt>
                <c:pt idx="3596">
                  <c:v>206.45567576356336</c:v>
                </c:pt>
                <c:pt idx="3597">
                  <c:v>206.49995247953694</c:v>
                </c:pt>
                <c:pt idx="3598">
                  <c:v>206.54423869114473</c:v>
                </c:pt>
                <c:pt idx="3599">
                  <c:v>206.58853440042316</c:v>
                </c:pt>
                <c:pt idx="3600">
                  <c:v>206.63283960940913</c:v>
                </c:pt>
                <c:pt idx="3601">
                  <c:v>209.45025570163574</c:v>
                </c:pt>
                <c:pt idx="3602">
                  <c:v>209.49517463858427</c:v>
                </c:pt>
                <c:pt idx="3603">
                  <c:v>209.54010320889847</c:v>
                </c:pt>
                <c:pt idx="3604">
                  <c:v>209.58504141464428</c:v>
                </c:pt>
                <c:pt idx="3605">
                  <c:v>209.62998925788813</c:v>
                </c:pt>
                <c:pt idx="3606">
                  <c:v>209.6749467406969</c:v>
                </c:pt>
                <c:pt idx="3607">
                  <c:v>209.7199138651379</c:v>
                </c:pt>
                <c:pt idx="3608">
                  <c:v>209.7648906332789</c:v>
                </c:pt>
                <c:pt idx="3609">
                  <c:v>209.80987704718805</c:v>
                </c:pt>
                <c:pt idx="3610">
                  <c:v>209.85487310893404</c:v>
                </c:pt>
                <c:pt idx="3611">
                  <c:v>209.89987882058594</c:v>
                </c:pt>
                <c:pt idx="3612">
                  <c:v>209.9448941842133</c:v>
                </c:pt>
                <c:pt idx="3613">
                  <c:v>209.98991920188607</c:v>
                </c:pt>
                <c:pt idx="3614">
                  <c:v>210.03495387567466</c:v>
                </c:pt>
                <c:pt idx="3615">
                  <c:v>210.07999820764994</c:v>
                </c:pt>
                <c:pt idx="3616">
                  <c:v>210.12505219988321</c:v>
                </c:pt>
                <c:pt idx="3617">
                  <c:v>210.17011585444624</c:v>
                </c:pt>
                <c:pt idx="3618">
                  <c:v>210.2151891734112</c:v>
                </c:pt>
                <c:pt idx="3619">
                  <c:v>210.26027215885077</c:v>
                </c:pt>
                <c:pt idx="3620">
                  <c:v>210.30536481283798</c:v>
                </c:pt>
                <c:pt idx="3621">
                  <c:v>210.35046713744637</c:v>
                </c:pt>
                <c:pt idx="3622">
                  <c:v>210.39557913474994</c:v>
                </c:pt>
                <c:pt idx="3623">
                  <c:v>210.44070080682309</c:v>
                </c:pt>
                <c:pt idx="3624">
                  <c:v>210.4858321557407</c:v>
                </c:pt>
                <c:pt idx="3625">
                  <c:v>210.53097318357803</c:v>
                </c:pt>
                <c:pt idx="3626">
                  <c:v>210.57612389241086</c:v>
                </c:pt>
                <c:pt idx="3627">
                  <c:v>210.62128428431541</c:v>
                </c:pt>
                <c:pt idx="3628">
                  <c:v>210.6664543613683</c:v>
                </c:pt>
                <c:pt idx="3629">
                  <c:v>210.71163412564661</c:v>
                </c:pt>
                <c:pt idx="3630">
                  <c:v>210.7568235792279</c:v>
                </c:pt>
                <c:pt idx="3631">
                  <c:v>213.97825513496792</c:v>
                </c:pt>
                <c:pt idx="3632">
                  <c:v>214.02414515175769</c:v>
                </c:pt>
                <c:pt idx="3633">
                  <c:v>214.07004501017198</c:v>
                </c:pt>
                <c:pt idx="3634">
                  <c:v>214.11595471232141</c:v>
                </c:pt>
                <c:pt idx="3635">
                  <c:v>214.16187426031709</c:v>
                </c:pt>
                <c:pt idx="3636">
                  <c:v>214.20780365627058</c:v>
                </c:pt>
                <c:pt idx="3637">
                  <c:v>214.25374290229391</c:v>
                </c:pt>
                <c:pt idx="3638">
                  <c:v>214.29969200049948</c:v>
                </c:pt>
                <c:pt idx="3639">
                  <c:v>214.34565095300024</c:v>
                </c:pt>
                <c:pt idx="3640">
                  <c:v>214.39161976190954</c:v>
                </c:pt>
                <c:pt idx="3641">
                  <c:v>214.43759842934119</c:v>
                </c:pt>
                <c:pt idx="3642">
                  <c:v>214.48358695740947</c:v>
                </c:pt>
                <c:pt idx="3643">
                  <c:v>214.52958534822912</c:v>
                </c:pt>
                <c:pt idx="3644">
                  <c:v>214.57559360391528</c:v>
                </c:pt>
                <c:pt idx="3645">
                  <c:v>214.62161172658361</c:v>
                </c:pt>
                <c:pt idx="3646">
                  <c:v>214.66763971835019</c:v>
                </c:pt>
                <c:pt idx="3647">
                  <c:v>214.71367758133155</c:v>
                </c:pt>
                <c:pt idx="3648">
                  <c:v>214.75972531764469</c:v>
                </c:pt>
                <c:pt idx="3649">
                  <c:v>214.80578292940703</c:v>
                </c:pt>
                <c:pt idx="3650">
                  <c:v>214.85185041873649</c:v>
                </c:pt>
                <c:pt idx="3651">
                  <c:v>214.89792778775143</c:v>
                </c:pt>
                <c:pt idx="3652">
                  <c:v>214.94401503857065</c:v>
                </c:pt>
                <c:pt idx="3653">
                  <c:v>214.99011217331343</c:v>
                </c:pt>
                <c:pt idx="3654">
                  <c:v>215.03621919409946</c:v>
                </c:pt>
                <c:pt idx="3655">
                  <c:v>215.08233610304893</c:v>
                </c:pt>
                <c:pt idx="3656">
                  <c:v>215.12846290228245</c:v>
                </c:pt>
                <c:pt idx="3657">
                  <c:v>215.1745995939211</c:v>
                </c:pt>
                <c:pt idx="3658">
                  <c:v>215.22074618008645</c:v>
                </c:pt>
                <c:pt idx="3659">
                  <c:v>215.26690266290046</c:v>
                </c:pt>
                <c:pt idx="3660">
                  <c:v>215.31306904448559</c:v>
                </c:pt>
                <c:pt idx="3661">
                  <c:v>219.1822000752482</c:v>
                </c:pt>
                <c:pt idx="3662">
                  <c:v>219.22920613591137</c:v>
                </c:pt>
                <c:pt idx="3663">
                  <c:v>219.27622227754705</c:v>
                </c:pt>
                <c:pt idx="3664">
                  <c:v>219.32324850231726</c:v>
                </c:pt>
                <c:pt idx="3665">
                  <c:v>219.3702848123844</c:v>
                </c:pt>
                <c:pt idx="3666">
                  <c:v>219.4173312099114</c:v>
                </c:pt>
                <c:pt idx="3667">
                  <c:v>219.46438769706162</c:v>
                </c:pt>
                <c:pt idx="3668">
                  <c:v>219.51145427599891</c:v>
                </c:pt>
                <c:pt idx="3669">
                  <c:v>219.55853094888755</c:v>
                </c:pt>
                <c:pt idx="3670">
                  <c:v>219.6056177178923</c:v>
                </c:pt>
                <c:pt idx="3671">
                  <c:v>219.65271458517839</c:v>
                </c:pt>
                <c:pt idx="3672">
                  <c:v>219.69982155291149</c:v>
                </c:pt>
                <c:pt idx="3673">
                  <c:v>219.74693862325779</c:v>
                </c:pt>
                <c:pt idx="3674">
                  <c:v>219.79406579838388</c:v>
                </c:pt>
                <c:pt idx="3675">
                  <c:v>219.84120308045684</c:v>
                </c:pt>
                <c:pt idx="3676">
                  <c:v>219.88835047164423</c:v>
                </c:pt>
                <c:pt idx="3677">
                  <c:v>219.93550797411405</c:v>
                </c:pt>
                <c:pt idx="3678">
                  <c:v>219.98267559003477</c:v>
                </c:pt>
                <c:pt idx="3679">
                  <c:v>220.02985332157536</c:v>
                </c:pt>
                <c:pt idx="3680">
                  <c:v>220.07704117090523</c:v>
                </c:pt>
                <c:pt idx="3681">
                  <c:v>220.12423914019422</c:v>
                </c:pt>
                <c:pt idx="3682">
                  <c:v>220.17144723161269</c:v>
                </c:pt>
                <c:pt idx="3683">
                  <c:v>220.21866544733143</c:v>
                </c:pt>
                <c:pt idx="3684">
                  <c:v>220.26589378952173</c:v>
                </c:pt>
                <c:pt idx="3685">
                  <c:v>220.3131322603553</c:v>
                </c:pt>
                <c:pt idx="3686">
                  <c:v>220.36038086200435</c:v>
                </c:pt>
                <c:pt idx="3687">
                  <c:v>220.40763959664156</c:v>
                </c:pt>
                <c:pt idx="3688">
                  <c:v>220.45490846644003</c:v>
                </c:pt>
                <c:pt idx="3689">
                  <c:v>220.5021874735734</c:v>
                </c:pt>
                <c:pt idx="3690">
                  <c:v>220.5494766202157</c:v>
                </c:pt>
                <c:pt idx="3691">
                  <c:v>220.59677590854147</c:v>
                </c:pt>
                <c:pt idx="3692">
                  <c:v>220.64408534072572</c:v>
                </c:pt>
                <c:pt idx="3693">
                  <c:v>220.6914049189439</c:v>
                </c:pt>
                <c:pt idx="3694">
                  <c:v>220.73873464537195</c:v>
                </c:pt>
                <c:pt idx="3695">
                  <c:v>220.78607452218625</c:v>
                </c:pt>
                <c:pt idx="3696">
                  <c:v>220.83342455156367</c:v>
                </c:pt>
                <c:pt idx="3697">
                  <c:v>220.88078473568154</c:v>
                </c:pt>
                <c:pt idx="3698">
                  <c:v>220.92815507671764</c:v>
                </c:pt>
                <c:pt idx="3699">
                  <c:v>220.97553557685026</c:v>
                </c:pt>
                <c:pt idx="3700">
                  <c:v>221.02292623825812</c:v>
                </c:pt>
                <c:pt idx="3701">
                  <c:v>221.07032706312043</c:v>
                </c:pt>
                <c:pt idx="3702">
                  <c:v>221.11773805361685</c:v>
                </c:pt>
                <c:pt idx="3703">
                  <c:v>221.16515921192752</c:v>
                </c:pt>
                <c:pt idx="3704">
                  <c:v>221.21259054023301</c:v>
                </c:pt>
                <c:pt idx="3705">
                  <c:v>221.26003204071444</c:v>
                </c:pt>
                <c:pt idx="3706">
                  <c:v>221.3074837155533</c:v>
                </c:pt>
                <c:pt idx="3707">
                  <c:v>221.3549455669316</c:v>
                </c:pt>
                <c:pt idx="3708">
                  <c:v>221.40241759703184</c:v>
                </c:pt>
                <c:pt idx="3709">
                  <c:v>221.44989980803695</c:v>
                </c:pt>
                <c:pt idx="3710">
                  <c:v>221.49739220213033</c:v>
                </c:pt>
                <c:pt idx="3711">
                  <c:v>221.54489478149586</c:v>
                </c:pt>
                <c:pt idx="3712">
                  <c:v>221.59240754831788</c:v>
                </c:pt>
                <c:pt idx="3713">
                  <c:v>221.6399305047812</c:v>
                </c:pt>
                <c:pt idx="3714">
                  <c:v>221.68746365307112</c:v>
                </c:pt>
                <c:pt idx="3715">
                  <c:v>221.73500699537337</c:v>
                </c:pt>
                <c:pt idx="3716">
                  <c:v>221.78256053387418</c:v>
                </c:pt>
                <c:pt idx="3717">
                  <c:v>221.83012427076022</c:v>
                </c:pt>
                <c:pt idx="3718">
                  <c:v>221.87769820821867</c:v>
                </c:pt>
                <c:pt idx="3719">
                  <c:v>221.92528234843715</c:v>
                </c:pt>
                <c:pt idx="3720">
                  <c:v>221.97287669360375</c:v>
                </c:pt>
                <c:pt idx="3721">
                  <c:v>224.51568418680907</c:v>
                </c:pt>
                <c:pt idx="3722">
                  <c:v>224.5638340724617</c:v>
                </c:pt>
                <c:pt idx="3723">
                  <c:v>224.61199428439286</c:v>
                </c:pt>
                <c:pt idx="3724">
                  <c:v>224.66016482481712</c:v>
                </c:pt>
                <c:pt idx="3725">
                  <c:v>224.70834569594956</c:v>
                </c:pt>
                <c:pt idx="3726">
                  <c:v>224.7565369000057</c:v>
                </c:pt>
                <c:pt idx="3727">
                  <c:v>224.80473843920157</c:v>
                </c:pt>
                <c:pt idx="3728">
                  <c:v>224.85295031575365</c:v>
                </c:pt>
                <c:pt idx="3729">
                  <c:v>224.90117253187887</c:v>
                </c:pt>
                <c:pt idx="3730">
                  <c:v>224.94940508979471</c:v>
                </c:pt>
                <c:pt idx="3731">
                  <c:v>224.99764799171905</c:v>
                </c:pt>
                <c:pt idx="3732">
                  <c:v>225.04590123987029</c:v>
                </c:pt>
                <c:pt idx="3733">
                  <c:v>225.09416483646729</c:v>
                </c:pt>
                <c:pt idx="3734">
                  <c:v>225.1424387837294</c:v>
                </c:pt>
                <c:pt idx="3735">
                  <c:v>225.19072308387643</c:v>
                </c:pt>
                <c:pt idx="3736">
                  <c:v>225.23901773912866</c:v>
                </c:pt>
                <c:pt idx="3737">
                  <c:v>225.28732275170685</c:v>
                </c:pt>
                <c:pt idx="3738">
                  <c:v>225.33563812383227</c:v>
                </c:pt>
                <c:pt idx="3739">
                  <c:v>225.38396385772663</c:v>
                </c:pt>
                <c:pt idx="3740">
                  <c:v>225.43229995561214</c:v>
                </c:pt>
                <c:pt idx="3741">
                  <c:v>225.48064641971146</c:v>
                </c:pt>
                <c:pt idx="3742">
                  <c:v>225.52900325224775</c:v>
                </c:pt>
                <c:pt idx="3743">
                  <c:v>225.57737045544462</c:v>
                </c:pt>
                <c:pt idx="3744">
                  <c:v>225.62574803152617</c:v>
                </c:pt>
                <c:pt idx="3745">
                  <c:v>225.67413598271699</c:v>
                </c:pt>
                <c:pt idx="3746">
                  <c:v>225.72253431124216</c:v>
                </c:pt>
                <c:pt idx="3747">
                  <c:v>225.77094301932718</c:v>
                </c:pt>
                <c:pt idx="3748">
                  <c:v>225.81936210919807</c:v>
                </c:pt>
                <c:pt idx="3749">
                  <c:v>225.86779158308133</c:v>
                </c:pt>
                <c:pt idx="3750">
                  <c:v>225.91623144320391</c:v>
                </c:pt>
                <c:pt idx="3751">
                  <c:v>225.96468169179329</c:v>
                </c:pt>
                <c:pt idx="3752">
                  <c:v>226.01314233107735</c:v>
                </c:pt>
                <c:pt idx="3753">
                  <c:v>226.06161336328452</c:v>
                </c:pt>
                <c:pt idx="3754">
                  <c:v>226.11009479064367</c:v>
                </c:pt>
                <c:pt idx="3755">
                  <c:v>226.15858661538414</c:v>
                </c:pt>
                <c:pt idx="3756">
                  <c:v>226.20708883973577</c:v>
                </c:pt>
                <c:pt idx="3757">
                  <c:v>226.25560146592889</c:v>
                </c:pt>
                <c:pt idx="3758">
                  <c:v>226.30412449619428</c:v>
                </c:pt>
                <c:pt idx="3759">
                  <c:v>226.35265793276321</c:v>
                </c:pt>
                <c:pt idx="3760">
                  <c:v>226.40120177786741</c:v>
                </c:pt>
                <c:pt idx="3761">
                  <c:v>226.44975603373913</c:v>
                </c:pt>
                <c:pt idx="3762">
                  <c:v>226.49832070261107</c:v>
                </c:pt>
                <c:pt idx="3763">
                  <c:v>226.54689578671642</c:v>
                </c:pt>
                <c:pt idx="3764">
                  <c:v>226.59548128828882</c:v>
                </c:pt>
                <c:pt idx="3765">
                  <c:v>226.64407720956243</c:v>
                </c:pt>
                <c:pt idx="3766">
                  <c:v>226.69268355277185</c:v>
                </c:pt>
                <c:pt idx="3767">
                  <c:v>226.74130032015222</c:v>
                </c:pt>
                <c:pt idx="3768">
                  <c:v>226.78992751393909</c:v>
                </c:pt>
                <c:pt idx="3769">
                  <c:v>226.83856513636852</c:v>
                </c:pt>
                <c:pt idx="3770">
                  <c:v>226.88721318967706</c:v>
                </c:pt>
                <c:pt idx="3771">
                  <c:v>226.9358716761017</c:v>
                </c:pt>
                <c:pt idx="3772">
                  <c:v>226.98454059787997</c:v>
                </c:pt>
                <c:pt idx="3773">
                  <c:v>227.03321995724983</c:v>
                </c:pt>
                <c:pt idx="3774">
                  <c:v>227.08190975644976</c:v>
                </c:pt>
                <c:pt idx="3775">
                  <c:v>227.13060999771866</c:v>
                </c:pt>
                <c:pt idx="3776">
                  <c:v>227.179320683296</c:v>
                </c:pt>
                <c:pt idx="3777">
                  <c:v>227.22804181542162</c:v>
                </c:pt>
                <c:pt idx="3778">
                  <c:v>227.27677339633593</c:v>
                </c:pt>
                <c:pt idx="3779">
                  <c:v>227.3255154282798</c:v>
                </c:pt>
                <c:pt idx="3780">
                  <c:v>227.37426791349455</c:v>
                </c:pt>
                <c:pt idx="3781">
                  <c:v>227.42303085422199</c:v>
                </c:pt>
                <c:pt idx="3782">
                  <c:v>227.47180425270446</c:v>
                </c:pt>
                <c:pt idx="3783">
                  <c:v>227.52058811118471</c:v>
                </c:pt>
                <c:pt idx="3784">
                  <c:v>227.56938243190601</c:v>
                </c:pt>
                <c:pt idx="3785">
                  <c:v>227.61818721711211</c:v>
                </c:pt>
                <c:pt idx="3786">
                  <c:v>227.66700246904722</c:v>
                </c:pt>
                <c:pt idx="3787">
                  <c:v>227.71582818995606</c:v>
                </c:pt>
                <c:pt idx="3788">
                  <c:v>227.76466438208379</c:v>
                </c:pt>
                <c:pt idx="3789">
                  <c:v>227.81351104767612</c:v>
                </c:pt>
                <c:pt idx="3790">
                  <c:v>227.86236818897919</c:v>
                </c:pt>
                <c:pt idx="3791">
                  <c:v>227.91123580823961</c:v>
                </c:pt>
                <c:pt idx="3792">
                  <c:v>227.96011390770451</c:v>
                </c:pt>
                <c:pt idx="3793">
                  <c:v>228.00900248962151</c:v>
                </c:pt>
                <c:pt idx="3794">
                  <c:v>228.05790155623865</c:v>
                </c:pt>
                <c:pt idx="3795">
                  <c:v>228.10681110980451</c:v>
                </c:pt>
                <c:pt idx="3796">
                  <c:v>228.15573115256814</c:v>
                </c:pt>
                <c:pt idx="3797">
                  <c:v>228.20466168677905</c:v>
                </c:pt>
                <c:pt idx="3798">
                  <c:v>228.25360271468725</c:v>
                </c:pt>
                <c:pt idx="3799">
                  <c:v>228.30255423854322</c:v>
                </c:pt>
                <c:pt idx="3800">
                  <c:v>228.35151626059795</c:v>
                </c:pt>
                <c:pt idx="3801">
                  <c:v>228.4004887831029</c:v>
                </c:pt>
                <c:pt idx="3802">
                  <c:v>228.44947180830999</c:v>
                </c:pt>
                <c:pt idx="3803">
                  <c:v>228.49846533847165</c:v>
                </c:pt>
                <c:pt idx="3804">
                  <c:v>228.54746937584079</c:v>
                </c:pt>
                <c:pt idx="3805">
                  <c:v>228.59648392267079</c:v>
                </c:pt>
                <c:pt idx="3806">
                  <c:v>228.64550898121553</c:v>
                </c:pt>
                <c:pt idx="3807">
                  <c:v>228.69454455372934</c:v>
                </c:pt>
                <c:pt idx="3808">
                  <c:v>228.7435906424671</c:v>
                </c:pt>
                <c:pt idx="3809">
                  <c:v>228.79264724968408</c:v>
                </c:pt>
                <c:pt idx="3810">
                  <c:v>228.84171437763612</c:v>
                </c:pt>
                <c:pt idx="3811">
                  <c:v>228.89079202857951</c:v>
                </c:pt>
                <c:pt idx="3812">
                  <c:v>228.93988020477101</c:v>
                </c:pt>
                <c:pt idx="3813">
                  <c:v>228.98897890846789</c:v>
                </c:pt>
                <c:pt idx="3814">
                  <c:v>229.03808814192786</c:v>
                </c:pt>
                <c:pt idx="3815">
                  <c:v>229.08720790740915</c:v>
                </c:pt>
                <c:pt idx="3816">
                  <c:v>229.1363382071705</c:v>
                </c:pt>
                <c:pt idx="3817">
                  <c:v>229.18547904347108</c:v>
                </c:pt>
                <c:pt idx="3818">
                  <c:v>229.23463041857056</c:v>
                </c:pt>
                <c:pt idx="3819">
                  <c:v>229.28379233472913</c:v>
                </c:pt>
                <c:pt idx="3820">
                  <c:v>229.33296479420741</c:v>
                </c:pt>
                <c:pt idx="3821">
                  <c:v>229.38214779926656</c:v>
                </c:pt>
                <c:pt idx="3822">
                  <c:v>229.43134135216818</c:v>
                </c:pt>
                <c:pt idx="3823">
                  <c:v>229.48054545517437</c:v>
                </c:pt>
                <c:pt idx="3824">
                  <c:v>229.52976011054773</c:v>
                </c:pt>
                <c:pt idx="3825">
                  <c:v>229.57898532055134</c:v>
                </c:pt>
                <c:pt idx="3826">
                  <c:v>229.62822108744874</c:v>
                </c:pt>
                <c:pt idx="3827">
                  <c:v>229.67746741350396</c:v>
                </c:pt>
                <c:pt idx="3828">
                  <c:v>229.72672430098154</c:v>
                </c:pt>
                <c:pt idx="3829">
                  <c:v>229.77599175214652</c:v>
                </c:pt>
                <c:pt idx="3830">
                  <c:v>229.82526976926437</c:v>
                </c:pt>
                <c:pt idx="3831">
                  <c:v>229.87455835460108</c:v>
                </c:pt>
                <c:pt idx="3832">
                  <c:v>229.92385751042315</c:v>
                </c:pt>
                <c:pt idx="3833">
                  <c:v>229.97316723899749</c:v>
                </c:pt>
                <c:pt idx="3834">
                  <c:v>230.02248754259159</c:v>
                </c:pt>
                <c:pt idx="3835">
                  <c:v>230.07181842347336</c:v>
                </c:pt>
                <c:pt idx="3836">
                  <c:v>230.12115988391122</c:v>
                </c:pt>
                <c:pt idx="3837">
                  <c:v>230.17051192617407</c:v>
                </c:pt>
                <c:pt idx="3838">
                  <c:v>230.21987455253131</c:v>
                </c:pt>
                <c:pt idx="3839">
                  <c:v>230.2692477652528</c:v>
                </c:pt>
                <c:pt idx="3840">
                  <c:v>230.3186315666089</c:v>
                </c:pt>
                <c:pt idx="3841">
                  <c:v>230.36802595887048</c:v>
                </c:pt>
                <c:pt idx="3842">
                  <c:v>230.41743094430888</c:v>
                </c:pt>
                <c:pt idx="3843">
                  <c:v>230.4668465251959</c:v>
                </c:pt>
                <c:pt idx="3844">
                  <c:v>230.51627270380388</c:v>
                </c:pt>
                <c:pt idx="3845">
                  <c:v>230.56570948240559</c:v>
                </c:pt>
                <c:pt idx="3846">
                  <c:v>230.61515686327436</c:v>
                </c:pt>
                <c:pt idx="3847">
                  <c:v>230.66461484868393</c:v>
                </c:pt>
                <c:pt idx="3848">
                  <c:v>230.71408344090855</c:v>
                </c:pt>
                <c:pt idx="3849">
                  <c:v>230.76356264222301</c:v>
                </c:pt>
                <c:pt idx="3850">
                  <c:v>230.8130524549025</c:v>
                </c:pt>
                <c:pt idx="3851">
                  <c:v>230.8625528812228</c:v>
                </c:pt>
                <c:pt idx="3852">
                  <c:v>230.91206392346007</c:v>
                </c:pt>
                <c:pt idx="3853">
                  <c:v>230.96158558389104</c:v>
                </c:pt>
                <c:pt idx="3854">
                  <c:v>231.01111786479288</c:v>
                </c:pt>
                <c:pt idx="3855">
                  <c:v>231.06066076844331</c:v>
                </c:pt>
                <c:pt idx="3856">
                  <c:v>231.11021429712045</c:v>
                </c:pt>
                <c:pt idx="3857">
                  <c:v>231.15977845310297</c:v>
                </c:pt>
                <c:pt idx="3858">
                  <c:v>231.20935323867005</c:v>
                </c:pt>
                <c:pt idx="3859">
                  <c:v>231.25893865610126</c:v>
                </c:pt>
                <c:pt idx="3860">
                  <c:v>231.30853470767678</c:v>
                </c:pt>
                <c:pt idx="3861">
                  <c:v>231.35814139567719</c:v>
                </c:pt>
                <c:pt idx="3862">
                  <c:v>231.40775872238359</c:v>
                </c:pt>
                <c:pt idx="3863">
                  <c:v>231.45738669007756</c:v>
                </c:pt>
                <c:pt idx="3864">
                  <c:v>231.50702530104118</c:v>
                </c:pt>
                <c:pt idx="3865">
                  <c:v>231.55667455755705</c:v>
                </c:pt>
                <c:pt idx="3866">
                  <c:v>231.60633446190818</c:v>
                </c:pt>
                <c:pt idx="3867">
                  <c:v>231.65600501637815</c:v>
                </c:pt>
                <c:pt idx="3868">
                  <c:v>231.70568622325098</c:v>
                </c:pt>
                <c:pt idx="3869">
                  <c:v>231.75537808481121</c:v>
                </c:pt>
                <c:pt idx="3870">
                  <c:v>231.80508060334387</c:v>
                </c:pt>
                <c:pt idx="3871">
                  <c:v>231.85479378113442</c:v>
                </c:pt>
                <c:pt idx="3872">
                  <c:v>231.90451762046891</c:v>
                </c:pt>
                <c:pt idx="3873">
                  <c:v>231.95425212363378</c:v>
                </c:pt>
                <c:pt idx="3874">
                  <c:v>232.00399729291604</c:v>
                </c:pt>
                <c:pt idx="3875">
                  <c:v>232.05375313060313</c:v>
                </c:pt>
                <c:pt idx="3876">
                  <c:v>232.10351963898302</c:v>
                </c:pt>
                <c:pt idx="3877">
                  <c:v>232.15329682034417</c:v>
                </c:pt>
                <c:pt idx="3878">
                  <c:v>232.20308467697549</c:v>
                </c:pt>
                <c:pt idx="3879">
                  <c:v>232.25288321116645</c:v>
                </c:pt>
                <c:pt idx="3880">
                  <c:v>232.30269242520694</c:v>
                </c:pt>
                <c:pt idx="3881">
                  <c:v>232.35251232138739</c:v>
                </c:pt>
                <c:pt idx="3882">
                  <c:v>232.40234290199871</c:v>
                </c:pt>
                <c:pt idx="3883">
                  <c:v>232.45218416933227</c:v>
                </c:pt>
                <c:pt idx="3884">
                  <c:v>232.50203612567998</c:v>
                </c:pt>
                <c:pt idx="3885">
                  <c:v>232.55189877333422</c:v>
                </c:pt>
                <c:pt idx="3886">
                  <c:v>232.60177211458782</c:v>
                </c:pt>
                <c:pt idx="3887">
                  <c:v>232.65165615173419</c:v>
                </c:pt>
                <c:pt idx="3888">
                  <c:v>232.70155088706716</c:v>
                </c:pt>
                <c:pt idx="3889">
                  <c:v>232.75145632288107</c:v>
                </c:pt>
                <c:pt idx="3890">
                  <c:v>232.80137246147078</c:v>
                </c:pt>
                <c:pt idx="3891">
                  <c:v>232.85129930513159</c:v>
                </c:pt>
                <c:pt idx="3892">
                  <c:v>232.90123685615933</c:v>
                </c:pt>
                <c:pt idx="3893">
                  <c:v>232.95118511685033</c:v>
                </c:pt>
                <c:pt idx="3894">
                  <c:v>233.00114408950137</c:v>
                </c:pt>
                <c:pt idx="3895">
                  <c:v>233.05111377640978</c:v>
                </c:pt>
                <c:pt idx="3896">
                  <c:v>233.10109417987331</c:v>
                </c:pt>
                <c:pt idx="3897">
                  <c:v>233.1510853021903</c:v>
                </c:pt>
                <c:pt idx="3898">
                  <c:v>233.20108714565947</c:v>
                </c:pt>
                <c:pt idx="3899">
                  <c:v>233.25109971258013</c:v>
                </c:pt>
                <c:pt idx="3900">
                  <c:v>233.30112300525204</c:v>
                </c:pt>
                <c:pt idx="3901">
                  <c:v>233.35115702597545</c:v>
                </c:pt>
                <c:pt idx="3902">
                  <c:v>233.40120177705111</c:v>
                </c:pt>
                <c:pt idx="3903">
                  <c:v>233.45125726078027</c:v>
                </c:pt>
                <c:pt idx="3904">
                  <c:v>233.50132347946465</c:v>
                </c:pt>
                <c:pt idx="3905">
                  <c:v>233.55140043540646</c:v>
                </c:pt>
                <c:pt idx="3906">
                  <c:v>233.60148813090848</c:v>
                </c:pt>
                <c:pt idx="3907">
                  <c:v>233.6515865682739</c:v>
                </c:pt>
                <c:pt idx="3908">
                  <c:v>233.70169574980642</c:v>
                </c:pt>
                <c:pt idx="3909">
                  <c:v>233.75181567781027</c:v>
                </c:pt>
                <c:pt idx="3910">
                  <c:v>233.80194635459014</c:v>
                </c:pt>
                <c:pt idx="3911">
                  <c:v>233.85208778245124</c:v>
                </c:pt>
                <c:pt idx="3912">
                  <c:v>233.90223996369923</c:v>
                </c:pt>
                <c:pt idx="3913">
                  <c:v>233.95240290064029</c:v>
                </c:pt>
                <c:pt idx="3914">
                  <c:v>234.00257659558113</c:v>
                </c:pt>
                <c:pt idx="3915">
                  <c:v>234.05276105082891</c:v>
                </c:pt>
                <c:pt idx="3916">
                  <c:v>234.10295626869129</c:v>
                </c:pt>
                <c:pt idx="3917">
                  <c:v>234.15316225147643</c:v>
                </c:pt>
                <c:pt idx="3918">
                  <c:v>234.203379001493</c:v>
                </c:pt>
                <c:pt idx="3919">
                  <c:v>234.25360652105016</c:v>
                </c:pt>
                <c:pt idx="3920">
                  <c:v>234.30384481245753</c:v>
                </c:pt>
                <c:pt idx="3921">
                  <c:v>234.35409387802528</c:v>
                </c:pt>
                <c:pt idx="3922">
                  <c:v>234.40435372006402</c:v>
                </c:pt>
                <c:pt idx="3923">
                  <c:v>234.45462434088492</c:v>
                </c:pt>
                <c:pt idx="3924">
                  <c:v>234.50490574279959</c:v>
                </c:pt>
                <c:pt idx="3925">
                  <c:v>234.55519792812015</c:v>
                </c:pt>
                <c:pt idx="3926">
                  <c:v>234.60550089915924</c:v>
                </c:pt>
                <c:pt idx="3927">
                  <c:v>234.65581465822996</c:v>
                </c:pt>
                <c:pt idx="3928">
                  <c:v>234.70613920764592</c:v>
                </c:pt>
                <c:pt idx="3929">
                  <c:v>234.75647454972125</c:v>
                </c:pt>
                <c:pt idx="3930">
                  <c:v>234.80682068677052</c:v>
                </c:pt>
                <c:pt idx="3931">
                  <c:v>234.85717762110886</c:v>
                </c:pt>
                <c:pt idx="3932">
                  <c:v>234.90754535505187</c:v>
                </c:pt>
                <c:pt idx="3933">
                  <c:v>234.95792389091565</c:v>
                </c:pt>
                <c:pt idx="3934">
                  <c:v>235.00831323101679</c:v>
                </c:pt>
                <c:pt idx="3935">
                  <c:v>235.05871337767235</c:v>
                </c:pt>
                <c:pt idx="3936">
                  <c:v>235.10912433319993</c:v>
                </c:pt>
                <c:pt idx="3937">
                  <c:v>235.15954609991763</c:v>
                </c:pt>
                <c:pt idx="3938">
                  <c:v>235.20997868014402</c:v>
                </c:pt>
                <c:pt idx="3939">
                  <c:v>235.26042207619818</c:v>
                </c:pt>
                <c:pt idx="3940">
                  <c:v>235.31087629039968</c:v>
                </c:pt>
                <c:pt idx="3941">
                  <c:v>235.36134132506859</c:v>
                </c:pt>
                <c:pt idx="3942">
                  <c:v>235.41181718252548</c:v>
                </c:pt>
                <c:pt idx="3943">
                  <c:v>235.46230386509143</c:v>
                </c:pt>
                <c:pt idx="3944">
                  <c:v>235.512801375088</c:v>
                </c:pt>
                <c:pt idx="3945">
                  <c:v>235.56330971483723</c:v>
                </c:pt>
                <c:pt idx="3946">
                  <c:v>235.61382888666171</c:v>
                </c:pt>
                <c:pt idx="3947">
                  <c:v>235.66435889288448</c:v>
                </c:pt>
                <c:pt idx="3948">
                  <c:v>235.71489973582911</c:v>
                </c:pt>
                <c:pt idx="3949">
                  <c:v>235.76545141781966</c:v>
                </c:pt>
                <c:pt idx="3950">
                  <c:v>235.81601394118067</c:v>
                </c:pt>
                <c:pt idx="3951">
                  <c:v>235.8665873082372</c:v>
                </c:pt>
                <c:pt idx="3952">
                  <c:v>235.9171715213148</c:v>
                </c:pt>
                <c:pt idx="3953">
                  <c:v>235.9677665827395</c:v>
                </c:pt>
                <c:pt idx="3954">
                  <c:v>236.01837249483788</c:v>
                </c:pt>
                <c:pt idx="3955">
                  <c:v>236.06898925993696</c:v>
                </c:pt>
                <c:pt idx="3956">
                  <c:v>236.1196168803643</c:v>
                </c:pt>
                <c:pt idx="3957">
                  <c:v>236.17025535844797</c:v>
                </c:pt>
                <c:pt idx="3958">
                  <c:v>236.2209046965165</c:v>
                </c:pt>
                <c:pt idx="3959">
                  <c:v>236.27156489689889</c:v>
                </c:pt>
                <c:pt idx="3960">
                  <c:v>236.32223596192475</c:v>
                </c:pt>
                <c:pt idx="3961">
                  <c:v>233.36640643357899</c:v>
                </c:pt>
                <c:pt idx="3962">
                  <c:v>233.41645445505972</c:v>
                </c:pt>
                <c:pt idx="3963">
                  <c:v>233.46651320989531</c:v>
                </c:pt>
                <c:pt idx="3964">
                  <c:v>233.51658270038766</c:v>
                </c:pt>
                <c:pt idx="3965">
                  <c:v>233.56666292883915</c:v>
                </c:pt>
                <c:pt idx="3966">
                  <c:v>233.61675389755263</c:v>
                </c:pt>
                <c:pt idx="3967">
                  <c:v>233.6668556088315</c:v>
                </c:pt>
                <c:pt idx="3968">
                  <c:v>233.7169680649796</c:v>
                </c:pt>
                <c:pt idx="3969">
                  <c:v>233.7670912683013</c:v>
                </c:pt>
                <c:pt idx="3970">
                  <c:v>233.81722522110147</c:v>
                </c:pt>
                <c:pt idx="3971">
                  <c:v>233.86736992568541</c:v>
                </c:pt>
                <c:pt idx="3972">
                  <c:v>233.91752538435898</c:v>
                </c:pt>
                <c:pt idx="3973">
                  <c:v>233.96769159942852</c:v>
                </c:pt>
                <c:pt idx="3974">
                  <c:v>234.01786857320087</c:v>
                </c:pt>
                <c:pt idx="3975">
                  <c:v>234.06805630798334</c:v>
                </c:pt>
                <c:pt idx="3976">
                  <c:v>234.11825480608374</c:v>
                </c:pt>
                <c:pt idx="3977">
                  <c:v>234.1684640698104</c:v>
                </c:pt>
                <c:pt idx="3978">
                  <c:v>234.21868410147212</c:v>
                </c:pt>
                <c:pt idx="3979">
                  <c:v>234.2689149033782</c:v>
                </c:pt>
                <c:pt idx="3980">
                  <c:v>234.31915647783845</c:v>
                </c:pt>
                <c:pt idx="3981">
                  <c:v>234.36940882716314</c:v>
                </c:pt>
                <c:pt idx="3982">
                  <c:v>234.41967195366308</c:v>
                </c:pt>
                <c:pt idx="3983">
                  <c:v>234.46994585964956</c:v>
                </c:pt>
                <c:pt idx="3984">
                  <c:v>234.52023054743432</c:v>
                </c:pt>
                <c:pt idx="3985">
                  <c:v>234.57052601932969</c:v>
                </c:pt>
                <c:pt idx="3986">
                  <c:v>234.62083227764842</c:v>
                </c:pt>
                <c:pt idx="3987">
                  <c:v>234.67114932470378</c:v>
                </c:pt>
                <c:pt idx="3988">
                  <c:v>234.72147716280952</c:v>
                </c:pt>
                <c:pt idx="3989">
                  <c:v>234.77181579427992</c:v>
                </c:pt>
                <c:pt idx="3990">
                  <c:v>234.82216522142974</c:v>
                </c:pt>
                <c:pt idx="3991">
                  <c:v>234.87252544657423</c:v>
                </c:pt>
                <c:pt idx="3992">
                  <c:v>234.92289647202912</c:v>
                </c:pt>
                <c:pt idx="3993">
                  <c:v>234.97327830011068</c:v>
                </c:pt>
                <c:pt idx="3994">
                  <c:v>235.02367093313563</c:v>
                </c:pt>
                <c:pt idx="3995">
                  <c:v>235.07407437342124</c:v>
                </c:pt>
                <c:pt idx="3996">
                  <c:v>235.12448862328523</c:v>
                </c:pt>
                <c:pt idx="3997">
                  <c:v>235.17491368504582</c:v>
                </c:pt>
                <c:pt idx="3998">
                  <c:v>235.22534956102177</c:v>
                </c:pt>
                <c:pt idx="3999">
                  <c:v>235.27579625353229</c:v>
                </c:pt>
                <c:pt idx="4000">
                  <c:v>235.32625376489713</c:v>
                </c:pt>
                <c:pt idx="4001">
                  <c:v>235.3767220974365</c:v>
                </c:pt>
                <c:pt idx="4002">
                  <c:v>235.42720125347111</c:v>
                </c:pt>
                <c:pt idx="4003">
                  <c:v>235.47769123532217</c:v>
                </c:pt>
                <c:pt idx="4004">
                  <c:v>235.52819204531141</c:v>
                </c:pt>
                <c:pt idx="4005">
                  <c:v>235.57870368576107</c:v>
                </c:pt>
                <c:pt idx="4006">
                  <c:v>235.62922615899384</c:v>
                </c:pt>
                <c:pt idx="4007">
                  <c:v>235.67975946733293</c:v>
                </c:pt>
                <c:pt idx="4008">
                  <c:v>235.73030361310205</c:v>
                </c:pt>
                <c:pt idx="4009">
                  <c:v>235.7808585986254</c:v>
                </c:pt>
                <c:pt idx="4010">
                  <c:v>235.8314244262277</c:v>
                </c:pt>
                <c:pt idx="4011">
                  <c:v>235.88200109823416</c:v>
                </c:pt>
                <c:pt idx="4012">
                  <c:v>235.93258861697046</c:v>
                </c:pt>
                <c:pt idx="4013">
                  <c:v>235.98318698476282</c:v>
                </c:pt>
                <c:pt idx="4014">
                  <c:v>236.03379620393792</c:v>
                </c:pt>
                <c:pt idx="4015">
                  <c:v>236.08441627682299</c:v>
                </c:pt>
                <c:pt idx="4016">
                  <c:v>236.13504720574571</c:v>
                </c:pt>
                <c:pt idx="4017">
                  <c:v>236.18568899303426</c:v>
                </c:pt>
                <c:pt idx="4018">
                  <c:v>236.23634164101736</c:v>
                </c:pt>
                <c:pt idx="4019">
                  <c:v>236.28700515202422</c:v>
                </c:pt>
                <c:pt idx="4020">
                  <c:v>236.33767952838451</c:v>
                </c:pt>
                <c:pt idx="4021">
                  <c:v>236.38836477242845</c:v>
                </c:pt>
                <c:pt idx="4022">
                  <c:v>236.43906088648671</c:v>
                </c:pt>
                <c:pt idx="4023">
                  <c:v>236.4897678728905</c:v>
                </c:pt>
                <c:pt idx="4024">
                  <c:v>236.54048573397151</c:v>
                </c:pt>
                <c:pt idx="4025">
                  <c:v>236.59121447206195</c:v>
                </c:pt>
                <c:pt idx="4026">
                  <c:v>236.6419540894945</c:v>
                </c:pt>
                <c:pt idx="4027">
                  <c:v>236.69270458860237</c:v>
                </c:pt>
                <c:pt idx="4028">
                  <c:v>236.74346597171925</c:v>
                </c:pt>
                <c:pt idx="4029">
                  <c:v>236.79423824117933</c:v>
                </c:pt>
                <c:pt idx="4030">
                  <c:v>236.84502139931729</c:v>
                </c:pt>
                <c:pt idx="4031">
                  <c:v>236.89581544846837</c:v>
                </c:pt>
                <c:pt idx="4032">
                  <c:v>236.94662039096823</c:v>
                </c:pt>
                <c:pt idx="4033">
                  <c:v>236.9974362291531</c:v>
                </c:pt>
                <c:pt idx="4034">
                  <c:v>237.04826296535967</c:v>
                </c:pt>
                <c:pt idx="4035">
                  <c:v>237.09910060192513</c:v>
                </c:pt>
                <c:pt idx="4036">
                  <c:v>237.14994914118719</c:v>
                </c:pt>
                <c:pt idx="4037">
                  <c:v>237.20080858548408</c:v>
                </c:pt>
                <c:pt idx="4038">
                  <c:v>237.25167893715448</c:v>
                </c:pt>
                <c:pt idx="4039">
                  <c:v>237.30256019853761</c:v>
                </c:pt>
                <c:pt idx="4040">
                  <c:v>237.35345237197316</c:v>
                </c:pt>
                <c:pt idx="4041">
                  <c:v>237.40435545980134</c:v>
                </c:pt>
                <c:pt idx="4042">
                  <c:v>237.45526946436289</c:v>
                </c:pt>
                <c:pt idx="4043">
                  <c:v>237.50619438799899</c:v>
                </c:pt>
                <c:pt idx="4044">
                  <c:v>237.5571302330514</c:v>
                </c:pt>
                <c:pt idx="4045">
                  <c:v>237.60807700186231</c:v>
                </c:pt>
                <c:pt idx="4046">
                  <c:v>237.65903469677446</c:v>
                </c:pt>
                <c:pt idx="4047">
                  <c:v>237.71000332013105</c:v>
                </c:pt>
                <c:pt idx="4048">
                  <c:v>237.76098287427581</c:v>
                </c:pt>
                <c:pt idx="4049">
                  <c:v>237.81197336155299</c:v>
                </c:pt>
                <c:pt idx="4050">
                  <c:v>237.86297478430728</c:v>
                </c:pt>
                <c:pt idx="4051">
                  <c:v>231.44270650317327</c:v>
                </c:pt>
                <c:pt idx="4052">
                  <c:v>231.49234196580755</c:v>
                </c:pt>
                <c:pt idx="4053">
                  <c:v>231.54198807331886</c:v>
                </c:pt>
                <c:pt idx="4054">
                  <c:v>231.59164482799011</c:v>
                </c:pt>
                <c:pt idx="4055">
                  <c:v>231.6413122321047</c:v>
                </c:pt>
                <c:pt idx="4056">
                  <c:v>231.69099028794653</c:v>
                </c:pt>
                <c:pt idx="4057">
                  <c:v>231.74067899779999</c:v>
                </c:pt>
                <c:pt idx="4058">
                  <c:v>231.79037836394994</c:v>
                </c:pt>
                <c:pt idx="4059">
                  <c:v>231.84008838868175</c:v>
                </c:pt>
                <c:pt idx="4060">
                  <c:v>231.88980907428126</c:v>
                </c:pt>
                <c:pt idx="4061">
                  <c:v>231.9395404230348</c:v>
                </c:pt>
                <c:pt idx="4062">
                  <c:v>231.98928243722924</c:v>
                </c:pt>
                <c:pt idx="4063">
                  <c:v>232.03903511915186</c:v>
                </c:pt>
                <c:pt idx="4064">
                  <c:v>232.08879847109051</c:v>
                </c:pt>
                <c:pt idx="4065">
                  <c:v>232.13857249533348</c:v>
                </c:pt>
                <c:pt idx="4066">
                  <c:v>232.18835719416955</c:v>
                </c:pt>
                <c:pt idx="4067">
                  <c:v>232.23815256988803</c:v>
                </c:pt>
                <c:pt idx="4068">
                  <c:v>232.28795862477867</c:v>
                </c:pt>
                <c:pt idx="4069">
                  <c:v>232.33777536113175</c:v>
                </c:pt>
                <c:pt idx="4070">
                  <c:v>232.38760278123803</c:v>
                </c:pt>
                <c:pt idx="4071">
                  <c:v>232.43744088738876</c:v>
                </c:pt>
                <c:pt idx="4072">
                  <c:v>232.48728968187567</c:v>
                </c:pt>
                <c:pt idx="4073">
                  <c:v>232.53714916699101</c:v>
                </c:pt>
                <c:pt idx="4074">
                  <c:v>232.5870193450275</c:v>
                </c:pt>
                <c:pt idx="4075">
                  <c:v>232.63690021827833</c:v>
                </c:pt>
                <c:pt idx="4076">
                  <c:v>232.68679178903724</c:v>
                </c:pt>
                <c:pt idx="4077">
                  <c:v>232.73669405959842</c:v>
                </c:pt>
                <c:pt idx="4078">
                  <c:v>232.78660703225657</c:v>
                </c:pt>
                <c:pt idx="4079">
                  <c:v>232.83653070930686</c:v>
                </c:pt>
                <c:pt idx="4080">
                  <c:v>232.88646509304496</c:v>
                </c:pt>
                <c:pt idx="4081">
                  <c:v>232.93641018576704</c:v>
                </c:pt>
                <c:pt idx="4082">
                  <c:v>232.98636598976978</c:v>
                </c:pt>
                <c:pt idx="4083">
                  <c:v>233.03633250735032</c:v>
                </c:pt>
                <c:pt idx="4084">
                  <c:v>233.08630974080631</c:v>
                </c:pt>
                <c:pt idx="4085">
                  <c:v>233.1362976924359</c:v>
                </c:pt>
                <c:pt idx="4086">
                  <c:v>233.1862963645377</c:v>
                </c:pt>
                <c:pt idx="4087">
                  <c:v>233.23630575941084</c:v>
                </c:pt>
                <c:pt idx="4088">
                  <c:v>233.28632587935493</c:v>
                </c:pt>
                <c:pt idx="4089">
                  <c:v>233.33635672667012</c:v>
                </c:pt>
                <c:pt idx="4090">
                  <c:v>233.38639830365696</c:v>
                </c:pt>
                <c:pt idx="4091">
                  <c:v>233.4364506126166</c:v>
                </c:pt>
                <c:pt idx="4092">
                  <c:v>233.48651365585059</c:v>
                </c:pt>
                <c:pt idx="4093">
                  <c:v>233.53658743566103</c:v>
                </c:pt>
                <c:pt idx="4094">
                  <c:v>233.58667195435049</c:v>
                </c:pt>
                <c:pt idx="4095">
                  <c:v>233.63676721422206</c:v>
                </c:pt>
                <c:pt idx="4096">
                  <c:v>233.68687321757929</c:v>
                </c:pt>
                <c:pt idx="4097">
                  <c:v>233.73698996672624</c:v>
                </c:pt>
                <c:pt idx="4098">
                  <c:v>233.78711746396746</c:v>
                </c:pt>
                <c:pt idx="4099">
                  <c:v>233.83725571160801</c:v>
                </c:pt>
                <c:pt idx="4100">
                  <c:v>233.88740471195342</c:v>
                </c:pt>
                <c:pt idx="4101">
                  <c:v>233.93756446730976</c:v>
                </c:pt>
                <c:pt idx="4102">
                  <c:v>233.98773497998351</c:v>
                </c:pt>
                <c:pt idx="4103">
                  <c:v>234.03791625228175</c:v>
                </c:pt>
                <c:pt idx="4104">
                  <c:v>234.08810828651198</c:v>
                </c:pt>
                <c:pt idx="4105">
                  <c:v>234.13831108498221</c:v>
                </c:pt>
                <c:pt idx="4106">
                  <c:v>234.18852465000094</c:v>
                </c:pt>
                <c:pt idx="4107">
                  <c:v>234.2387489838772</c:v>
                </c:pt>
                <c:pt idx="4108">
                  <c:v>234.28898408892047</c:v>
                </c:pt>
                <c:pt idx="4109">
                  <c:v>234.33922996744076</c:v>
                </c:pt>
                <c:pt idx="4110">
                  <c:v>234.38948662174857</c:v>
                </c:pt>
                <c:pt idx="4111">
                  <c:v>234.43975405415489</c:v>
                </c:pt>
                <c:pt idx="4112">
                  <c:v>234.49003226697118</c:v>
                </c:pt>
                <c:pt idx="4113">
                  <c:v>234.54032126250942</c:v>
                </c:pt>
                <c:pt idx="4114">
                  <c:v>234.59062104308211</c:v>
                </c:pt>
                <c:pt idx="4115">
                  <c:v>234.64093161100217</c:v>
                </c:pt>
                <c:pt idx="4116">
                  <c:v>234.69125296858311</c:v>
                </c:pt>
                <c:pt idx="4117">
                  <c:v>234.74158511813889</c:v>
                </c:pt>
                <c:pt idx="4118">
                  <c:v>234.79192806198395</c:v>
                </c:pt>
                <c:pt idx="4119">
                  <c:v>234.84228180243326</c:v>
                </c:pt>
                <c:pt idx="4120">
                  <c:v>234.89264634180228</c:v>
                </c:pt>
                <c:pt idx="4121">
                  <c:v>234.94302168240694</c:v>
                </c:pt>
                <c:pt idx="4122">
                  <c:v>234.9934078265637</c:v>
                </c:pt>
                <c:pt idx="4123">
                  <c:v>235.0438047765895</c:v>
                </c:pt>
                <c:pt idx="4124">
                  <c:v>235.09421253480176</c:v>
                </c:pt>
                <c:pt idx="4125">
                  <c:v>235.14463110351844</c:v>
                </c:pt>
                <c:pt idx="4126">
                  <c:v>235.19506048505795</c:v>
                </c:pt>
                <c:pt idx="4127">
                  <c:v>235.24550068173926</c:v>
                </c:pt>
                <c:pt idx="4128">
                  <c:v>235.29595169588174</c:v>
                </c:pt>
                <c:pt idx="4129">
                  <c:v>235.34641352980535</c:v>
                </c:pt>
                <c:pt idx="4130">
                  <c:v>235.39688618583051</c:v>
                </c:pt>
                <c:pt idx="4131">
                  <c:v>235.44736966627815</c:v>
                </c:pt>
                <c:pt idx="4132">
                  <c:v>235.49786397346966</c:v>
                </c:pt>
                <c:pt idx="4133">
                  <c:v>235.54836910972699</c:v>
                </c:pt>
                <c:pt idx="4134">
                  <c:v>235.59888507737253</c:v>
                </c:pt>
                <c:pt idx="4135">
                  <c:v>235.64941187872918</c:v>
                </c:pt>
                <c:pt idx="4136">
                  <c:v>235.69994951612037</c:v>
                </c:pt>
                <c:pt idx="4137">
                  <c:v>235.75049799187002</c:v>
                </c:pt>
                <c:pt idx="4138">
                  <c:v>235.80105730830252</c:v>
                </c:pt>
                <c:pt idx="4139">
                  <c:v>235.85162746774276</c:v>
                </c:pt>
                <c:pt idx="4140">
                  <c:v>235.90220847251618</c:v>
                </c:pt>
                <c:pt idx="4141">
                  <c:v>235.95280032494864</c:v>
                </c:pt>
                <c:pt idx="4142">
                  <c:v>236.00340302736657</c:v>
                </c:pt>
                <c:pt idx="4143">
                  <c:v>236.05401658209686</c:v>
                </c:pt>
                <c:pt idx="4144">
                  <c:v>236.10464099146691</c:v>
                </c:pt>
                <c:pt idx="4145">
                  <c:v>236.15527625780462</c:v>
                </c:pt>
                <c:pt idx="4146">
                  <c:v>236.20592238343838</c:v>
                </c:pt>
                <c:pt idx="4147">
                  <c:v>236.2565793706971</c:v>
                </c:pt>
                <c:pt idx="4148">
                  <c:v>236.30724722191019</c:v>
                </c:pt>
                <c:pt idx="4149">
                  <c:v>236.35792593940752</c:v>
                </c:pt>
                <c:pt idx="4150">
                  <c:v>236.40861552551948</c:v>
                </c:pt>
                <c:pt idx="4151">
                  <c:v>236.45931598257698</c:v>
                </c:pt>
                <c:pt idx="4152">
                  <c:v>236.5100273129114</c:v>
                </c:pt>
                <c:pt idx="4153">
                  <c:v>236.56074951885466</c:v>
                </c:pt>
                <c:pt idx="4154">
                  <c:v>236.61148260273916</c:v>
                </c:pt>
                <c:pt idx="4155">
                  <c:v>236.66222656689777</c:v>
                </c:pt>
                <c:pt idx="4156">
                  <c:v>236.7129814136639</c:v>
                </c:pt>
                <c:pt idx="4157">
                  <c:v>236.76374714537144</c:v>
                </c:pt>
                <c:pt idx="4158">
                  <c:v>236.81452376435479</c:v>
                </c:pt>
                <c:pt idx="4159">
                  <c:v>236.86531127294884</c:v>
                </c:pt>
                <c:pt idx="4160">
                  <c:v>236.91610967348899</c:v>
                </c:pt>
                <c:pt idx="4161">
                  <c:v>236.96691896831115</c:v>
                </c:pt>
                <c:pt idx="4162">
                  <c:v>237.0177391597517</c:v>
                </c:pt>
                <c:pt idx="4163">
                  <c:v>237.06857025014756</c:v>
                </c:pt>
                <c:pt idx="4164">
                  <c:v>237.1194122418361</c:v>
                </c:pt>
                <c:pt idx="4165">
                  <c:v>237.17026513715527</c:v>
                </c:pt>
                <c:pt idx="4166">
                  <c:v>237.22112893844346</c:v>
                </c:pt>
                <c:pt idx="4167">
                  <c:v>237.27200364803954</c:v>
                </c:pt>
                <c:pt idx="4168">
                  <c:v>237.32288926828298</c:v>
                </c:pt>
                <c:pt idx="4169">
                  <c:v>237.37378580151363</c:v>
                </c:pt>
                <c:pt idx="4170">
                  <c:v>237.42469325007195</c:v>
                </c:pt>
                <c:pt idx="4171">
                  <c:v>237.47561161629883</c:v>
                </c:pt>
                <c:pt idx="4172">
                  <c:v>237.52654090253569</c:v>
                </c:pt>
                <c:pt idx="4173">
                  <c:v>237.57748111112443</c:v>
                </c:pt>
                <c:pt idx="4174">
                  <c:v>237.62843224440749</c:v>
                </c:pt>
                <c:pt idx="4175">
                  <c:v>237.67939430472779</c:v>
                </c:pt>
                <c:pt idx="4176">
                  <c:v>237.73036729442876</c:v>
                </c:pt>
                <c:pt idx="4177">
                  <c:v>237.7813512158543</c:v>
                </c:pt>
                <c:pt idx="4178">
                  <c:v>237.83234607134887</c:v>
                </c:pt>
                <c:pt idx="4179">
                  <c:v>237.88335186325739</c:v>
                </c:pt>
                <c:pt idx="4180">
                  <c:v>237.93436859392529</c:v>
                </c:pt>
                <c:pt idx="4181">
                  <c:v>237.98539626569851</c:v>
                </c:pt>
                <c:pt idx="4182">
                  <c:v>238.03643488092351</c:v>
                </c:pt>
                <c:pt idx="4183">
                  <c:v>238.08748444194723</c:v>
                </c:pt>
                <c:pt idx="4184">
                  <c:v>238.1385449511171</c:v>
                </c:pt>
                <c:pt idx="4185">
                  <c:v>238.1896164107811</c:v>
                </c:pt>
                <c:pt idx="4186">
                  <c:v>238.24069882328766</c:v>
                </c:pt>
                <c:pt idx="4187">
                  <c:v>238.29179219098575</c:v>
                </c:pt>
                <c:pt idx="4188">
                  <c:v>238.34289651622481</c:v>
                </c:pt>
                <c:pt idx="4189">
                  <c:v>238.39401180135485</c:v>
                </c:pt>
                <c:pt idx="4190">
                  <c:v>238.44513804872631</c:v>
                </c:pt>
                <c:pt idx="4191">
                  <c:v>238.49627526069017</c:v>
                </c:pt>
                <c:pt idx="4192">
                  <c:v>238.54742343959791</c:v>
                </c:pt>
                <c:pt idx="4193">
                  <c:v>238.5985825878015</c:v>
                </c:pt>
                <c:pt idx="4194">
                  <c:v>238.64975270765345</c:v>
                </c:pt>
                <c:pt idx="4195">
                  <c:v>238.70093380150675</c:v>
                </c:pt>
                <c:pt idx="4196">
                  <c:v>238.75212587171487</c:v>
                </c:pt>
                <c:pt idx="4197">
                  <c:v>238.80332892063183</c:v>
                </c:pt>
                <c:pt idx="4198">
                  <c:v>238.85454295061214</c:v>
                </c:pt>
                <c:pt idx="4199">
                  <c:v>238.90576796401081</c:v>
                </c:pt>
                <c:pt idx="4200">
                  <c:v>238.95700396318335</c:v>
                </c:pt>
                <c:pt idx="4201">
                  <c:v>239.0082509504858</c:v>
                </c:pt>
                <c:pt idx="4202">
                  <c:v>239.05950892827468</c:v>
                </c:pt>
                <c:pt idx="4203">
                  <c:v>239.110777898907</c:v>
                </c:pt>
                <c:pt idx="4204">
                  <c:v>239.16205786474032</c:v>
                </c:pt>
                <c:pt idx="4205">
                  <c:v>239.21334882813267</c:v>
                </c:pt>
                <c:pt idx="4206">
                  <c:v>239.26465079144259</c:v>
                </c:pt>
                <c:pt idx="4207">
                  <c:v>239.31596375702915</c:v>
                </c:pt>
                <c:pt idx="4208">
                  <c:v>239.36728772725192</c:v>
                </c:pt>
                <c:pt idx="4209">
                  <c:v>239.41862270447095</c:v>
                </c:pt>
                <c:pt idx="4210">
                  <c:v>239.46996869104683</c:v>
                </c:pt>
                <c:pt idx="4211">
                  <c:v>239.52132568934061</c:v>
                </c:pt>
                <c:pt idx="4212">
                  <c:v>239.57269370171392</c:v>
                </c:pt>
                <c:pt idx="4213">
                  <c:v>239.62407273052881</c:v>
                </c:pt>
                <c:pt idx="4214">
                  <c:v>239.6754627781479</c:v>
                </c:pt>
                <c:pt idx="4215">
                  <c:v>239.72686384693429</c:v>
                </c:pt>
                <c:pt idx="4216">
                  <c:v>239.77827593925159</c:v>
                </c:pt>
                <c:pt idx="4217">
                  <c:v>239.8296990574639</c:v>
                </c:pt>
                <c:pt idx="4218">
                  <c:v>239.88113320393589</c:v>
                </c:pt>
                <c:pt idx="4219">
                  <c:v>239.93257838103264</c:v>
                </c:pt>
                <c:pt idx="4220">
                  <c:v>239.98403459111984</c:v>
                </c:pt>
                <c:pt idx="4221">
                  <c:v>240.03550183656361</c:v>
                </c:pt>
                <c:pt idx="4222">
                  <c:v>240.08698011973061</c:v>
                </c:pt>
                <c:pt idx="4223">
                  <c:v>240.138469442988</c:v>
                </c:pt>
                <c:pt idx="4224">
                  <c:v>240.18996980870347</c:v>
                </c:pt>
                <c:pt idx="4225">
                  <c:v>240.24148121924517</c:v>
                </c:pt>
                <c:pt idx="4226">
                  <c:v>240.29300367698181</c:v>
                </c:pt>
                <c:pt idx="4227">
                  <c:v>240.34453718428256</c:v>
                </c:pt>
                <c:pt idx="4228">
                  <c:v>240.39608174351713</c:v>
                </c:pt>
                <c:pt idx="4229">
                  <c:v>240.44763735705573</c:v>
                </c:pt>
                <c:pt idx="4230">
                  <c:v>240.49920402726909</c:v>
                </c:pt>
                <c:pt idx="4231">
                  <c:v>240.55078175652841</c:v>
                </c:pt>
                <c:pt idx="4232">
                  <c:v>240.60237054720545</c:v>
                </c:pt>
                <c:pt idx="4233">
                  <c:v>240.65397040167247</c:v>
                </c:pt>
                <c:pt idx="4234">
                  <c:v>240.70558132230218</c:v>
                </c:pt>
                <c:pt idx="4235">
                  <c:v>240.75720331146786</c:v>
                </c:pt>
                <c:pt idx="4236">
                  <c:v>240.80883637154329</c:v>
                </c:pt>
                <c:pt idx="4237">
                  <c:v>240.86048050490274</c:v>
                </c:pt>
                <c:pt idx="4238">
                  <c:v>240.912135713921</c:v>
                </c:pt>
                <c:pt idx="4239">
                  <c:v>240.96380200097337</c:v>
                </c:pt>
                <c:pt idx="4240">
                  <c:v>241.01547936843565</c:v>
                </c:pt>
                <c:pt idx="4241">
                  <c:v>241.06716781868417</c:v>
                </c:pt>
                <c:pt idx="4242">
                  <c:v>241.11886735409576</c:v>
                </c:pt>
                <c:pt idx="4243">
                  <c:v>241.17057797704774</c:v>
                </c:pt>
                <c:pt idx="4244">
                  <c:v>241.22229968991797</c:v>
                </c:pt>
                <c:pt idx="4245">
                  <c:v>241.27403249508481</c:v>
                </c:pt>
                <c:pt idx="4246">
                  <c:v>241.32577639492712</c:v>
                </c:pt>
                <c:pt idx="4247">
                  <c:v>241.37753139182425</c:v>
                </c:pt>
                <c:pt idx="4248">
                  <c:v>241.42929748815612</c:v>
                </c:pt>
                <c:pt idx="4249">
                  <c:v>241.48107468630312</c:v>
                </c:pt>
                <c:pt idx="4250">
                  <c:v>241.53286298864614</c:v>
                </c:pt>
                <c:pt idx="4251">
                  <c:v>241.58466239756663</c:v>
                </c:pt>
                <c:pt idx="4252">
                  <c:v>241.63647291544649</c:v>
                </c:pt>
                <c:pt idx="4253">
                  <c:v>241.68829454466817</c:v>
                </c:pt>
                <c:pt idx="4254">
                  <c:v>241.74012728761463</c:v>
                </c:pt>
                <c:pt idx="4255">
                  <c:v>241.79197114666931</c:v>
                </c:pt>
                <c:pt idx="4256">
                  <c:v>241.84382612421621</c:v>
                </c:pt>
                <c:pt idx="4257">
                  <c:v>241.89569222263981</c:v>
                </c:pt>
                <c:pt idx="4258">
                  <c:v>241.9475694443251</c:v>
                </c:pt>
                <c:pt idx="4259">
                  <c:v>241.99945779165759</c:v>
                </c:pt>
                <c:pt idx="4260">
                  <c:v>242.05135726702329</c:v>
                </c:pt>
                <c:pt idx="4261">
                  <c:v>242.10326787280874</c:v>
                </c:pt>
                <c:pt idx="4262">
                  <c:v>242.15518961140097</c:v>
                </c:pt>
                <c:pt idx="4263">
                  <c:v>242.20712248518754</c:v>
                </c:pt>
                <c:pt idx="4264">
                  <c:v>242.25906649655653</c:v>
                </c:pt>
                <c:pt idx="4265">
                  <c:v>242.3110216478965</c:v>
                </c:pt>
                <c:pt idx="4266">
                  <c:v>242.36298794159654</c:v>
                </c:pt>
                <c:pt idx="4267">
                  <c:v>242.41496538004625</c:v>
                </c:pt>
                <c:pt idx="4268">
                  <c:v>242.46695396563578</c:v>
                </c:pt>
                <c:pt idx="4269">
                  <c:v>242.51895370075573</c:v>
                </c:pt>
                <c:pt idx="4270">
                  <c:v>242.57096458779722</c:v>
                </c:pt>
                <c:pt idx="4271">
                  <c:v>242.62298662915194</c:v>
                </c:pt>
                <c:pt idx="4272">
                  <c:v>242.67501982721205</c:v>
                </c:pt>
                <c:pt idx="4273">
                  <c:v>242.72706418437022</c:v>
                </c:pt>
                <c:pt idx="4274">
                  <c:v>242.77911970301966</c:v>
                </c:pt>
                <c:pt idx="4275">
                  <c:v>242.83118638555405</c:v>
                </c:pt>
                <c:pt idx="4276">
                  <c:v>242.88326423436763</c:v>
                </c:pt>
                <c:pt idx="4277">
                  <c:v>242.9353532518551</c:v>
                </c:pt>
                <c:pt idx="4278">
                  <c:v>242.98745344041174</c:v>
                </c:pt>
                <c:pt idx="4279">
                  <c:v>243.03956480243332</c:v>
                </c:pt>
                <c:pt idx="4280">
                  <c:v>243.09168734031607</c:v>
                </c:pt>
                <c:pt idx="4281">
                  <c:v>243.14382105645683</c:v>
                </c:pt>
                <c:pt idx="4282">
                  <c:v>243.19596595325285</c:v>
                </c:pt>
                <c:pt idx="4283">
                  <c:v>243.24812203310199</c:v>
                </c:pt>
                <c:pt idx="4284">
                  <c:v>243.30028929840256</c:v>
                </c:pt>
                <c:pt idx="4285">
                  <c:v>243.35246775155341</c:v>
                </c:pt>
                <c:pt idx="4286">
                  <c:v>243.40465739495389</c:v>
                </c:pt>
                <c:pt idx="4287">
                  <c:v>243.45685823100385</c:v>
                </c:pt>
                <c:pt idx="4288">
                  <c:v>243.50907026210373</c:v>
                </c:pt>
                <c:pt idx="4289">
                  <c:v>243.56129349065441</c:v>
                </c:pt>
                <c:pt idx="4290">
                  <c:v>243.6135279190573</c:v>
                </c:pt>
                <c:pt idx="4291">
                  <c:v>243.66577354971434</c:v>
                </c:pt>
                <c:pt idx="4292">
                  <c:v>243.71803038502799</c:v>
                </c:pt>
                <c:pt idx="4293">
                  <c:v>243.77029842740117</c:v>
                </c:pt>
                <c:pt idx="4294">
                  <c:v>243.82257767923741</c:v>
                </c:pt>
                <c:pt idx="4295">
                  <c:v>243.87486814294067</c:v>
                </c:pt>
                <c:pt idx="4296">
                  <c:v>243.92716982091548</c:v>
                </c:pt>
                <c:pt idx="4297">
                  <c:v>243.97948271556686</c:v>
                </c:pt>
                <c:pt idx="4298">
                  <c:v>244.03180682930034</c:v>
                </c:pt>
                <c:pt idx="4299">
                  <c:v>244.08414216452198</c:v>
                </c:pt>
                <c:pt idx="4300">
                  <c:v>244.13648872363837</c:v>
                </c:pt>
                <c:pt idx="4301">
                  <c:v>244.18884650905659</c:v>
                </c:pt>
                <c:pt idx="4302">
                  <c:v>244.24121552318425</c:v>
                </c:pt>
                <c:pt idx="4303">
                  <c:v>244.29359576842947</c:v>
                </c:pt>
                <c:pt idx="4304">
                  <c:v>244.34598724720087</c:v>
                </c:pt>
                <c:pt idx="4305">
                  <c:v>244.39838996190761</c:v>
                </c:pt>
                <c:pt idx="4306">
                  <c:v>244.45080391495938</c:v>
                </c:pt>
                <c:pt idx="4307">
                  <c:v>244.50322910876636</c:v>
                </c:pt>
                <c:pt idx="4308">
                  <c:v>244.55566554573923</c:v>
                </c:pt>
                <c:pt idx="4309">
                  <c:v>244.60811322828926</c:v>
                </c:pt>
                <c:pt idx="4310">
                  <c:v>244.66057215882813</c:v>
                </c:pt>
                <c:pt idx="4311">
                  <c:v>244.71304233976815</c:v>
                </c:pt>
                <c:pt idx="4312">
                  <c:v>244.76552377352206</c:v>
                </c:pt>
                <c:pt idx="4313">
                  <c:v>244.81801646250318</c:v>
                </c:pt>
                <c:pt idx="4314">
                  <c:v>244.87052040912531</c:v>
                </c:pt>
                <c:pt idx="4315">
                  <c:v>244.92303561580275</c:v>
                </c:pt>
                <c:pt idx="4316">
                  <c:v>244.97556208495035</c:v>
                </c:pt>
                <c:pt idx="4317">
                  <c:v>245.02809981898352</c:v>
                </c:pt>
                <c:pt idx="4318">
                  <c:v>245.08064882031809</c:v>
                </c:pt>
                <c:pt idx="4319">
                  <c:v>245.13320909137047</c:v>
                </c:pt>
                <c:pt idx="4320">
                  <c:v>245.18578063455757</c:v>
                </c:pt>
                <c:pt idx="4321">
                  <c:v>245.23836345229685</c:v>
                </c:pt>
                <c:pt idx="4322">
                  <c:v>245.29095754700626</c:v>
                </c:pt>
                <c:pt idx="4323">
                  <c:v>245.34356292110425</c:v>
                </c:pt>
                <c:pt idx="4324">
                  <c:v>245.3961795770098</c:v>
                </c:pt>
                <c:pt idx="4325">
                  <c:v>245.44880751714246</c:v>
                </c:pt>
                <c:pt idx="4326">
                  <c:v>245.50144674392223</c:v>
                </c:pt>
                <c:pt idx="4327">
                  <c:v>245.55409725976966</c:v>
                </c:pt>
                <c:pt idx="4328">
                  <c:v>245.60675906710583</c:v>
                </c:pt>
                <c:pt idx="4329">
                  <c:v>245.65943216835231</c:v>
                </c:pt>
                <c:pt idx="4330">
                  <c:v>245.71211656593121</c:v>
                </c:pt>
                <c:pt idx="4331">
                  <c:v>245.76481226226514</c:v>
                </c:pt>
                <c:pt idx="4332">
                  <c:v>245.81751925977727</c:v>
                </c:pt>
                <c:pt idx="4333">
                  <c:v>245.87023756089124</c:v>
                </c:pt>
                <c:pt idx="4334">
                  <c:v>245.92296716803125</c:v>
                </c:pt>
                <c:pt idx="4335">
                  <c:v>245.97570808362201</c:v>
                </c:pt>
                <c:pt idx="4336">
                  <c:v>246.02846031008872</c:v>
                </c:pt>
                <c:pt idx="4337">
                  <c:v>246.08122384985714</c:v>
                </c:pt>
                <c:pt idx="4338">
                  <c:v>246.13399870535352</c:v>
                </c:pt>
                <c:pt idx="4339">
                  <c:v>246.18678487900465</c:v>
                </c:pt>
                <c:pt idx="4340">
                  <c:v>246.23958237323782</c:v>
                </c:pt>
                <c:pt idx="4341">
                  <c:v>246.29239119048088</c:v>
                </c:pt>
                <c:pt idx="4342">
                  <c:v>246.34521133316218</c:v>
                </c:pt>
                <c:pt idx="4343">
                  <c:v>246.39804280371055</c:v>
                </c:pt>
                <c:pt idx="4344">
                  <c:v>246.4508856045554</c:v>
                </c:pt>
                <c:pt idx="4345">
                  <c:v>246.50373973812663</c:v>
                </c:pt>
                <c:pt idx="4346">
                  <c:v>246.55660520685467</c:v>
                </c:pt>
                <c:pt idx="4347">
                  <c:v>246.60948201317049</c:v>
                </c:pt>
                <c:pt idx="4348">
                  <c:v>246.66237015950554</c:v>
                </c:pt>
                <c:pt idx="4349">
                  <c:v>246.71526964829184</c:v>
                </c:pt>
                <c:pt idx="4350">
                  <c:v>246.76818048196188</c:v>
                </c:pt>
                <c:pt idx="4351">
                  <c:v>246.8211026629487</c:v>
                </c:pt>
                <c:pt idx="4352">
                  <c:v>246.87403619368587</c:v>
                </c:pt>
                <c:pt idx="4353">
                  <c:v>246.92698107660743</c:v>
                </c:pt>
                <c:pt idx="4354">
                  <c:v>246.97993731414803</c:v>
                </c:pt>
                <c:pt idx="4355">
                  <c:v>247.03290490874278</c:v>
                </c:pt>
                <c:pt idx="4356">
                  <c:v>247.08588386282733</c:v>
                </c:pt>
                <c:pt idx="4357">
                  <c:v>247.13887417883782</c:v>
                </c:pt>
                <c:pt idx="4358">
                  <c:v>247.19187585921097</c:v>
                </c:pt>
                <c:pt idx="4359">
                  <c:v>247.24488890638401</c:v>
                </c:pt>
                <c:pt idx="4360">
                  <c:v>247.29791332279464</c:v>
                </c:pt>
                <c:pt idx="4361">
                  <c:v>247.35094911088115</c:v>
                </c:pt>
                <c:pt idx="4362">
                  <c:v>247.4039962730823</c:v>
                </c:pt>
                <c:pt idx="4363">
                  <c:v>247.45705481183739</c:v>
                </c:pt>
                <c:pt idx="4364">
                  <c:v>247.51012472958627</c:v>
                </c:pt>
                <c:pt idx="4365">
                  <c:v>247.56320602876926</c:v>
                </c:pt>
                <c:pt idx="4366">
                  <c:v>247.61629871182728</c:v>
                </c:pt>
                <c:pt idx="4367">
                  <c:v>247.66940278120171</c:v>
                </c:pt>
                <c:pt idx="4368">
                  <c:v>247.72251823933445</c:v>
                </c:pt>
                <c:pt idx="4369">
                  <c:v>247.77564508866797</c:v>
                </c:pt>
                <c:pt idx="4370">
                  <c:v>247.82878333164524</c:v>
                </c:pt>
                <c:pt idx="4371">
                  <c:v>247.88193297070976</c:v>
                </c:pt>
                <c:pt idx="4372">
                  <c:v>247.9350940083055</c:v>
                </c:pt>
                <c:pt idx="4373">
                  <c:v>247.98826644687705</c:v>
                </c:pt>
                <c:pt idx="4374">
                  <c:v>248.04145028886947</c:v>
                </c:pt>
                <c:pt idx="4375">
                  <c:v>248.09464553672834</c:v>
                </c:pt>
                <c:pt idx="4376">
                  <c:v>248.14785219289976</c:v>
                </c:pt>
                <c:pt idx="4377">
                  <c:v>248.2010702598304</c:v>
                </c:pt>
                <c:pt idx="4378">
                  <c:v>248.25429973996742</c:v>
                </c:pt>
                <c:pt idx="4379">
                  <c:v>248.3075406357585</c:v>
                </c:pt>
                <c:pt idx="4380">
                  <c:v>248.36079294965185</c:v>
                </c:pt>
                <c:pt idx="4381">
                  <c:v>248.41405668409621</c:v>
                </c:pt>
                <c:pt idx="4382">
                  <c:v>248.46733184154084</c:v>
                </c:pt>
                <c:pt idx="4383">
                  <c:v>248.52061842443555</c:v>
                </c:pt>
                <c:pt idx="4384">
                  <c:v>248.57391643523064</c:v>
                </c:pt>
                <c:pt idx="4385">
                  <c:v>248.62722587637697</c:v>
                </c:pt>
                <c:pt idx="4386">
                  <c:v>248.68054675032587</c:v>
                </c:pt>
                <c:pt idx="4387">
                  <c:v>248.73387905952927</c:v>
                </c:pt>
                <c:pt idx="4388">
                  <c:v>248.78722280643956</c:v>
                </c:pt>
                <c:pt idx="4389">
                  <c:v>248.8405779935097</c:v>
                </c:pt>
                <c:pt idx="4390">
                  <c:v>248.89394462319314</c:v>
                </c:pt>
                <c:pt idx="4391">
                  <c:v>248.94732269794389</c:v>
                </c:pt>
                <c:pt idx="4392">
                  <c:v>249.00071222021646</c:v>
                </c:pt>
                <c:pt idx="4393">
                  <c:v>249.05411319246591</c:v>
                </c:pt>
                <c:pt idx="4394">
                  <c:v>249.10752561714781</c:v>
                </c:pt>
                <c:pt idx="4395">
                  <c:v>249.16094949671827</c:v>
                </c:pt>
                <c:pt idx="4396">
                  <c:v>249.21438483363391</c:v>
                </c:pt>
                <c:pt idx="4397">
                  <c:v>249.26783163035188</c:v>
                </c:pt>
                <c:pt idx="4398">
                  <c:v>249.32128988932988</c:v>
                </c:pt>
                <c:pt idx="4399">
                  <c:v>249.3747596130261</c:v>
                </c:pt>
                <c:pt idx="4400">
                  <c:v>249.42824080389929</c:v>
                </c:pt>
                <c:pt idx="4401">
                  <c:v>249.48173346440871</c:v>
                </c:pt>
                <c:pt idx="4402">
                  <c:v>249.53523759701415</c:v>
                </c:pt>
                <c:pt idx="4403">
                  <c:v>249.5887532041759</c:v>
                </c:pt>
                <c:pt idx="4404">
                  <c:v>249.64228028835487</c:v>
                </c:pt>
                <c:pt idx="4405">
                  <c:v>249.69581885201239</c:v>
                </c:pt>
                <c:pt idx="4406">
                  <c:v>249.74936889761037</c:v>
                </c:pt>
                <c:pt idx="4407">
                  <c:v>249.80293042761122</c:v>
                </c:pt>
                <c:pt idx="4408">
                  <c:v>249.85650344447794</c:v>
                </c:pt>
                <c:pt idx="4409">
                  <c:v>249.91008795067398</c:v>
                </c:pt>
                <c:pt idx="4410">
                  <c:v>249.96368394866337</c:v>
                </c:pt>
                <c:pt idx="4411">
                  <c:v>250.01729144091067</c:v>
                </c:pt>
                <c:pt idx="4412">
                  <c:v>250.07091042988091</c:v>
                </c:pt>
                <c:pt idx="4413">
                  <c:v>250.12454091803971</c:v>
                </c:pt>
                <c:pt idx="4414">
                  <c:v>250.1781829078532</c:v>
                </c:pt>
                <c:pt idx="4415">
                  <c:v>250.23183640178806</c:v>
                </c:pt>
                <c:pt idx="4416">
                  <c:v>250.28550140231144</c:v>
                </c:pt>
                <c:pt idx="4417">
                  <c:v>250.33917791189108</c:v>
                </c:pt>
                <c:pt idx="4418">
                  <c:v>250.39286593299522</c:v>
                </c:pt>
                <c:pt idx="4419">
                  <c:v>250.44656546809261</c:v>
                </c:pt>
                <c:pt idx="4420">
                  <c:v>250.5002765196526</c:v>
                </c:pt>
                <c:pt idx="4421">
                  <c:v>250.553999090145</c:v>
                </c:pt>
                <c:pt idx="4422">
                  <c:v>250.60773318204016</c:v>
                </c:pt>
                <c:pt idx="4423">
                  <c:v>250.661478797809</c:v>
                </c:pt>
                <c:pt idx="4424">
                  <c:v>250.71523593992291</c:v>
                </c:pt>
                <c:pt idx="4425">
                  <c:v>250.76900461085387</c:v>
                </c:pt>
                <c:pt idx="4426">
                  <c:v>250.82278481307435</c:v>
                </c:pt>
                <c:pt idx="4427">
                  <c:v>250.87657654905738</c:v>
                </c:pt>
                <c:pt idx="4428">
                  <c:v>250.93037982127646</c:v>
                </c:pt>
                <c:pt idx="4429">
                  <c:v>250.98419463220571</c:v>
                </c:pt>
                <c:pt idx="4430">
                  <c:v>251.03802098431973</c:v>
                </c:pt>
                <c:pt idx="4431">
                  <c:v>251.09185888009364</c:v>
                </c:pt>
                <c:pt idx="4432">
                  <c:v>251.14570832200312</c:v>
                </c:pt>
                <c:pt idx="4433">
                  <c:v>251.19956931252435</c:v>
                </c:pt>
                <c:pt idx="4434">
                  <c:v>251.25344185413405</c:v>
                </c:pt>
                <c:pt idx="4435">
                  <c:v>251.3073259493095</c:v>
                </c:pt>
                <c:pt idx="4436">
                  <c:v>251.36122160052849</c:v>
                </c:pt>
                <c:pt idx="4437">
                  <c:v>251.41512881026935</c:v>
                </c:pt>
                <c:pt idx="4438">
                  <c:v>251.46904758101093</c:v>
                </c:pt>
                <c:pt idx="4439">
                  <c:v>251.52297791523259</c:v>
                </c:pt>
                <c:pt idx="4440">
                  <c:v>251.57691981541427</c:v>
                </c:pt>
                <c:pt idx="4441">
                  <c:v>246.62041717662771</c:v>
                </c:pt>
                <c:pt idx="4442">
                  <c:v>246.67330766813021</c:v>
                </c:pt>
                <c:pt idx="4443">
                  <c:v>246.72620950258687</c:v>
                </c:pt>
                <c:pt idx="4444">
                  <c:v>246.77912268243034</c:v>
                </c:pt>
                <c:pt idx="4445">
                  <c:v>246.83204721009375</c:v>
                </c:pt>
                <c:pt idx="4446">
                  <c:v>246.88498308801078</c:v>
                </c:pt>
                <c:pt idx="4447">
                  <c:v>246.9379303186156</c:v>
                </c:pt>
                <c:pt idx="4448">
                  <c:v>246.99088890434294</c:v>
                </c:pt>
                <c:pt idx="4449">
                  <c:v>247.043858847628</c:v>
                </c:pt>
                <c:pt idx="4450">
                  <c:v>247.09684015090656</c:v>
                </c:pt>
                <c:pt idx="4451">
                  <c:v>247.14983281661489</c:v>
                </c:pt>
                <c:pt idx="4452">
                  <c:v>247.20283684718981</c:v>
                </c:pt>
                <c:pt idx="4453">
                  <c:v>247.25585224506864</c:v>
                </c:pt>
                <c:pt idx="4454">
                  <c:v>247.30887901268918</c:v>
                </c:pt>
                <c:pt idx="4455">
                  <c:v>247.36191715248984</c:v>
                </c:pt>
                <c:pt idx="4456">
                  <c:v>247.41496666690949</c:v>
                </c:pt>
                <c:pt idx="4457">
                  <c:v>247.46802755838755</c:v>
                </c:pt>
                <c:pt idx="4458">
                  <c:v>247.52109982936395</c:v>
                </c:pt>
                <c:pt idx="4459">
                  <c:v>247.57418348227918</c:v>
                </c:pt>
                <c:pt idx="4460">
                  <c:v>247.62727851957419</c:v>
                </c:pt>
                <c:pt idx="4461">
                  <c:v>247.68038494369051</c:v>
                </c:pt>
                <c:pt idx="4462">
                  <c:v>247.73350275707014</c:v>
                </c:pt>
                <c:pt idx="4463">
                  <c:v>247.78663196215567</c:v>
                </c:pt>
                <c:pt idx="4464">
                  <c:v>247.83977256139016</c:v>
                </c:pt>
                <c:pt idx="4465">
                  <c:v>247.89292455721721</c:v>
                </c:pt>
                <c:pt idx="4466">
                  <c:v>247.94608795208094</c:v>
                </c:pt>
                <c:pt idx="4467">
                  <c:v>247.99926274842602</c:v>
                </c:pt>
                <c:pt idx="4468">
                  <c:v>248.05244894869762</c:v>
                </c:pt>
                <c:pt idx="4469">
                  <c:v>248.10564655534142</c:v>
                </c:pt>
                <c:pt idx="4470">
                  <c:v>248.15885557080367</c:v>
                </c:pt>
                <c:pt idx="4471">
                  <c:v>248.21207599753109</c:v>
                </c:pt>
                <c:pt idx="4472">
                  <c:v>248.26530783797097</c:v>
                </c:pt>
                <c:pt idx="4473">
                  <c:v>248.31855109457109</c:v>
                </c:pt>
                <c:pt idx="4474">
                  <c:v>248.3718057697798</c:v>
                </c:pt>
                <c:pt idx="4475">
                  <c:v>248.42507186604593</c:v>
                </c:pt>
                <c:pt idx="4476">
                  <c:v>248.47834938581886</c:v>
                </c:pt>
                <c:pt idx="4477">
                  <c:v>248.53163833154849</c:v>
                </c:pt>
                <c:pt idx="4478">
                  <c:v>248.58493870568523</c:v>
                </c:pt>
                <c:pt idx="4479">
                  <c:v>248.63825051068005</c:v>
                </c:pt>
                <c:pt idx="4480">
                  <c:v>248.69157374898441</c:v>
                </c:pt>
                <c:pt idx="4481">
                  <c:v>248.7449084230503</c:v>
                </c:pt>
                <c:pt idx="4482">
                  <c:v>248.79825453533027</c:v>
                </c:pt>
                <c:pt idx="4483">
                  <c:v>248.85161208827736</c:v>
                </c:pt>
                <c:pt idx="4484">
                  <c:v>248.90498108434514</c:v>
                </c:pt>
                <c:pt idx="4485">
                  <c:v>248.95836152598773</c:v>
                </c:pt>
                <c:pt idx="4486">
                  <c:v>249.01175341565974</c:v>
                </c:pt>
                <c:pt idx="4487">
                  <c:v>249.06515675581636</c:v>
                </c:pt>
                <c:pt idx="4488">
                  <c:v>249.11857154891325</c:v>
                </c:pt>
                <c:pt idx="4489">
                  <c:v>249.17199779740665</c:v>
                </c:pt>
                <c:pt idx="4490">
                  <c:v>249.22543550375326</c:v>
                </c:pt>
                <c:pt idx="4491">
                  <c:v>249.27888467041035</c:v>
                </c:pt>
                <c:pt idx="4492">
                  <c:v>249.33234529983571</c:v>
                </c:pt>
                <c:pt idx="4493">
                  <c:v>249.38581739448767</c:v>
                </c:pt>
                <c:pt idx="4494">
                  <c:v>249.43930095682509</c:v>
                </c:pt>
                <c:pt idx="4495">
                  <c:v>249.49279598930733</c:v>
                </c:pt>
                <c:pt idx="4496">
                  <c:v>249.54630249439427</c:v>
                </c:pt>
                <c:pt idx="4497">
                  <c:v>249.59982047454636</c:v>
                </c:pt>
                <c:pt idx="4498">
                  <c:v>249.65334993222453</c:v>
                </c:pt>
                <c:pt idx="4499">
                  <c:v>249.70689086989029</c:v>
                </c:pt>
                <c:pt idx="4500">
                  <c:v>249.76044329000564</c:v>
                </c:pt>
                <c:pt idx="4501">
                  <c:v>249.81400719503313</c:v>
                </c:pt>
                <c:pt idx="4502">
                  <c:v>249.86758258743581</c:v>
                </c:pt>
                <c:pt idx="4503">
                  <c:v>249.9211694696773</c:v>
                </c:pt>
                <c:pt idx="4504">
                  <c:v>249.9747678442217</c:v>
                </c:pt>
                <c:pt idx="4505">
                  <c:v>250.02837771353367</c:v>
                </c:pt>
                <c:pt idx="4506">
                  <c:v>250.08199908007839</c:v>
                </c:pt>
                <c:pt idx="4507">
                  <c:v>250.13563194632155</c:v>
                </c:pt>
                <c:pt idx="4508">
                  <c:v>250.18927631472943</c:v>
                </c:pt>
                <c:pt idx="4509">
                  <c:v>250.24293218776876</c:v>
                </c:pt>
                <c:pt idx="4510">
                  <c:v>250.29659956790687</c:v>
                </c:pt>
                <c:pt idx="4511">
                  <c:v>250.35027845761155</c:v>
                </c:pt>
                <c:pt idx="4512">
                  <c:v>250.40396885935118</c:v>
                </c:pt>
                <c:pt idx="4513">
                  <c:v>250.45767077559464</c:v>
                </c:pt>
                <c:pt idx="4514">
                  <c:v>250.51138420881134</c:v>
                </c:pt>
                <c:pt idx="4515">
                  <c:v>250.56510916147121</c:v>
                </c:pt>
                <c:pt idx="4516">
                  <c:v>250.61884563604474</c:v>
                </c:pt>
                <c:pt idx="4517">
                  <c:v>250.67259363500293</c:v>
                </c:pt>
                <c:pt idx="4518">
                  <c:v>250.7263531608173</c:v>
                </c:pt>
                <c:pt idx="4519">
                  <c:v>250.78012421595992</c:v>
                </c:pt>
                <c:pt idx="4520">
                  <c:v>250.83390680290339</c:v>
                </c:pt>
                <c:pt idx="4521">
                  <c:v>250.88770092412082</c:v>
                </c:pt>
                <c:pt idx="4522">
                  <c:v>250.94150658208588</c:v>
                </c:pt>
                <c:pt idx="4523">
                  <c:v>250.99532377927275</c:v>
                </c:pt>
                <c:pt idx="4524">
                  <c:v>251.04915251815615</c:v>
                </c:pt>
                <c:pt idx="4525">
                  <c:v>251.10299280121129</c:v>
                </c:pt>
                <c:pt idx="4526">
                  <c:v>251.15684463091398</c:v>
                </c:pt>
                <c:pt idx="4527">
                  <c:v>251.21070800974053</c:v>
                </c:pt>
                <c:pt idx="4528">
                  <c:v>251.26458294016774</c:v>
                </c:pt>
                <c:pt idx="4529">
                  <c:v>251.31846942467303</c:v>
                </c:pt>
                <c:pt idx="4530">
                  <c:v>251.37236746573427</c:v>
                </c:pt>
                <c:pt idx="4531">
                  <c:v>251.42627706582988</c:v>
                </c:pt>
                <c:pt idx="4532">
                  <c:v>251.48019822743885</c:v>
                </c:pt>
                <c:pt idx="4533">
                  <c:v>251.53413095304066</c:v>
                </c:pt>
                <c:pt idx="4534">
                  <c:v>251.58807524511533</c:v>
                </c:pt>
                <c:pt idx="4535">
                  <c:v>251.64203110614346</c:v>
                </c:pt>
                <c:pt idx="4536">
                  <c:v>251.69599853860612</c:v>
                </c:pt>
                <c:pt idx="4537">
                  <c:v>251.74997754498492</c:v>
                </c:pt>
                <c:pt idx="4538">
                  <c:v>251.803968127762</c:v>
                </c:pt>
                <c:pt idx="4539">
                  <c:v>251.85797028942008</c:v>
                </c:pt>
                <c:pt idx="4540">
                  <c:v>251.91198403244238</c:v>
                </c:pt>
                <c:pt idx="4541">
                  <c:v>251.96600935931261</c:v>
                </c:pt>
                <c:pt idx="4542">
                  <c:v>252.02004627251509</c:v>
                </c:pt>
                <c:pt idx="4543">
                  <c:v>252.07409477453464</c:v>
                </c:pt>
                <c:pt idx="4544">
                  <c:v>252.12815486785661</c:v>
                </c:pt>
                <c:pt idx="4545">
                  <c:v>252.18222655496686</c:v>
                </c:pt>
                <c:pt idx="4546">
                  <c:v>252.23630983835184</c:v>
                </c:pt>
                <c:pt idx="4547">
                  <c:v>252.29040472049849</c:v>
                </c:pt>
                <c:pt idx="4548">
                  <c:v>252.34451120389429</c:v>
                </c:pt>
                <c:pt idx="4549">
                  <c:v>252.39862929102725</c:v>
                </c:pt>
                <c:pt idx="4550">
                  <c:v>252.45275898438592</c:v>
                </c:pt>
                <c:pt idx="4551">
                  <c:v>252.5069002864594</c:v>
                </c:pt>
                <c:pt idx="4552">
                  <c:v>252.56105319973727</c:v>
                </c:pt>
                <c:pt idx="4553">
                  <c:v>252.61521772670972</c:v>
                </c:pt>
                <c:pt idx="4554">
                  <c:v>252.66939386986741</c:v>
                </c:pt>
                <c:pt idx="4555">
                  <c:v>252.72358163170159</c:v>
                </c:pt>
                <c:pt idx="4556">
                  <c:v>252.777781014704</c:v>
                </c:pt>
                <c:pt idx="4557">
                  <c:v>252.83199202136694</c:v>
                </c:pt>
                <c:pt idx="4558">
                  <c:v>252.88621465418322</c:v>
                </c:pt>
                <c:pt idx="4559">
                  <c:v>252.94044891564619</c:v>
                </c:pt>
                <c:pt idx="4560">
                  <c:v>252.99469480824973</c:v>
                </c:pt>
                <c:pt idx="4561">
                  <c:v>253.04895233448832</c:v>
                </c:pt>
                <c:pt idx="4562">
                  <c:v>253.10322149685689</c:v>
                </c:pt>
                <c:pt idx="4563">
                  <c:v>253.15750229785093</c:v>
                </c:pt>
                <c:pt idx="4564">
                  <c:v>253.21179473996648</c:v>
                </c:pt>
                <c:pt idx="4565">
                  <c:v>253.26609882570011</c:v>
                </c:pt>
                <c:pt idx="4566">
                  <c:v>253.32041455754893</c:v>
                </c:pt>
                <c:pt idx="4567">
                  <c:v>253.37474193801057</c:v>
                </c:pt>
                <c:pt idx="4568">
                  <c:v>253.4290809695832</c:v>
                </c:pt>
                <c:pt idx="4569">
                  <c:v>253.48343165476555</c:v>
                </c:pt>
                <c:pt idx="4570">
                  <c:v>253.53779399605685</c:v>
                </c:pt>
                <c:pt idx="4571">
                  <c:v>253.59216799595688</c:v>
                </c:pt>
                <c:pt idx="4572">
                  <c:v>253.64655365696598</c:v>
                </c:pt>
                <c:pt idx="4573">
                  <c:v>253.70095098158498</c:v>
                </c:pt>
                <c:pt idx="4574">
                  <c:v>253.75535997231529</c:v>
                </c:pt>
                <c:pt idx="4575">
                  <c:v>253.80978063165881</c:v>
                </c:pt>
                <c:pt idx="4576">
                  <c:v>253.86421296211802</c:v>
                </c:pt>
                <c:pt idx="4577">
                  <c:v>253.91865696619593</c:v>
                </c:pt>
                <c:pt idx="4578">
                  <c:v>253.97311264639606</c:v>
                </c:pt>
                <c:pt idx="4579">
                  <c:v>254.02758000522249</c:v>
                </c:pt>
                <c:pt idx="4580">
                  <c:v>254.08205904517985</c:v>
                </c:pt>
                <c:pt idx="4581">
                  <c:v>254.13654976877325</c:v>
                </c:pt>
                <c:pt idx="4582">
                  <c:v>254.19105217850841</c:v>
                </c:pt>
                <c:pt idx="4583">
                  <c:v>254.24556627689154</c:v>
                </c:pt>
                <c:pt idx="4584">
                  <c:v>254.30009206642941</c:v>
                </c:pt>
                <c:pt idx="4585">
                  <c:v>254.35462954962932</c:v>
                </c:pt>
                <c:pt idx="4586">
                  <c:v>254.40917872899908</c:v>
                </c:pt>
                <c:pt idx="4587">
                  <c:v>254.46373960704707</c:v>
                </c:pt>
                <c:pt idx="4588">
                  <c:v>254.51831218628223</c:v>
                </c:pt>
                <c:pt idx="4589">
                  <c:v>254.57289646921399</c:v>
                </c:pt>
                <c:pt idx="4590">
                  <c:v>254.62749245835232</c:v>
                </c:pt>
                <c:pt idx="4591">
                  <c:v>254.68210015620778</c:v>
                </c:pt>
                <c:pt idx="4592">
                  <c:v>254.73671956529142</c:v>
                </c:pt>
                <c:pt idx="4593">
                  <c:v>254.79135068811485</c:v>
                </c:pt>
                <c:pt idx="4594">
                  <c:v>254.84599352719019</c:v>
                </c:pt>
                <c:pt idx="4595">
                  <c:v>254.90064808503013</c:v>
                </c:pt>
                <c:pt idx="4596">
                  <c:v>254.95531436414791</c:v>
                </c:pt>
                <c:pt idx="4597">
                  <c:v>255.00999236705727</c:v>
                </c:pt>
                <c:pt idx="4598">
                  <c:v>255.06468209627249</c:v>
                </c:pt>
                <c:pt idx="4599">
                  <c:v>255.11938355430846</c:v>
                </c:pt>
                <c:pt idx="4600">
                  <c:v>255.17409674368051</c:v>
                </c:pt>
                <c:pt idx="4601">
                  <c:v>255.22882166690457</c:v>
                </c:pt>
                <c:pt idx="4602">
                  <c:v>255.28355832649709</c:v>
                </c:pt>
                <c:pt idx="4603">
                  <c:v>255.33830672497507</c:v>
                </c:pt>
                <c:pt idx="4604">
                  <c:v>255.39306686485605</c:v>
                </c:pt>
                <c:pt idx="4605">
                  <c:v>255.44783874865809</c:v>
                </c:pt>
                <c:pt idx="4606">
                  <c:v>255.50262237889982</c:v>
                </c:pt>
                <c:pt idx="4607">
                  <c:v>255.55741775810037</c:v>
                </c:pt>
                <c:pt idx="4608">
                  <c:v>255.61222488877948</c:v>
                </c:pt>
                <c:pt idx="4609">
                  <c:v>255.66704377345735</c:v>
                </c:pt>
                <c:pt idx="4610">
                  <c:v>255.72187441465476</c:v>
                </c:pt>
                <c:pt idx="4611">
                  <c:v>255.77671681489304</c:v>
                </c:pt>
                <c:pt idx="4612">
                  <c:v>255.83157097669402</c:v>
                </c:pt>
                <c:pt idx="4613">
                  <c:v>255.88643690258013</c:v>
                </c:pt>
                <c:pt idx="4614">
                  <c:v>255.94131459507429</c:v>
                </c:pt>
                <c:pt idx="4615">
                  <c:v>255.99620405669998</c:v>
                </c:pt>
                <c:pt idx="4616">
                  <c:v>256.05110528998119</c:v>
                </c:pt>
                <c:pt idx="4617">
                  <c:v>256.10601829744257</c:v>
                </c:pt>
                <c:pt idx="4618">
                  <c:v>256.16094308160916</c:v>
                </c:pt>
                <c:pt idx="4619">
                  <c:v>256.21587964500662</c:v>
                </c:pt>
                <c:pt idx="4620">
                  <c:v>256.27082799016114</c:v>
                </c:pt>
                <c:pt idx="4621">
                  <c:v>256.32578811959939</c:v>
                </c:pt>
                <c:pt idx="4622">
                  <c:v>256.38076003584871</c:v>
                </c:pt>
                <c:pt idx="4623">
                  <c:v>256.43574374143691</c:v>
                </c:pt>
                <c:pt idx="4624">
                  <c:v>256.49073923889233</c:v>
                </c:pt>
                <c:pt idx="4625">
                  <c:v>256.54574653074388</c:v>
                </c:pt>
                <c:pt idx="4626">
                  <c:v>256.60076561952098</c:v>
                </c:pt>
                <c:pt idx="4627">
                  <c:v>256.65579650775362</c:v>
                </c:pt>
                <c:pt idx="4628">
                  <c:v>256.71083919797229</c:v>
                </c:pt>
                <c:pt idx="4629">
                  <c:v>256.76589369270812</c:v>
                </c:pt>
                <c:pt idx="4630">
                  <c:v>256.82095999449268</c:v>
                </c:pt>
                <c:pt idx="4631">
                  <c:v>256.87603810585813</c:v>
                </c:pt>
                <c:pt idx="4632">
                  <c:v>256.93112802933717</c:v>
                </c:pt>
                <c:pt idx="4633">
                  <c:v>256.98622976746304</c:v>
                </c:pt>
                <c:pt idx="4634">
                  <c:v>257.04134332276954</c:v>
                </c:pt>
                <c:pt idx="4635">
                  <c:v>257.09646869779095</c:v>
                </c:pt>
                <c:pt idx="4636">
                  <c:v>257.15160589506218</c:v>
                </c:pt>
                <c:pt idx="4637">
                  <c:v>257.20675491711864</c:v>
                </c:pt>
                <c:pt idx="4638">
                  <c:v>257.26191576649626</c:v>
                </c:pt>
                <c:pt idx="4639">
                  <c:v>257.31708844573154</c:v>
                </c:pt>
                <c:pt idx="4640">
                  <c:v>257.37227295736159</c:v>
                </c:pt>
                <c:pt idx="4641">
                  <c:v>257.42746930392394</c:v>
                </c:pt>
                <c:pt idx="4642">
                  <c:v>257.48267748795672</c:v>
                </c:pt>
                <c:pt idx="4643">
                  <c:v>257.53789751199861</c:v>
                </c:pt>
                <c:pt idx="4644">
                  <c:v>257.59312937858886</c:v>
                </c:pt>
                <c:pt idx="4645">
                  <c:v>257.64837309026717</c:v>
                </c:pt>
                <c:pt idx="4646">
                  <c:v>257.70362864957394</c:v>
                </c:pt>
                <c:pt idx="4647">
                  <c:v>257.75889605904996</c:v>
                </c:pt>
                <c:pt idx="4648">
                  <c:v>257.81417532123669</c:v>
                </c:pt>
                <c:pt idx="4649">
                  <c:v>257.869466438676</c:v>
                </c:pt>
                <c:pt idx="4650">
                  <c:v>257.92476941391044</c:v>
                </c:pt>
                <c:pt idx="4651">
                  <c:v>257.79925081801548</c:v>
                </c:pt>
                <c:pt idx="4652">
                  <c:v>257.85453873472909</c:v>
                </c:pt>
                <c:pt idx="4653">
                  <c:v>257.90983850855139</c:v>
                </c:pt>
                <c:pt idx="4654">
                  <c:v>257.96515014202527</c:v>
                </c:pt>
                <c:pt idx="4655">
                  <c:v>258.02047363769412</c:v>
                </c:pt>
                <c:pt idx="4656">
                  <c:v>258.07580899810199</c:v>
                </c:pt>
                <c:pt idx="4657">
                  <c:v>258.13115622579335</c:v>
                </c:pt>
                <c:pt idx="4658">
                  <c:v>258.1865153233133</c:v>
                </c:pt>
                <c:pt idx="4659">
                  <c:v>258.24188629320741</c:v>
                </c:pt>
                <c:pt idx="4660">
                  <c:v>258.29726913802187</c:v>
                </c:pt>
                <c:pt idx="4661">
                  <c:v>258.35266386030344</c:v>
                </c:pt>
                <c:pt idx="4662">
                  <c:v>258.40807046259931</c:v>
                </c:pt>
                <c:pt idx="4663">
                  <c:v>258.46348894745734</c:v>
                </c:pt>
                <c:pt idx="4664">
                  <c:v>258.5189193174258</c:v>
                </c:pt>
                <c:pt idx="4665">
                  <c:v>258.57436157505362</c:v>
                </c:pt>
                <c:pt idx="4666">
                  <c:v>258.62981572289027</c:v>
                </c:pt>
                <c:pt idx="4667">
                  <c:v>258.6852817634857</c:v>
                </c:pt>
                <c:pt idx="4668">
                  <c:v>258.74075969939048</c:v>
                </c:pt>
                <c:pt idx="4669">
                  <c:v>258.79624953315567</c:v>
                </c:pt>
                <c:pt idx="4670">
                  <c:v>258.85175126733287</c:v>
                </c:pt>
                <c:pt idx="4671">
                  <c:v>258.90726490447429</c:v>
                </c:pt>
                <c:pt idx="4672">
                  <c:v>258.96279044713265</c:v>
                </c:pt>
                <c:pt idx="4673">
                  <c:v>259.01832789786118</c:v>
                </c:pt>
                <c:pt idx="4674">
                  <c:v>259.07387725921376</c:v>
                </c:pt>
                <c:pt idx="4675">
                  <c:v>259.12943853374475</c:v>
                </c:pt>
                <c:pt idx="4676">
                  <c:v>259.18501172400903</c:v>
                </c:pt>
                <c:pt idx="4677">
                  <c:v>259.24059683256206</c:v>
                </c:pt>
                <c:pt idx="4678">
                  <c:v>259.29619386195986</c:v>
                </c:pt>
                <c:pt idx="4679">
                  <c:v>259.35180281475903</c:v>
                </c:pt>
                <c:pt idx="4680">
                  <c:v>259.40742369351665</c:v>
                </c:pt>
                <c:pt idx="4681">
                  <c:v>260.43659838339113</c:v>
                </c:pt>
                <c:pt idx="4682">
                  <c:v>260.49245190862405</c:v>
                </c:pt>
                <c:pt idx="4683">
                  <c:v>260.54831741226673</c:v>
                </c:pt>
                <c:pt idx="4684">
                  <c:v>260.60419489688803</c:v>
                </c:pt>
                <c:pt idx="4685">
                  <c:v>260.6600843650574</c:v>
                </c:pt>
                <c:pt idx="4686">
                  <c:v>260.71598581934484</c:v>
                </c:pt>
                <c:pt idx="4687">
                  <c:v>260.77189926232091</c:v>
                </c:pt>
                <c:pt idx="4688">
                  <c:v>260.82782469655672</c:v>
                </c:pt>
                <c:pt idx="4689">
                  <c:v>260.88376212462396</c:v>
                </c:pt>
                <c:pt idx="4690">
                  <c:v>260.9397115490948</c:v>
                </c:pt>
                <c:pt idx="4691">
                  <c:v>260.99567297254202</c:v>
                </c:pt>
                <c:pt idx="4692">
                  <c:v>261.05164639753895</c:v>
                </c:pt>
                <c:pt idx="4693">
                  <c:v>261.10763182665943</c:v>
                </c:pt>
                <c:pt idx="4694">
                  <c:v>261.16362926247785</c:v>
                </c:pt>
                <c:pt idx="4695">
                  <c:v>261.21963870756923</c:v>
                </c:pt>
                <c:pt idx="4696">
                  <c:v>261.27566016450908</c:v>
                </c:pt>
                <c:pt idx="4697">
                  <c:v>261.33169363587348</c:v>
                </c:pt>
                <c:pt idx="4698">
                  <c:v>261.38773912423903</c:v>
                </c:pt>
                <c:pt idx="4699">
                  <c:v>261.44379663218291</c:v>
                </c:pt>
                <c:pt idx="4700">
                  <c:v>261.4998661622829</c:v>
                </c:pt>
                <c:pt idx="4701">
                  <c:v>261.55594771711725</c:v>
                </c:pt>
                <c:pt idx="4702">
                  <c:v>261.61204129926477</c:v>
                </c:pt>
                <c:pt idx="4703">
                  <c:v>261.66814691130492</c:v>
                </c:pt>
                <c:pt idx="4704">
                  <c:v>261.72426455581757</c:v>
                </c:pt>
                <c:pt idx="4705">
                  <c:v>261.78039423538326</c:v>
                </c:pt>
                <c:pt idx="4706">
                  <c:v>261.83653595258306</c:v>
                </c:pt>
                <c:pt idx="4707">
                  <c:v>261.89268970999854</c:v>
                </c:pt>
                <c:pt idx="4708">
                  <c:v>261.94885551021184</c:v>
                </c:pt>
                <c:pt idx="4709">
                  <c:v>262.00503335580572</c:v>
                </c:pt>
                <c:pt idx="4710">
                  <c:v>262.06122324936342</c:v>
                </c:pt>
                <c:pt idx="4711">
                  <c:v>262.11742519346876</c:v>
                </c:pt>
                <c:pt idx="4712">
                  <c:v>262.17363919070613</c:v>
                </c:pt>
                <c:pt idx="4713">
                  <c:v>262.22986524366047</c:v>
                </c:pt>
                <c:pt idx="4714">
                  <c:v>262.28610335491726</c:v>
                </c:pt>
                <c:pt idx="4715">
                  <c:v>262.34235352706247</c:v>
                </c:pt>
                <c:pt idx="4716">
                  <c:v>262.39861576268277</c:v>
                </c:pt>
                <c:pt idx="4717">
                  <c:v>262.45489006436526</c:v>
                </c:pt>
                <c:pt idx="4718">
                  <c:v>262.51117643469769</c:v>
                </c:pt>
                <c:pt idx="4719">
                  <c:v>262.56747487626825</c:v>
                </c:pt>
                <c:pt idx="4720">
                  <c:v>262.62378539166582</c:v>
                </c:pt>
                <c:pt idx="4721">
                  <c:v>262.68010798347973</c:v>
                </c:pt>
                <c:pt idx="4722">
                  <c:v>262.73644265429988</c:v>
                </c:pt>
                <c:pt idx="4723">
                  <c:v>262.79278940671679</c:v>
                </c:pt>
                <c:pt idx="4724">
                  <c:v>262.84914824332145</c:v>
                </c:pt>
                <c:pt idx="4725">
                  <c:v>262.90551916670546</c:v>
                </c:pt>
                <c:pt idx="4726">
                  <c:v>262.96190217946099</c:v>
                </c:pt>
                <c:pt idx="4727">
                  <c:v>263.01829728418073</c:v>
                </c:pt>
                <c:pt idx="4728">
                  <c:v>263.07470448345794</c:v>
                </c:pt>
                <c:pt idx="4729">
                  <c:v>263.13112377988642</c:v>
                </c:pt>
                <c:pt idx="4730">
                  <c:v>263.18755517606053</c:v>
                </c:pt>
                <c:pt idx="4731">
                  <c:v>263.24399867457521</c:v>
                </c:pt>
                <c:pt idx="4732">
                  <c:v>263.30045427802594</c:v>
                </c:pt>
                <c:pt idx="4733">
                  <c:v>263.35692198900875</c:v>
                </c:pt>
                <c:pt idx="4734">
                  <c:v>263.41340181012026</c:v>
                </c:pt>
                <c:pt idx="4735">
                  <c:v>263.46989374395758</c:v>
                </c:pt>
                <c:pt idx="4736">
                  <c:v>263.52639779311846</c:v>
                </c:pt>
                <c:pt idx="4737">
                  <c:v>263.58291396020115</c:v>
                </c:pt>
                <c:pt idx="4738">
                  <c:v>263.63944224780448</c:v>
                </c:pt>
                <c:pt idx="4739">
                  <c:v>263.69598265852784</c:v>
                </c:pt>
                <c:pt idx="4740">
                  <c:v>263.75253519497113</c:v>
                </c:pt>
                <c:pt idx="4741">
                  <c:v>263.80909985973489</c:v>
                </c:pt>
                <c:pt idx="4742">
                  <c:v>263.86567665542015</c:v>
                </c:pt>
                <c:pt idx="4743">
                  <c:v>263.92226558462852</c:v>
                </c:pt>
                <c:pt idx="4744">
                  <c:v>263.97886664996213</c:v>
                </c:pt>
                <c:pt idx="4745">
                  <c:v>264.03547985402378</c:v>
                </c:pt>
                <c:pt idx="4746">
                  <c:v>264.09210519941672</c:v>
                </c:pt>
                <c:pt idx="4747">
                  <c:v>264.14874268874479</c:v>
                </c:pt>
                <c:pt idx="4748">
                  <c:v>264.20539232461238</c:v>
                </c:pt>
                <c:pt idx="4749">
                  <c:v>264.2620541096245</c:v>
                </c:pt>
              </c:numCache>
            </c:numRef>
          </c:val>
          <c:smooth val="0"/>
          <c:extLst>
            <c:ext xmlns:c16="http://schemas.microsoft.com/office/drawing/2014/chart" uri="{C3380CC4-5D6E-409C-BE32-E72D297353CC}">
              <c16:uniqueId val="{00000001-B508-4CA1-A7A2-49E4517BE268}"/>
            </c:ext>
          </c:extLst>
        </c:ser>
        <c:dLbls>
          <c:showLegendKey val="0"/>
          <c:showVal val="0"/>
          <c:showCatName val="0"/>
          <c:showSerName val="0"/>
          <c:showPercent val="0"/>
          <c:showBubbleSize val="0"/>
        </c:dLbls>
        <c:smooth val="0"/>
        <c:axId val="1566878000"/>
        <c:axId val="1566873680"/>
      </c:lineChart>
      <c:dateAx>
        <c:axId val="156687800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1566873680"/>
        <c:crosses val="autoZero"/>
        <c:auto val="1"/>
        <c:lblOffset val="100"/>
        <c:baseTimeUnit val="days"/>
      </c:dateAx>
      <c:valAx>
        <c:axId val="15668736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r>
                  <a:rPr lang="en-US"/>
                  <a:t>Portfolio price rebased to 100 at 31/8/2011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156687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chemeClr val="tx1"/>
          </a:solidFill>
          <a:latin typeface="Avenir Next LT Pro" panose="020B05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86088131605758"/>
          <c:y val="9.5571330596332257E-2"/>
          <c:w val="0.54813069552340177"/>
          <c:h val="0.82219575544275669"/>
        </c:manualLayout>
      </c:layout>
      <c:pieChart>
        <c:varyColors val="1"/>
        <c:ser>
          <c:idx val="0"/>
          <c:order val="0"/>
          <c:tx>
            <c:strRef>
              <c:f>Sheet1!$B$1</c:f>
              <c:strCache>
                <c:ptCount val="1"/>
                <c:pt idx="0">
                  <c:v>FL4</c:v>
                </c:pt>
              </c:strCache>
            </c:strRef>
          </c:tx>
          <c:spPr>
            <a:ln w="6350">
              <a:solidFill>
                <a:srgbClr val="FFFFFF"/>
              </a:solidFill>
            </a:ln>
          </c:spPr>
          <c:dPt>
            <c:idx val="0"/>
            <c:bubble3D val="0"/>
            <c:spPr>
              <a:solidFill>
                <a:srgbClr val="00243D"/>
              </a:solidFill>
              <a:ln w="6350">
                <a:solidFill>
                  <a:srgbClr val="FFFFFF"/>
                </a:solidFill>
              </a:ln>
              <a:effectLst/>
            </c:spPr>
            <c:extLst>
              <c:ext xmlns:c16="http://schemas.microsoft.com/office/drawing/2014/chart" uri="{C3380CC4-5D6E-409C-BE32-E72D297353CC}">
                <c16:uniqueId val="{00000005-CD91-4B49-8C45-6D068875CB3C}"/>
              </c:ext>
            </c:extLst>
          </c:dPt>
          <c:dPt>
            <c:idx val="1"/>
            <c:bubble3D val="0"/>
            <c:spPr>
              <a:solidFill>
                <a:srgbClr val="00485E"/>
              </a:solidFill>
              <a:ln w="6350">
                <a:solidFill>
                  <a:srgbClr val="FFFFFF"/>
                </a:solidFill>
              </a:ln>
              <a:effectLst/>
            </c:spPr>
            <c:extLst>
              <c:ext xmlns:c16="http://schemas.microsoft.com/office/drawing/2014/chart" uri="{C3380CC4-5D6E-409C-BE32-E72D297353CC}">
                <c16:uniqueId val="{00000001-DB89-4B08-BB0C-4D92E07AF8FE}"/>
              </c:ext>
            </c:extLst>
          </c:dPt>
          <c:dPt>
            <c:idx val="2"/>
            <c:bubble3D val="0"/>
            <c:spPr>
              <a:solidFill>
                <a:srgbClr val="006888"/>
              </a:solidFill>
              <a:ln w="6350">
                <a:solidFill>
                  <a:srgbClr val="FFFFFF"/>
                </a:solidFill>
              </a:ln>
              <a:effectLst/>
            </c:spPr>
            <c:extLst>
              <c:ext xmlns:c16="http://schemas.microsoft.com/office/drawing/2014/chart" uri="{C3380CC4-5D6E-409C-BE32-E72D297353CC}">
                <c16:uniqueId val="{00000009-CD91-4B49-8C45-6D068875CB3C}"/>
              </c:ext>
            </c:extLst>
          </c:dPt>
          <c:dPt>
            <c:idx val="3"/>
            <c:bubble3D val="0"/>
            <c:spPr>
              <a:solidFill>
                <a:srgbClr val="0098C6"/>
              </a:solidFill>
              <a:ln w="6350">
                <a:solidFill>
                  <a:srgbClr val="FFFFFF"/>
                </a:solidFill>
              </a:ln>
              <a:effectLst/>
            </c:spPr>
            <c:extLst>
              <c:ext xmlns:c16="http://schemas.microsoft.com/office/drawing/2014/chart" uri="{C3380CC4-5D6E-409C-BE32-E72D297353CC}">
                <c16:uniqueId val="{0000000B-CD91-4B49-8C45-6D068875CB3C}"/>
              </c:ext>
            </c:extLst>
          </c:dPt>
          <c:dPt>
            <c:idx val="4"/>
            <c:bubble3D val="0"/>
            <c:spPr>
              <a:solidFill>
                <a:srgbClr val="2FCEFF"/>
              </a:solidFill>
              <a:ln w="6350">
                <a:solidFill>
                  <a:srgbClr val="FFFFFF"/>
                </a:solidFill>
              </a:ln>
              <a:effectLst/>
            </c:spPr>
            <c:extLst>
              <c:ext xmlns:c16="http://schemas.microsoft.com/office/drawing/2014/chart" uri="{C3380CC4-5D6E-409C-BE32-E72D297353CC}">
                <c16:uniqueId val="{00000009-524E-4DD9-B245-84755F528799}"/>
              </c:ext>
            </c:extLst>
          </c:dPt>
          <c:dPt>
            <c:idx val="5"/>
            <c:bubble3D val="0"/>
            <c:spPr>
              <a:solidFill>
                <a:srgbClr val="97E7FF"/>
              </a:solidFill>
              <a:ln w="6350">
                <a:solidFill>
                  <a:srgbClr val="FFFFFF"/>
                </a:solidFill>
              </a:ln>
              <a:effectLst/>
            </c:spPr>
            <c:extLst>
              <c:ext xmlns:c16="http://schemas.microsoft.com/office/drawing/2014/chart" uri="{C3380CC4-5D6E-409C-BE32-E72D297353CC}">
                <c16:uniqueId val="{0000000B-524E-4DD9-B245-84755F528799}"/>
              </c:ext>
            </c:extLst>
          </c:dPt>
          <c:dPt>
            <c:idx val="6"/>
            <c:bubble3D val="0"/>
            <c:spPr>
              <a:solidFill>
                <a:srgbClr val="2DB4B4"/>
              </a:solidFill>
              <a:ln w="6350">
                <a:solidFill>
                  <a:srgbClr val="FFFFFF"/>
                </a:solidFill>
              </a:ln>
              <a:effectLst/>
            </c:spPr>
            <c:extLst>
              <c:ext xmlns:c16="http://schemas.microsoft.com/office/drawing/2014/chart" uri="{C3380CC4-5D6E-409C-BE32-E72D297353CC}">
                <c16:uniqueId val="{0000000D-524E-4DD9-B245-84755F528799}"/>
              </c:ext>
            </c:extLst>
          </c:dPt>
          <c:dPt>
            <c:idx val="7"/>
            <c:bubble3D val="0"/>
            <c:spPr>
              <a:solidFill>
                <a:srgbClr val="75DDDD"/>
              </a:solidFill>
              <a:ln w="6350">
                <a:solidFill>
                  <a:srgbClr val="FFFFFF"/>
                </a:solidFill>
              </a:ln>
              <a:effectLst/>
            </c:spPr>
            <c:extLst>
              <c:ext xmlns:c16="http://schemas.microsoft.com/office/drawing/2014/chart" uri="{C3380CC4-5D6E-409C-BE32-E72D297353CC}">
                <c16:uniqueId val="{0000000F-524E-4DD9-B245-84755F528799}"/>
              </c:ext>
            </c:extLst>
          </c:dPt>
          <c:dPt>
            <c:idx val="8"/>
            <c:bubble3D val="0"/>
            <c:spPr>
              <a:solidFill>
                <a:srgbClr val="ABEAEA"/>
              </a:solidFill>
              <a:ln w="6350">
                <a:solidFill>
                  <a:srgbClr val="FFFFFF"/>
                </a:solidFill>
              </a:ln>
              <a:effectLst/>
            </c:spPr>
            <c:extLst>
              <c:ext xmlns:c16="http://schemas.microsoft.com/office/drawing/2014/chart" uri="{C3380CC4-5D6E-409C-BE32-E72D297353CC}">
                <c16:uniqueId val="{00000010-4B83-44EE-A687-1F89316E6851}"/>
              </c:ext>
            </c:extLst>
          </c:dPt>
          <c:dPt>
            <c:idx val="9"/>
            <c:bubble3D val="0"/>
            <c:spPr>
              <a:solidFill>
                <a:srgbClr val="CFF3F3"/>
              </a:solidFill>
              <a:ln w="6350">
                <a:solidFill>
                  <a:srgbClr val="FFFFFF"/>
                </a:solidFill>
              </a:ln>
              <a:effectLst/>
            </c:spPr>
            <c:extLst>
              <c:ext xmlns:c16="http://schemas.microsoft.com/office/drawing/2014/chart" uri="{C3380CC4-5D6E-409C-BE32-E72D297353CC}">
                <c16:uniqueId val="{0000000F-4B83-44EE-A687-1F89316E6851}"/>
              </c:ext>
            </c:extLst>
          </c:dPt>
          <c:dPt>
            <c:idx val="10"/>
            <c:bubble3D val="0"/>
            <c:spPr>
              <a:solidFill>
                <a:srgbClr val="FF6120"/>
              </a:solidFill>
              <a:ln w="6350">
                <a:solidFill>
                  <a:srgbClr val="FFFFFF"/>
                </a:solidFill>
              </a:ln>
              <a:effectLst/>
            </c:spPr>
            <c:extLst>
              <c:ext xmlns:c16="http://schemas.microsoft.com/office/drawing/2014/chart" uri="{C3380CC4-5D6E-409C-BE32-E72D297353CC}">
                <c16:uniqueId val="{0000000E-4B83-44EE-A687-1F89316E6851}"/>
              </c:ext>
            </c:extLst>
          </c:dPt>
          <c:dPt>
            <c:idx val="11"/>
            <c:bubble3D val="0"/>
            <c:spPr>
              <a:solidFill>
                <a:schemeClr val="accent6">
                  <a:lumMod val="60000"/>
                </a:schemeClr>
              </a:solidFill>
              <a:ln w="6350">
                <a:solidFill>
                  <a:srgbClr val="FFFFFF"/>
                </a:solidFill>
              </a:ln>
              <a:effectLst/>
            </c:spPr>
            <c:extLst>
              <c:ext xmlns:c16="http://schemas.microsoft.com/office/drawing/2014/chart" uri="{C3380CC4-5D6E-409C-BE32-E72D297353CC}">
                <c16:uniqueId val="{00000017-A95A-4CA7-A74E-D8A447AC7095}"/>
              </c:ext>
            </c:extLst>
          </c:dPt>
          <c:cat>
            <c:strRef>
              <c:f>Sheet1!$A$2:$A$13</c:f>
              <c:strCache>
                <c:ptCount val="12"/>
                <c:pt idx="0">
                  <c:v>North American Equity</c:v>
                </c:pt>
                <c:pt idx="1">
                  <c:v>Europe ex UK Equity</c:v>
                </c:pt>
                <c:pt idx="2">
                  <c:v>UK Equity</c:v>
                </c:pt>
                <c:pt idx="3">
                  <c:v>EM Equity</c:v>
                </c:pt>
                <c:pt idx="4">
                  <c:v>Pacific ex Japan Equity</c:v>
                </c:pt>
                <c:pt idx="5">
                  <c:v>Japan Equity</c:v>
                </c:pt>
                <c:pt idx="6">
                  <c:v>Sovereign</c:v>
                </c:pt>
                <c:pt idx="7">
                  <c:v>IG</c:v>
                </c:pt>
                <c:pt idx="8">
                  <c:v>HY</c:v>
                </c:pt>
                <c:pt idx="9">
                  <c:v>EMD</c:v>
                </c:pt>
                <c:pt idx="10">
                  <c:v>Cash</c:v>
                </c:pt>
                <c:pt idx="11">
                  <c:v>Derivatives</c:v>
                </c:pt>
              </c:strCache>
            </c:strRef>
          </c:cat>
          <c:val>
            <c:numRef>
              <c:f>Sheet1!$B$2:$B$13</c:f>
              <c:numCache>
                <c:formatCode>#,##0.00;"-"#,##0.00;"--"</c:formatCode>
                <c:ptCount val="12"/>
                <c:pt idx="0">
                  <c:v>20.49</c:v>
                </c:pt>
                <c:pt idx="1">
                  <c:v>10.46</c:v>
                </c:pt>
                <c:pt idx="2">
                  <c:v>3.19</c:v>
                </c:pt>
                <c:pt idx="3">
                  <c:v>4.09</c:v>
                </c:pt>
                <c:pt idx="4">
                  <c:v>1.49</c:v>
                </c:pt>
                <c:pt idx="5">
                  <c:v>0.17</c:v>
                </c:pt>
                <c:pt idx="6">
                  <c:v>27.36</c:v>
                </c:pt>
                <c:pt idx="7">
                  <c:v>10.98</c:v>
                </c:pt>
                <c:pt idx="8">
                  <c:v>4.4800000000000004</c:v>
                </c:pt>
                <c:pt idx="9">
                  <c:v>7.14</c:v>
                </c:pt>
                <c:pt idx="10">
                  <c:v>10.15</c:v>
                </c:pt>
                <c:pt idx="11">
                  <c:v>0</c:v>
                </c:pt>
              </c:numCache>
            </c:numRef>
          </c:val>
          <c:extLst>
            <c:ext xmlns:c16="http://schemas.microsoft.com/office/drawing/2014/chart" uri="{C3380CC4-5D6E-409C-BE32-E72D297353CC}">
              <c16:uniqueId val="{00000000-DB89-4B08-BB0C-4D92E07AF8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86088131605758"/>
          <c:y val="9.5571330596332257E-2"/>
          <c:w val="0.54813069552340177"/>
          <c:h val="0.82219575544275669"/>
        </c:manualLayout>
      </c:layout>
      <c:pieChart>
        <c:varyColors val="1"/>
        <c:ser>
          <c:idx val="0"/>
          <c:order val="0"/>
          <c:tx>
            <c:strRef>
              <c:f>Sheet1!$B$1</c:f>
              <c:strCache>
                <c:ptCount val="1"/>
                <c:pt idx="0">
                  <c:v>FL5</c:v>
                </c:pt>
              </c:strCache>
            </c:strRef>
          </c:tx>
          <c:spPr>
            <a:ln w="6350">
              <a:solidFill>
                <a:srgbClr val="FFFFFF"/>
              </a:solidFill>
            </a:ln>
          </c:spPr>
          <c:dPt>
            <c:idx val="0"/>
            <c:bubble3D val="0"/>
            <c:spPr>
              <a:solidFill>
                <a:srgbClr val="00243D"/>
              </a:solidFill>
              <a:ln w="6350">
                <a:solidFill>
                  <a:srgbClr val="FFFFFF"/>
                </a:solidFill>
              </a:ln>
              <a:effectLst/>
            </c:spPr>
            <c:extLst>
              <c:ext xmlns:c16="http://schemas.microsoft.com/office/drawing/2014/chart" uri="{C3380CC4-5D6E-409C-BE32-E72D297353CC}">
                <c16:uniqueId val="{00000005-CD91-4B49-8C45-6D068875CB3C}"/>
              </c:ext>
            </c:extLst>
          </c:dPt>
          <c:dPt>
            <c:idx val="1"/>
            <c:bubble3D val="0"/>
            <c:spPr>
              <a:solidFill>
                <a:srgbClr val="00485E"/>
              </a:solidFill>
              <a:ln w="6350">
                <a:solidFill>
                  <a:srgbClr val="FFFFFF"/>
                </a:solidFill>
              </a:ln>
              <a:effectLst/>
            </c:spPr>
            <c:extLst>
              <c:ext xmlns:c16="http://schemas.microsoft.com/office/drawing/2014/chart" uri="{C3380CC4-5D6E-409C-BE32-E72D297353CC}">
                <c16:uniqueId val="{00000001-DB89-4B08-BB0C-4D92E07AF8FE}"/>
              </c:ext>
            </c:extLst>
          </c:dPt>
          <c:dPt>
            <c:idx val="2"/>
            <c:bubble3D val="0"/>
            <c:spPr>
              <a:solidFill>
                <a:srgbClr val="006888"/>
              </a:solidFill>
              <a:ln w="6350">
                <a:solidFill>
                  <a:srgbClr val="FFFFFF"/>
                </a:solidFill>
              </a:ln>
              <a:effectLst/>
            </c:spPr>
            <c:extLst>
              <c:ext xmlns:c16="http://schemas.microsoft.com/office/drawing/2014/chart" uri="{C3380CC4-5D6E-409C-BE32-E72D297353CC}">
                <c16:uniqueId val="{00000009-CD91-4B49-8C45-6D068875CB3C}"/>
              </c:ext>
            </c:extLst>
          </c:dPt>
          <c:dPt>
            <c:idx val="3"/>
            <c:bubble3D val="0"/>
            <c:spPr>
              <a:solidFill>
                <a:srgbClr val="0098C6"/>
              </a:solidFill>
              <a:ln w="6350">
                <a:solidFill>
                  <a:srgbClr val="FFFFFF"/>
                </a:solidFill>
              </a:ln>
              <a:effectLst/>
            </c:spPr>
            <c:extLst>
              <c:ext xmlns:c16="http://schemas.microsoft.com/office/drawing/2014/chart" uri="{C3380CC4-5D6E-409C-BE32-E72D297353CC}">
                <c16:uniqueId val="{0000000B-CD91-4B49-8C45-6D068875CB3C}"/>
              </c:ext>
            </c:extLst>
          </c:dPt>
          <c:dPt>
            <c:idx val="4"/>
            <c:bubble3D val="0"/>
            <c:spPr>
              <a:solidFill>
                <a:srgbClr val="2FCEFF"/>
              </a:solidFill>
              <a:ln w="6350">
                <a:solidFill>
                  <a:srgbClr val="FFFFFF"/>
                </a:solidFill>
              </a:ln>
              <a:effectLst/>
            </c:spPr>
            <c:extLst>
              <c:ext xmlns:c16="http://schemas.microsoft.com/office/drawing/2014/chart" uri="{C3380CC4-5D6E-409C-BE32-E72D297353CC}">
                <c16:uniqueId val="{00000009-524E-4DD9-B245-84755F528799}"/>
              </c:ext>
            </c:extLst>
          </c:dPt>
          <c:dPt>
            <c:idx val="5"/>
            <c:bubble3D val="0"/>
            <c:spPr>
              <a:solidFill>
                <a:srgbClr val="97E7FF"/>
              </a:solidFill>
              <a:ln w="6350">
                <a:solidFill>
                  <a:srgbClr val="FFFFFF"/>
                </a:solidFill>
              </a:ln>
              <a:effectLst/>
            </c:spPr>
            <c:extLst>
              <c:ext xmlns:c16="http://schemas.microsoft.com/office/drawing/2014/chart" uri="{C3380CC4-5D6E-409C-BE32-E72D297353CC}">
                <c16:uniqueId val="{0000000B-524E-4DD9-B245-84755F528799}"/>
              </c:ext>
            </c:extLst>
          </c:dPt>
          <c:dPt>
            <c:idx val="6"/>
            <c:bubble3D val="0"/>
            <c:spPr>
              <a:solidFill>
                <a:srgbClr val="2DB4B4"/>
              </a:solidFill>
              <a:ln w="6350">
                <a:solidFill>
                  <a:srgbClr val="FFFFFF"/>
                </a:solidFill>
              </a:ln>
              <a:effectLst/>
            </c:spPr>
            <c:extLst>
              <c:ext xmlns:c16="http://schemas.microsoft.com/office/drawing/2014/chart" uri="{C3380CC4-5D6E-409C-BE32-E72D297353CC}">
                <c16:uniqueId val="{0000000D-524E-4DD9-B245-84755F528799}"/>
              </c:ext>
            </c:extLst>
          </c:dPt>
          <c:dPt>
            <c:idx val="7"/>
            <c:bubble3D val="0"/>
            <c:spPr>
              <a:solidFill>
                <a:srgbClr val="75DDDD"/>
              </a:solidFill>
              <a:ln w="6350">
                <a:solidFill>
                  <a:srgbClr val="FFFFFF"/>
                </a:solidFill>
              </a:ln>
              <a:effectLst/>
            </c:spPr>
            <c:extLst>
              <c:ext xmlns:c16="http://schemas.microsoft.com/office/drawing/2014/chart" uri="{C3380CC4-5D6E-409C-BE32-E72D297353CC}">
                <c16:uniqueId val="{0000000F-524E-4DD9-B245-84755F528799}"/>
              </c:ext>
            </c:extLst>
          </c:dPt>
          <c:dPt>
            <c:idx val="8"/>
            <c:bubble3D val="0"/>
            <c:spPr>
              <a:solidFill>
                <a:srgbClr val="ABEAEA"/>
              </a:solidFill>
              <a:ln w="6350">
                <a:solidFill>
                  <a:srgbClr val="FFFFFF"/>
                </a:solidFill>
              </a:ln>
              <a:effectLst/>
            </c:spPr>
            <c:extLst>
              <c:ext xmlns:c16="http://schemas.microsoft.com/office/drawing/2014/chart" uri="{C3380CC4-5D6E-409C-BE32-E72D297353CC}">
                <c16:uniqueId val="{00000010-4B83-44EE-A687-1F89316E6851}"/>
              </c:ext>
            </c:extLst>
          </c:dPt>
          <c:dPt>
            <c:idx val="9"/>
            <c:bubble3D val="0"/>
            <c:spPr>
              <a:solidFill>
                <a:srgbClr val="CFF3F3"/>
              </a:solidFill>
              <a:ln w="6350">
                <a:solidFill>
                  <a:srgbClr val="FFFFFF"/>
                </a:solidFill>
              </a:ln>
              <a:effectLst/>
            </c:spPr>
            <c:extLst>
              <c:ext xmlns:c16="http://schemas.microsoft.com/office/drawing/2014/chart" uri="{C3380CC4-5D6E-409C-BE32-E72D297353CC}">
                <c16:uniqueId val="{0000000F-4B83-44EE-A687-1F89316E6851}"/>
              </c:ext>
            </c:extLst>
          </c:dPt>
          <c:dPt>
            <c:idx val="10"/>
            <c:bubble3D val="0"/>
            <c:spPr>
              <a:solidFill>
                <a:srgbClr val="FF6120"/>
              </a:solidFill>
              <a:ln w="6350">
                <a:solidFill>
                  <a:srgbClr val="FFFFFF"/>
                </a:solidFill>
              </a:ln>
              <a:effectLst/>
            </c:spPr>
            <c:extLst>
              <c:ext xmlns:c16="http://schemas.microsoft.com/office/drawing/2014/chart" uri="{C3380CC4-5D6E-409C-BE32-E72D297353CC}">
                <c16:uniqueId val="{0000000E-4B83-44EE-A687-1F89316E6851}"/>
              </c:ext>
            </c:extLst>
          </c:dPt>
          <c:dPt>
            <c:idx val="11"/>
            <c:bubble3D val="0"/>
            <c:spPr>
              <a:solidFill>
                <a:schemeClr val="accent6">
                  <a:lumMod val="60000"/>
                </a:schemeClr>
              </a:solidFill>
              <a:ln w="6350">
                <a:solidFill>
                  <a:srgbClr val="FFFFFF"/>
                </a:solidFill>
              </a:ln>
              <a:effectLst/>
            </c:spPr>
            <c:extLst>
              <c:ext xmlns:c16="http://schemas.microsoft.com/office/drawing/2014/chart" uri="{C3380CC4-5D6E-409C-BE32-E72D297353CC}">
                <c16:uniqueId val="{00000017-562D-40AD-A12A-06057D3B5BD1}"/>
              </c:ext>
            </c:extLst>
          </c:dPt>
          <c:cat>
            <c:strRef>
              <c:f>Sheet1!$A$2:$A$13</c:f>
              <c:strCache>
                <c:ptCount val="12"/>
                <c:pt idx="0">
                  <c:v>North American Equity</c:v>
                </c:pt>
                <c:pt idx="1">
                  <c:v>Europe ex UK Equity</c:v>
                </c:pt>
                <c:pt idx="2">
                  <c:v>UK Equity</c:v>
                </c:pt>
                <c:pt idx="3">
                  <c:v>EM Equity</c:v>
                </c:pt>
                <c:pt idx="4">
                  <c:v>Pacific ex Japan Equity</c:v>
                </c:pt>
                <c:pt idx="5">
                  <c:v>Japan Equity</c:v>
                </c:pt>
                <c:pt idx="6">
                  <c:v>Sovereign</c:v>
                </c:pt>
                <c:pt idx="7">
                  <c:v>IG</c:v>
                </c:pt>
                <c:pt idx="8">
                  <c:v>HY</c:v>
                </c:pt>
                <c:pt idx="9">
                  <c:v>EMD</c:v>
                </c:pt>
                <c:pt idx="10">
                  <c:v>Cash</c:v>
                </c:pt>
                <c:pt idx="11">
                  <c:v>Derivatives</c:v>
                </c:pt>
              </c:strCache>
            </c:strRef>
          </c:cat>
          <c:val>
            <c:numRef>
              <c:f>Sheet1!$B$2:$B$13</c:f>
              <c:numCache>
                <c:formatCode>#,##0.00;"-"#,##0.00;"--"</c:formatCode>
                <c:ptCount val="12"/>
                <c:pt idx="0">
                  <c:v>29.92</c:v>
                </c:pt>
                <c:pt idx="1">
                  <c:v>15.1</c:v>
                </c:pt>
                <c:pt idx="2">
                  <c:v>4.8600000000000003</c:v>
                </c:pt>
                <c:pt idx="3">
                  <c:v>6.55</c:v>
                </c:pt>
                <c:pt idx="4">
                  <c:v>2.11</c:v>
                </c:pt>
                <c:pt idx="5">
                  <c:v>0.25</c:v>
                </c:pt>
                <c:pt idx="6">
                  <c:v>19.46</c:v>
                </c:pt>
                <c:pt idx="7">
                  <c:v>7.61</c:v>
                </c:pt>
                <c:pt idx="8">
                  <c:v>3.11</c:v>
                </c:pt>
                <c:pt idx="9">
                  <c:v>4.67</c:v>
                </c:pt>
                <c:pt idx="10">
                  <c:v>6.36</c:v>
                </c:pt>
                <c:pt idx="11">
                  <c:v>0</c:v>
                </c:pt>
              </c:numCache>
            </c:numRef>
          </c:val>
          <c:extLst>
            <c:ext xmlns:c16="http://schemas.microsoft.com/office/drawing/2014/chart" uri="{C3380CC4-5D6E-409C-BE32-E72D297353CC}">
              <c16:uniqueId val="{00000000-DB89-4B08-BB0C-4D92E07AF8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86088131605758"/>
          <c:y val="9.5571330596332257E-2"/>
          <c:w val="0.54813069552340177"/>
          <c:h val="0.82219575544275669"/>
        </c:manualLayout>
      </c:layout>
      <c:pieChart>
        <c:varyColors val="1"/>
        <c:ser>
          <c:idx val="0"/>
          <c:order val="0"/>
          <c:tx>
            <c:strRef>
              <c:f>Sheet1!$B$1</c:f>
              <c:strCache>
                <c:ptCount val="1"/>
                <c:pt idx="0">
                  <c:v>FL6</c:v>
                </c:pt>
              </c:strCache>
            </c:strRef>
          </c:tx>
          <c:spPr>
            <a:ln w="6350">
              <a:solidFill>
                <a:srgbClr val="FFFFFF"/>
              </a:solidFill>
            </a:ln>
          </c:spPr>
          <c:dPt>
            <c:idx val="0"/>
            <c:bubble3D val="0"/>
            <c:spPr>
              <a:solidFill>
                <a:srgbClr val="00243D"/>
              </a:solidFill>
              <a:ln w="6350">
                <a:solidFill>
                  <a:srgbClr val="FFFFFF"/>
                </a:solidFill>
              </a:ln>
              <a:effectLst/>
            </c:spPr>
            <c:extLst>
              <c:ext xmlns:c16="http://schemas.microsoft.com/office/drawing/2014/chart" uri="{C3380CC4-5D6E-409C-BE32-E72D297353CC}">
                <c16:uniqueId val="{00000005-CD91-4B49-8C45-6D068875CB3C}"/>
              </c:ext>
            </c:extLst>
          </c:dPt>
          <c:dPt>
            <c:idx val="1"/>
            <c:bubble3D val="0"/>
            <c:spPr>
              <a:solidFill>
                <a:srgbClr val="00485E"/>
              </a:solidFill>
              <a:ln w="6350">
                <a:solidFill>
                  <a:srgbClr val="FFFFFF"/>
                </a:solidFill>
              </a:ln>
              <a:effectLst/>
            </c:spPr>
            <c:extLst>
              <c:ext xmlns:c16="http://schemas.microsoft.com/office/drawing/2014/chart" uri="{C3380CC4-5D6E-409C-BE32-E72D297353CC}">
                <c16:uniqueId val="{00000001-DB89-4B08-BB0C-4D92E07AF8FE}"/>
              </c:ext>
            </c:extLst>
          </c:dPt>
          <c:dPt>
            <c:idx val="2"/>
            <c:bubble3D val="0"/>
            <c:spPr>
              <a:solidFill>
                <a:srgbClr val="006888"/>
              </a:solidFill>
              <a:ln w="6350">
                <a:solidFill>
                  <a:srgbClr val="FFFFFF"/>
                </a:solidFill>
              </a:ln>
              <a:effectLst/>
            </c:spPr>
            <c:extLst>
              <c:ext xmlns:c16="http://schemas.microsoft.com/office/drawing/2014/chart" uri="{C3380CC4-5D6E-409C-BE32-E72D297353CC}">
                <c16:uniqueId val="{00000009-CD91-4B49-8C45-6D068875CB3C}"/>
              </c:ext>
            </c:extLst>
          </c:dPt>
          <c:dPt>
            <c:idx val="3"/>
            <c:bubble3D val="0"/>
            <c:spPr>
              <a:solidFill>
                <a:srgbClr val="0098C6"/>
              </a:solidFill>
              <a:ln w="6350">
                <a:solidFill>
                  <a:srgbClr val="FFFFFF"/>
                </a:solidFill>
              </a:ln>
              <a:effectLst/>
            </c:spPr>
            <c:extLst>
              <c:ext xmlns:c16="http://schemas.microsoft.com/office/drawing/2014/chart" uri="{C3380CC4-5D6E-409C-BE32-E72D297353CC}">
                <c16:uniqueId val="{0000000B-CD91-4B49-8C45-6D068875CB3C}"/>
              </c:ext>
            </c:extLst>
          </c:dPt>
          <c:dPt>
            <c:idx val="4"/>
            <c:bubble3D val="0"/>
            <c:spPr>
              <a:solidFill>
                <a:srgbClr val="2FCEFF"/>
              </a:solidFill>
              <a:ln w="6350">
                <a:solidFill>
                  <a:srgbClr val="FFFFFF"/>
                </a:solidFill>
              </a:ln>
              <a:effectLst/>
            </c:spPr>
            <c:extLst>
              <c:ext xmlns:c16="http://schemas.microsoft.com/office/drawing/2014/chart" uri="{C3380CC4-5D6E-409C-BE32-E72D297353CC}">
                <c16:uniqueId val="{00000009-524E-4DD9-B245-84755F528799}"/>
              </c:ext>
            </c:extLst>
          </c:dPt>
          <c:dPt>
            <c:idx val="5"/>
            <c:bubble3D val="0"/>
            <c:spPr>
              <a:solidFill>
                <a:srgbClr val="97E7FF"/>
              </a:solidFill>
              <a:ln w="6350">
                <a:solidFill>
                  <a:srgbClr val="FFFFFF"/>
                </a:solidFill>
              </a:ln>
              <a:effectLst/>
            </c:spPr>
            <c:extLst>
              <c:ext xmlns:c16="http://schemas.microsoft.com/office/drawing/2014/chart" uri="{C3380CC4-5D6E-409C-BE32-E72D297353CC}">
                <c16:uniqueId val="{0000000B-524E-4DD9-B245-84755F528799}"/>
              </c:ext>
            </c:extLst>
          </c:dPt>
          <c:dPt>
            <c:idx val="6"/>
            <c:bubble3D val="0"/>
            <c:spPr>
              <a:solidFill>
                <a:srgbClr val="2DB4B4"/>
              </a:solidFill>
              <a:ln w="6350">
                <a:solidFill>
                  <a:srgbClr val="FFFFFF"/>
                </a:solidFill>
              </a:ln>
              <a:effectLst/>
            </c:spPr>
            <c:extLst>
              <c:ext xmlns:c16="http://schemas.microsoft.com/office/drawing/2014/chart" uri="{C3380CC4-5D6E-409C-BE32-E72D297353CC}">
                <c16:uniqueId val="{0000000D-524E-4DD9-B245-84755F528799}"/>
              </c:ext>
            </c:extLst>
          </c:dPt>
          <c:dPt>
            <c:idx val="7"/>
            <c:bubble3D val="0"/>
            <c:spPr>
              <a:solidFill>
                <a:srgbClr val="75DDDD"/>
              </a:solidFill>
              <a:ln w="6350">
                <a:solidFill>
                  <a:srgbClr val="FFFFFF"/>
                </a:solidFill>
              </a:ln>
              <a:effectLst/>
            </c:spPr>
            <c:extLst>
              <c:ext xmlns:c16="http://schemas.microsoft.com/office/drawing/2014/chart" uri="{C3380CC4-5D6E-409C-BE32-E72D297353CC}">
                <c16:uniqueId val="{0000000F-524E-4DD9-B245-84755F528799}"/>
              </c:ext>
            </c:extLst>
          </c:dPt>
          <c:dPt>
            <c:idx val="8"/>
            <c:bubble3D val="0"/>
            <c:spPr>
              <a:solidFill>
                <a:srgbClr val="ABEAEA"/>
              </a:solidFill>
              <a:ln w="6350">
                <a:solidFill>
                  <a:srgbClr val="FFFFFF"/>
                </a:solidFill>
              </a:ln>
              <a:effectLst/>
            </c:spPr>
            <c:extLst>
              <c:ext xmlns:c16="http://schemas.microsoft.com/office/drawing/2014/chart" uri="{C3380CC4-5D6E-409C-BE32-E72D297353CC}">
                <c16:uniqueId val="{00000010-4B83-44EE-A687-1F89316E6851}"/>
              </c:ext>
            </c:extLst>
          </c:dPt>
          <c:dPt>
            <c:idx val="9"/>
            <c:bubble3D val="0"/>
            <c:spPr>
              <a:solidFill>
                <a:srgbClr val="CFF3F3"/>
              </a:solidFill>
              <a:ln w="6350">
                <a:solidFill>
                  <a:srgbClr val="FFFFFF"/>
                </a:solidFill>
              </a:ln>
              <a:effectLst/>
            </c:spPr>
            <c:extLst>
              <c:ext xmlns:c16="http://schemas.microsoft.com/office/drawing/2014/chart" uri="{C3380CC4-5D6E-409C-BE32-E72D297353CC}">
                <c16:uniqueId val="{0000000F-4B83-44EE-A687-1F89316E6851}"/>
              </c:ext>
            </c:extLst>
          </c:dPt>
          <c:dPt>
            <c:idx val="10"/>
            <c:bubble3D val="0"/>
            <c:spPr>
              <a:solidFill>
                <a:srgbClr val="FF6120"/>
              </a:solidFill>
              <a:ln w="6350">
                <a:solidFill>
                  <a:srgbClr val="FFFFFF"/>
                </a:solidFill>
              </a:ln>
              <a:effectLst/>
            </c:spPr>
            <c:extLst>
              <c:ext xmlns:c16="http://schemas.microsoft.com/office/drawing/2014/chart" uri="{C3380CC4-5D6E-409C-BE32-E72D297353CC}">
                <c16:uniqueId val="{0000000E-4B83-44EE-A687-1F89316E6851}"/>
              </c:ext>
            </c:extLst>
          </c:dPt>
          <c:dPt>
            <c:idx val="11"/>
            <c:bubble3D val="0"/>
            <c:spPr>
              <a:solidFill>
                <a:schemeClr val="accent6">
                  <a:lumMod val="60000"/>
                </a:schemeClr>
              </a:solidFill>
              <a:ln w="6350">
                <a:solidFill>
                  <a:srgbClr val="FFFFFF"/>
                </a:solidFill>
              </a:ln>
              <a:effectLst/>
            </c:spPr>
            <c:extLst>
              <c:ext xmlns:c16="http://schemas.microsoft.com/office/drawing/2014/chart" uri="{C3380CC4-5D6E-409C-BE32-E72D297353CC}">
                <c16:uniqueId val="{00000017-4D1A-43A6-8F63-7FE638BA856B}"/>
              </c:ext>
            </c:extLst>
          </c:dPt>
          <c:cat>
            <c:strRef>
              <c:f>Sheet1!$A$2:$A$13</c:f>
              <c:strCache>
                <c:ptCount val="12"/>
                <c:pt idx="0">
                  <c:v>North American Equity</c:v>
                </c:pt>
                <c:pt idx="1">
                  <c:v>Europe ex UK Equity</c:v>
                </c:pt>
                <c:pt idx="2">
                  <c:v>UK Equity</c:v>
                </c:pt>
                <c:pt idx="3">
                  <c:v>EM Equity</c:v>
                </c:pt>
                <c:pt idx="4">
                  <c:v>Pacific ex Japan Equity</c:v>
                </c:pt>
                <c:pt idx="5">
                  <c:v>Japan Equity</c:v>
                </c:pt>
                <c:pt idx="6">
                  <c:v>Sovereign</c:v>
                </c:pt>
                <c:pt idx="7">
                  <c:v>IG</c:v>
                </c:pt>
                <c:pt idx="8">
                  <c:v>HY</c:v>
                </c:pt>
                <c:pt idx="9">
                  <c:v>EMD</c:v>
                </c:pt>
                <c:pt idx="10">
                  <c:v>Cash</c:v>
                </c:pt>
                <c:pt idx="11">
                  <c:v>Derivatives</c:v>
                </c:pt>
              </c:strCache>
            </c:strRef>
          </c:cat>
          <c:val>
            <c:numRef>
              <c:f>Sheet1!$B$2:$B$13</c:f>
              <c:numCache>
                <c:formatCode>#,##0.00;"-"#,##0.00;"--"</c:formatCode>
                <c:ptCount val="12"/>
                <c:pt idx="0">
                  <c:v>37.049999999999997</c:v>
                </c:pt>
                <c:pt idx="1">
                  <c:v>18.84</c:v>
                </c:pt>
                <c:pt idx="2">
                  <c:v>5.93</c:v>
                </c:pt>
                <c:pt idx="3">
                  <c:v>8.8000000000000007</c:v>
                </c:pt>
                <c:pt idx="4">
                  <c:v>2.7</c:v>
                </c:pt>
                <c:pt idx="5">
                  <c:v>0.31</c:v>
                </c:pt>
                <c:pt idx="6">
                  <c:v>10.02</c:v>
                </c:pt>
                <c:pt idx="7">
                  <c:v>4.99</c:v>
                </c:pt>
                <c:pt idx="8">
                  <c:v>2.4700000000000002</c:v>
                </c:pt>
                <c:pt idx="9">
                  <c:v>3.3</c:v>
                </c:pt>
                <c:pt idx="10">
                  <c:v>5.59</c:v>
                </c:pt>
                <c:pt idx="11">
                  <c:v>0</c:v>
                </c:pt>
              </c:numCache>
            </c:numRef>
          </c:val>
          <c:extLst>
            <c:ext xmlns:c16="http://schemas.microsoft.com/office/drawing/2014/chart" uri="{C3380CC4-5D6E-409C-BE32-E72D297353CC}">
              <c16:uniqueId val="{00000000-DB89-4B08-BB0C-4D92E07AF8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86088131605758"/>
          <c:y val="9.5571330596332257E-2"/>
          <c:w val="0.54813069552340177"/>
          <c:h val="0.82219575544275669"/>
        </c:manualLayout>
      </c:layout>
      <c:pieChart>
        <c:varyColors val="1"/>
        <c:ser>
          <c:idx val="0"/>
          <c:order val="0"/>
          <c:tx>
            <c:strRef>
              <c:f>Sheet1!$B$1</c:f>
              <c:strCache>
                <c:ptCount val="1"/>
                <c:pt idx="0">
                  <c:v>FL7</c:v>
                </c:pt>
              </c:strCache>
            </c:strRef>
          </c:tx>
          <c:spPr>
            <a:ln w="6350">
              <a:solidFill>
                <a:srgbClr val="FFFFFF"/>
              </a:solidFill>
            </a:ln>
          </c:spPr>
          <c:dPt>
            <c:idx val="0"/>
            <c:bubble3D val="0"/>
            <c:spPr>
              <a:solidFill>
                <a:srgbClr val="00243D"/>
              </a:solidFill>
              <a:ln w="6350">
                <a:solidFill>
                  <a:srgbClr val="FFFFFF"/>
                </a:solidFill>
              </a:ln>
              <a:effectLst/>
            </c:spPr>
            <c:extLst>
              <c:ext xmlns:c16="http://schemas.microsoft.com/office/drawing/2014/chart" uri="{C3380CC4-5D6E-409C-BE32-E72D297353CC}">
                <c16:uniqueId val="{00000005-CD91-4B49-8C45-6D068875CB3C}"/>
              </c:ext>
            </c:extLst>
          </c:dPt>
          <c:dPt>
            <c:idx val="1"/>
            <c:bubble3D val="0"/>
            <c:spPr>
              <a:solidFill>
                <a:srgbClr val="00485E"/>
              </a:solidFill>
              <a:ln w="6350">
                <a:solidFill>
                  <a:srgbClr val="FFFFFF"/>
                </a:solidFill>
              </a:ln>
              <a:effectLst/>
            </c:spPr>
            <c:extLst>
              <c:ext xmlns:c16="http://schemas.microsoft.com/office/drawing/2014/chart" uri="{C3380CC4-5D6E-409C-BE32-E72D297353CC}">
                <c16:uniqueId val="{00000001-DB89-4B08-BB0C-4D92E07AF8FE}"/>
              </c:ext>
            </c:extLst>
          </c:dPt>
          <c:dPt>
            <c:idx val="2"/>
            <c:bubble3D val="0"/>
            <c:spPr>
              <a:solidFill>
                <a:srgbClr val="006888"/>
              </a:solidFill>
              <a:ln w="6350">
                <a:solidFill>
                  <a:srgbClr val="FFFFFF"/>
                </a:solidFill>
              </a:ln>
              <a:effectLst/>
            </c:spPr>
            <c:extLst>
              <c:ext xmlns:c16="http://schemas.microsoft.com/office/drawing/2014/chart" uri="{C3380CC4-5D6E-409C-BE32-E72D297353CC}">
                <c16:uniqueId val="{00000009-CD91-4B49-8C45-6D068875CB3C}"/>
              </c:ext>
            </c:extLst>
          </c:dPt>
          <c:dPt>
            <c:idx val="3"/>
            <c:bubble3D val="0"/>
            <c:spPr>
              <a:solidFill>
                <a:srgbClr val="0098C6"/>
              </a:solidFill>
              <a:ln w="6350">
                <a:solidFill>
                  <a:srgbClr val="FFFFFF"/>
                </a:solidFill>
              </a:ln>
              <a:effectLst/>
            </c:spPr>
            <c:extLst>
              <c:ext xmlns:c16="http://schemas.microsoft.com/office/drawing/2014/chart" uri="{C3380CC4-5D6E-409C-BE32-E72D297353CC}">
                <c16:uniqueId val="{0000000B-CD91-4B49-8C45-6D068875CB3C}"/>
              </c:ext>
            </c:extLst>
          </c:dPt>
          <c:dPt>
            <c:idx val="4"/>
            <c:bubble3D val="0"/>
            <c:spPr>
              <a:solidFill>
                <a:srgbClr val="2FCEFF"/>
              </a:solidFill>
              <a:ln w="6350">
                <a:solidFill>
                  <a:srgbClr val="FFFFFF"/>
                </a:solidFill>
              </a:ln>
              <a:effectLst/>
            </c:spPr>
            <c:extLst>
              <c:ext xmlns:c16="http://schemas.microsoft.com/office/drawing/2014/chart" uri="{C3380CC4-5D6E-409C-BE32-E72D297353CC}">
                <c16:uniqueId val="{00000009-524E-4DD9-B245-84755F528799}"/>
              </c:ext>
            </c:extLst>
          </c:dPt>
          <c:dPt>
            <c:idx val="5"/>
            <c:bubble3D val="0"/>
            <c:spPr>
              <a:solidFill>
                <a:srgbClr val="97E7FF"/>
              </a:solidFill>
              <a:ln w="6350">
                <a:solidFill>
                  <a:srgbClr val="FFFFFF"/>
                </a:solidFill>
              </a:ln>
              <a:effectLst/>
            </c:spPr>
            <c:extLst>
              <c:ext xmlns:c16="http://schemas.microsoft.com/office/drawing/2014/chart" uri="{C3380CC4-5D6E-409C-BE32-E72D297353CC}">
                <c16:uniqueId val="{0000000B-524E-4DD9-B245-84755F528799}"/>
              </c:ext>
            </c:extLst>
          </c:dPt>
          <c:dPt>
            <c:idx val="6"/>
            <c:bubble3D val="0"/>
            <c:spPr>
              <a:solidFill>
                <a:srgbClr val="2DB4B4"/>
              </a:solidFill>
              <a:ln w="6350">
                <a:solidFill>
                  <a:srgbClr val="FFFFFF"/>
                </a:solidFill>
              </a:ln>
              <a:effectLst/>
            </c:spPr>
            <c:extLst>
              <c:ext xmlns:c16="http://schemas.microsoft.com/office/drawing/2014/chart" uri="{C3380CC4-5D6E-409C-BE32-E72D297353CC}">
                <c16:uniqueId val="{0000000D-524E-4DD9-B245-84755F528799}"/>
              </c:ext>
            </c:extLst>
          </c:dPt>
          <c:dPt>
            <c:idx val="7"/>
            <c:bubble3D val="0"/>
            <c:spPr>
              <a:solidFill>
                <a:srgbClr val="75DDDD"/>
              </a:solidFill>
              <a:ln w="6350">
                <a:solidFill>
                  <a:srgbClr val="FFFFFF"/>
                </a:solidFill>
              </a:ln>
              <a:effectLst/>
            </c:spPr>
            <c:extLst>
              <c:ext xmlns:c16="http://schemas.microsoft.com/office/drawing/2014/chart" uri="{C3380CC4-5D6E-409C-BE32-E72D297353CC}">
                <c16:uniqueId val="{0000000F-524E-4DD9-B245-84755F528799}"/>
              </c:ext>
            </c:extLst>
          </c:dPt>
          <c:dPt>
            <c:idx val="8"/>
            <c:bubble3D val="0"/>
            <c:spPr>
              <a:solidFill>
                <a:srgbClr val="ABEAEA"/>
              </a:solidFill>
              <a:ln w="6350">
                <a:solidFill>
                  <a:srgbClr val="FFFFFF"/>
                </a:solidFill>
              </a:ln>
              <a:effectLst/>
            </c:spPr>
            <c:extLst>
              <c:ext xmlns:c16="http://schemas.microsoft.com/office/drawing/2014/chart" uri="{C3380CC4-5D6E-409C-BE32-E72D297353CC}">
                <c16:uniqueId val="{00000010-4B83-44EE-A687-1F89316E6851}"/>
              </c:ext>
            </c:extLst>
          </c:dPt>
          <c:dPt>
            <c:idx val="9"/>
            <c:bubble3D val="0"/>
            <c:spPr>
              <a:solidFill>
                <a:srgbClr val="CFF3F3"/>
              </a:solidFill>
              <a:ln w="6350">
                <a:solidFill>
                  <a:srgbClr val="FFFFFF"/>
                </a:solidFill>
              </a:ln>
              <a:effectLst/>
            </c:spPr>
            <c:extLst>
              <c:ext xmlns:c16="http://schemas.microsoft.com/office/drawing/2014/chart" uri="{C3380CC4-5D6E-409C-BE32-E72D297353CC}">
                <c16:uniqueId val="{0000000F-4B83-44EE-A687-1F89316E6851}"/>
              </c:ext>
            </c:extLst>
          </c:dPt>
          <c:dPt>
            <c:idx val="10"/>
            <c:bubble3D val="0"/>
            <c:spPr>
              <a:solidFill>
                <a:srgbClr val="FF6120"/>
              </a:solidFill>
              <a:ln w="6350">
                <a:solidFill>
                  <a:srgbClr val="FFFFFF"/>
                </a:solidFill>
              </a:ln>
              <a:effectLst/>
            </c:spPr>
            <c:extLst>
              <c:ext xmlns:c16="http://schemas.microsoft.com/office/drawing/2014/chart" uri="{C3380CC4-5D6E-409C-BE32-E72D297353CC}">
                <c16:uniqueId val="{0000000E-4B83-44EE-A687-1F89316E6851}"/>
              </c:ext>
            </c:extLst>
          </c:dPt>
          <c:dPt>
            <c:idx val="11"/>
            <c:bubble3D val="0"/>
            <c:spPr>
              <a:solidFill>
                <a:schemeClr val="accent6">
                  <a:lumMod val="60000"/>
                </a:schemeClr>
              </a:solidFill>
              <a:ln w="6350">
                <a:solidFill>
                  <a:srgbClr val="FFFFFF"/>
                </a:solidFill>
              </a:ln>
              <a:effectLst/>
            </c:spPr>
            <c:extLst>
              <c:ext xmlns:c16="http://schemas.microsoft.com/office/drawing/2014/chart" uri="{C3380CC4-5D6E-409C-BE32-E72D297353CC}">
                <c16:uniqueId val="{00000017-B90C-446B-A3C8-D79F57E21C3E}"/>
              </c:ext>
            </c:extLst>
          </c:dPt>
          <c:cat>
            <c:strRef>
              <c:f>Sheet1!$A$2:$A$13</c:f>
              <c:strCache>
                <c:ptCount val="12"/>
                <c:pt idx="0">
                  <c:v>North American Equity</c:v>
                </c:pt>
                <c:pt idx="1">
                  <c:v>Europe ex UK Equity</c:v>
                </c:pt>
                <c:pt idx="2">
                  <c:v>UK Equity</c:v>
                </c:pt>
                <c:pt idx="3">
                  <c:v>EM Equity</c:v>
                </c:pt>
                <c:pt idx="4">
                  <c:v>Pacific ex Japan Equity</c:v>
                </c:pt>
                <c:pt idx="5">
                  <c:v>Japan Equity</c:v>
                </c:pt>
                <c:pt idx="6">
                  <c:v>Sovereign</c:v>
                </c:pt>
                <c:pt idx="7">
                  <c:v>IG</c:v>
                </c:pt>
                <c:pt idx="8">
                  <c:v>HY</c:v>
                </c:pt>
                <c:pt idx="9">
                  <c:v>EMD</c:v>
                </c:pt>
                <c:pt idx="10">
                  <c:v>Cash</c:v>
                </c:pt>
                <c:pt idx="11">
                  <c:v>Derivatives</c:v>
                </c:pt>
              </c:strCache>
            </c:strRef>
          </c:cat>
          <c:val>
            <c:numRef>
              <c:f>Sheet1!$B$2:$B$13</c:f>
              <c:numCache>
                <c:formatCode>#,##0.00;"-"#,##0.00;"--"</c:formatCode>
                <c:ptCount val="12"/>
                <c:pt idx="0">
                  <c:v>44.95</c:v>
                </c:pt>
                <c:pt idx="1">
                  <c:v>22.58</c:v>
                </c:pt>
                <c:pt idx="2">
                  <c:v>7.26</c:v>
                </c:pt>
                <c:pt idx="3">
                  <c:v>10.94</c:v>
                </c:pt>
                <c:pt idx="4">
                  <c:v>3.31</c:v>
                </c:pt>
                <c:pt idx="5">
                  <c:v>0.37</c:v>
                </c:pt>
                <c:pt idx="6">
                  <c:v>3.84</c:v>
                </c:pt>
                <c:pt idx="7">
                  <c:v>2.36</c:v>
                </c:pt>
                <c:pt idx="8">
                  <c:v>1.5</c:v>
                </c:pt>
                <c:pt idx="9">
                  <c:v>1.34</c:v>
                </c:pt>
                <c:pt idx="10">
                  <c:v>1.56</c:v>
                </c:pt>
                <c:pt idx="11">
                  <c:v>0</c:v>
                </c:pt>
              </c:numCache>
            </c:numRef>
          </c:val>
          <c:extLst>
            <c:ext xmlns:c16="http://schemas.microsoft.com/office/drawing/2014/chart" uri="{C3380CC4-5D6E-409C-BE32-E72D297353CC}">
              <c16:uniqueId val="{00000000-DB89-4B08-BB0C-4D92E07AF8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13215995059434E-2"/>
          <c:y val="2.6594134670261286E-2"/>
          <c:w val="0.88423356922966079"/>
          <c:h val="0.80476688022608422"/>
        </c:manualLayout>
      </c:layout>
      <c:lineChart>
        <c:grouping val="standard"/>
        <c:varyColors val="0"/>
        <c:ser>
          <c:idx val="0"/>
          <c:order val="0"/>
          <c:tx>
            <c:strRef>
              <c:f>Data!$G$8</c:f>
              <c:strCache>
                <c:ptCount val="1"/>
                <c:pt idx="0">
                  <c:v>Balanced Portfolio</c:v>
                </c:pt>
              </c:strCache>
            </c:strRef>
          </c:tx>
          <c:spPr>
            <a:ln w="28575" cap="rnd">
              <a:solidFill>
                <a:schemeClr val="accent2"/>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G$9:$G$4758</c:f>
              <c:numCache>
                <c:formatCode>#,##0</c:formatCode>
                <c:ptCount val="4750"/>
                <c:pt idx="0">
                  <c:v>100000</c:v>
                </c:pt>
                <c:pt idx="1">
                  <c:v>99454.964323662483</c:v>
                </c:pt>
                <c:pt idx="2">
                  <c:v>98224.213416720624</c:v>
                </c:pt>
                <c:pt idx="3">
                  <c:v>98224.21341672061</c:v>
                </c:pt>
                <c:pt idx="4">
                  <c:v>98224.21341672061</c:v>
                </c:pt>
                <c:pt idx="5">
                  <c:v>96723.373268681258</c:v>
                </c:pt>
                <c:pt idx="6">
                  <c:v>96965.606124014841</c:v>
                </c:pt>
                <c:pt idx="7">
                  <c:v>98518.227554383484</c:v>
                </c:pt>
                <c:pt idx="8">
                  <c:v>98478.108410056724</c:v>
                </c:pt>
                <c:pt idx="9">
                  <c:v>97270.546406942813</c:v>
                </c:pt>
                <c:pt idx="10">
                  <c:v>97270.546406942813</c:v>
                </c:pt>
                <c:pt idx="11">
                  <c:v>97270.546406942813</c:v>
                </c:pt>
                <c:pt idx="12">
                  <c:v>96054.668467677897</c:v>
                </c:pt>
                <c:pt idx="13">
                  <c:v>96383.277693637399</c:v>
                </c:pt>
                <c:pt idx="14">
                  <c:v>96755.373105665873</c:v>
                </c:pt>
                <c:pt idx="15">
                  <c:v>97618.134865571337</c:v>
                </c:pt>
                <c:pt idx="16">
                  <c:v>98087.690726061381</c:v>
                </c:pt>
                <c:pt idx="17">
                  <c:v>98087.690726061381</c:v>
                </c:pt>
                <c:pt idx="18">
                  <c:v>98087.690726061381</c:v>
                </c:pt>
                <c:pt idx="19">
                  <c:v>97305.820638768462</c:v>
                </c:pt>
                <c:pt idx="20">
                  <c:v>98122.286407621024</c:v>
                </c:pt>
                <c:pt idx="21">
                  <c:v>97498.998435405432</c:v>
                </c:pt>
                <c:pt idx="22">
                  <c:v>95110.38802255613</c:v>
                </c:pt>
                <c:pt idx="23">
                  <c:v>94587.307576406936</c:v>
                </c:pt>
                <c:pt idx="24">
                  <c:v>94587.307576406936</c:v>
                </c:pt>
                <c:pt idx="25">
                  <c:v>94587.307576406936</c:v>
                </c:pt>
                <c:pt idx="26">
                  <c:v>94311.332856453329</c:v>
                </c:pt>
                <c:pt idx="27">
                  <c:v>95994.106296466474</c:v>
                </c:pt>
                <c:pt idx="28">
                  <c:v>95417.013372760499</c:v>
                </c:pt>
                <c:pt idx="29">
                  <c:v>95332.385523674457</c:v>
                </c:pt>
                <c:pt idx="30">
                  <c:v>94687.579861767692</c:v>
                </c:pt>
                <c:pt idx="31">
                  <c:v>93695.718625430178</c:v>
                </c:pt>
                <c:pt idx="32">
                  <c:v>93695.718625430192</c:v>
                </c:pt>
                <c:pt idx="33">
                  <c:v>92880.344845188709</c:v>
                </c:pt>
                <c:pt idx="34">
                  <c:v>91999.218921113454</c:v>
                </c:pt>
                <c:pt idx="35">
                  <c:v>93214.861180237742</c:v>
                </c:pt>
                <c:pt idx="36">
                  <c:v>95254.924532513673</c:v>
                </c:pt>
                <c:pt idx="37">
                  <c:v>94680.427661062509</c:v>
                </c:pt>
                <c:pt idx="38">
                  <c:v>94680.427661062524</c:v>
                </c:pt>
                <c:pt idx="39">
                  <c:v>94680.427661062524</c:v>
                </c:pt>
                <c:pt idx="40">
                  <c:v>95848.837538161228</c:v>
                </c:pt>
                <c:pt idx="41">
                  <c:v>96147.985114827141</c:v>
                </c:pt>
                <c:pt idx="42">
                  <c:v>96665.800761089384</c:v>
                </c:pt>
                <c:pt idx="43">
                  <c:v>96315.52565875712</c:v>
                </c:pt>
                <c:pt idx="44">
                  <c:v>97068.356220386035</c:v>
                </c:pt>
                <c:pt idx="45">
                  <c:v>97068.356220386049</c:v>
                </c:pt>
                <c:pt idx="46">
                  <c:v>97068.356220386049</c:v>
                </c:pt>
                <c:pt idx="47">
                  <c:v>96687.712465371776</c:v>
                </c:pt>
                <c:pt idx="48">
                  <c:v>96835.466121913953</c:v>
                </c:pt>
                <c:pt idx="49">
                  <c:v>96427.222641620916</c:v>
                </c:pt>
                <c:pt idx="50">
                  <c:v>95862.985883947957</c:v>
                </c:pt>
                <c:pt idx="51">
                  <c:v>96502.750201426941</c:v>
                </c:pt>
                <c:pt idx="52">
                  <c:v>96502.750201426941</c:v>
                </c:pt>
                <c:pt idx="53">
                  <c:v>96502.750201426941</c:v>
                </c:pt>
                <c:pt idx="54">
                  <c:v>97231.582783196718</c:v>
                </c:pt>
                <c:pt idx="55">
                  <c:v>97108.84127927557</c:v>
                </c:pt>
                <c:pt idx="56">
                  <c:v>97516.473644524507</c:v>
                </c:pt>
                <c:pt idx="57">
                  <c:v>99451.185074029039</c:v>
                </c:pt>
                <c:pt idx="58">
                  <c:v>99293.603239182165</c:v>
                </c:pt>
                <c:pt idx="59">
                  <c:v>99293.603239182165</c:v>
                </c:pt>
                <c:pt idx="60">
                  <c:v>99293.603239182165</c:v>
                </c:pt>
                <c:pt idx="61">
                  <c:v>97627.630936395959</c:v>
                </c:pt>
                <c:pt idx="62">
                  <c:v>95148.848845369852</c:v>
                </c:pt>
                <c:pt idx="63">
                  <c:v>95996.498160017742</c:v>
                </c:pt>
                <c:pt idx="64">
                  <c:v>97017.929699389788</c:v>
                </c:pt>
                <c:pt idx="65">
                  <c:v>96726.723727967095</c:v>
                </c:pt>
                <c:pt idx="66">
                  <c:v>96726.723727967095</c:v>
                </c:pt>
                <c:pt idx="67">
                  <c:v>96726.723727967095</c:v>
                </c:pt>
                <c:pt idx="68">
                  <c:v>96805.462240919398</c:v>
                </c:pt>
                <c:pt idx="69">
                  <c:v>97204.675053352301</c:v>
                </c:pt>
                <c:pt idx="70">
                  <c:v>96217.704663467171</c:v>
                </c:pt>
                <c:pt idx="71">
                  <c:v>96289.246308240254</c:v>
                </c:pt>
                <c:pt idx="72">
                  <c:v>97004.242636292955</c:v>
                </c:pt>
                <c:pt idx="73">
                  <c:v>97004.242636292955</c:v>
                </c:pt>
                <c:pt idx="74">
                  <c:v>97004.242636292955</c:v>
                </c:pt>
                <c:pt idx="75">
                  <c:v>97045.472165232597</c:v>
                </c:pt>
                <c:pt idx="76">
                  <c:v>97062.030044284329</c:v>
                </c:pt>
                <c:pt idx="77">
                  <c:v>96813.869174050371</c:v>
                </c:pt>
                <c:pt idx="78">
                  <c:v>95944.184543011303</c:v>
                </c:pt>
                <c:pt idx="79">
                  <c:v>95333.525483058824</c:v>
                </c:pt>
                <c:pt idx="80">
                  <c:v>95333.525483058824</c:v>
                </c:pt>
                <c:pt idx="81">
                  <c:v>95333.525483058824</c:v>
                </c:pt>
                <c:pt idx="82">
                  <c:v>94371.637857657144</c:v>
                </c:pt>
                <c:pt idx="83">
                  <c:v>94331.837950030764</c:v>
                </c:pt>
                <c:pt idx="84">
                  <c:v>93670.791974243548</c:v>
                </c:pt>
                <c:pt idx="85">
                  <c:v>93338.192582803371</c:v>
                </c:pt>
                <c:pt idx="86">
                  <c:v>93342.615095709043</c:v>
                </c:pt>
                <c:pt idx="87">
                  <c:v>93342.615095709043</c:v>
                </c:pt>
                <c:pt idx="88">
                  <c:v>93342.615095709043</c:v>
                </c:pt>
                <c:pt idx="89">
                  <c:v>94908.558809339185</c:v>
                </c:pt>
                <c:pt idx="90">
                  <c:v>95087.475944722581</c:v>
                </c:pt>
                <c:pt idx="91">
                  <c:v>96952.993426870526</c:v>
                </c:pt>
                <c:pt idx="92">
                  <c:v>96090.937589438981</c:v>
                </c:pt>
                <c:pt idx="93">
                  <c:v>96260.43618023592</c:v>
                </c:pt>
                <c:pt idx="94">
                  <c:v>96260.436180235934</c:v>
                </c:pt>
                <c:pt idx="95">
                  <c:v>96260.436180235934</c:v>
                </c:pt>
                <c:pt idx="96">
                  <c:v>96279.226024857431</c:v>
                </c:pt>
                <c:pt idx="97">
                  <c:v>96305.168712635816</c:v>
                </c:pt>
                <c:pt idx="98">
                  <c:v>96079.548911887759</c:v>
                </c:pt>
                <c:pt idx="99">
                  <c:v>95357.470460165743</c:v>
                </c:pt>
                <c:pt idx="100">
                  <c:v>95831.06129655629</c:v>
                </c:pt>
                <c:pt idx="101">
                  <c:v>95831.06129655629</c:v>
                </c:pt>
                <c:pt idx="102">
                  <c:v>95831.06129655629</c:v>
                </c:pt>
                <c:pt idx="103">
                  <c:v>94620.051553943427</c:v>
                </c:pt>
                <c:pt idx="104">
                  <c:v>94698.618055304556</c:v>
                </c:pt>
                <c:pt idx="105">
                  <c:v>93806.667056198581</c:v>
                </c:pt>
                <c:pt idx="106">
                  <c:v>93847.434955287201</c:v>
                </c:pt>
                <c:pt idx="107">
                  <c:v>93803.985910934556</c:v>
                </c:pt>
                <c:pt idx="108">
                  <c:v>93803.985910934556</c:v>
                </c:pt>
                <c:pt idx="109">
                  <c:v>93803.985910934556</c:v>
                </c:pt>
                <c:pt idx="110">
                  <c:v>93536.937444654002</c:v>
                </c:pt>
                <c:pt idx="111">
                  <c:v>94000.304747455652</c:v>
                </c:pt>
                <c:pt idx="112">
                  <c:v>93916.12383674251</c:v>
                </c:pt>
                <c:pt idx="113">
                  <c:v>94100.063336215855</c:v>
                </c:pt>
                <c:pt idx="114">
                  <c:v>94667.412661383394</c:v>
                </c:pt>
                <c:pt idx="115">
                  <c:v>94667.41266138338</c:v>
                </c:pt>
                <c:pt idx="116">
                  <c:v>94667.41266138338</c:v>
                </c:pt>
                <c:pt idx="117">
                  <c:v>94692.706818972147</c:v>
                </c:pt>
                <c:pt idx="118">
                  <c:v>94672.29970735684</c:v>
                </c:pt>
                <c:pt idx="119">
                  <c:v>94694.645276527372</c:v>
                </c:pt>
                <c:pt idx="120">
                  <c:v>95300.185147502067</c:v>
                </c:pt>
                <c:pt idx="121">
                  <c:v>95260.546121912077</c:v>
                </c:pt>
                <c:pt idx="122">
                  <c:v>95261.913720416414</c:v>
                </c:pt>
                <c:pt idx="123">
                  <c:v>94270.0524840789</c:v>
                </c:pt>
                <c:pt idx="124">
                  <c:v>94410.527258792092</c:v>
                </c:pt>
                <c:pt idx="125">
                  <c:v>95348.314767716918</c:v>
                </c:pt>
                <c:pt idx="126">
                  <c:v>95165.350791160832</c:v>
                </c:pt>
                <c:pt idx="127">
                  <c:v>95055.179939154536</c:v>
                </c:pt>
                <c:pt idx="128">
                  <c:v>95305.704519746767</c:v>
                </c:pt>
                <c:pt idx="129">
                  <c:v>95305.704519746767</c:v>
                </c:pt>
                <c:pt idx="130">
                  <c:v>95305.704519746767</c:v>
                </c:pt>
                <c:pt idx="131">
                  <c:v>95110.820003200555</c:v>
                </c:pt>
                <c:pt idx="132">
                  <c:v>95800.717806458662</c:v>
                </c:pt>
                <c:pt idx="133">
                  <c:v>96066.789067851976</c:v>
                </c:pt>
                <c:pt idx="134">
                  <c:v>96260.800511547</c:v>
                </c:pt>
                <c:pt idx="135">
                  <c:v>95843.29570329182</c:v>
                </c:pt>
                <c:pt idx="136">
                  <c:v>95843.295703291806</c:v>
                </c:pt>
                <c:pt idx="137">
                  <c:v>95843.295703291806</c:v>
                </c:pt>
                <c:pt idx="138">
                  <c:v>96003.451383904729</c:v>
                </c:pt>
                <c:pt idx="139">
                  <c:v>96338.163000995948</c:v>
                </c:pt>
                <c:pt idx="140">
                  <c:v>96487.556796505523</c:v>
                </c:pt>
                <c:pt idx="141">
                  <c:v>96476.768320156247</c:v>
                </c:pt>
                <c:pt idx="142">
                  <c:v>96141.186520011222</c:v>
                </c:pt>
                <c:pt idx="143">
                  <c:v>96141.186520011222</c:v>
                </c:pt>
                <c:pt idx="144">
                  <c:v>96141.186520011222</c:v>
                </c:pt>
                <c:pt idx="145">
                  <c:v>96394.025986350534</c:v>
                </c:pt>
                <c:pt idx="146">
                  <c:v>96051.38741563425</c:v>
                </c:pt>
                <c:pt idx="147">
                  <c:v>96133.205946883201</c:v>
                </c:pt>
                <c:pt idx="148">
                  <c:v>96635.732571516739</c:v>
                </c:pt>
                <c:pt idx="149">
                  <c:v>96609.768908086655</c:v>
                </c:pt>
                <c:pt idx="150">
                  <c:v>96609.768908086655</c:v>
                </c:pt>
                <c:pt idx="151">
                  <c:v>96609.768908086655</c:v>
                </c:pt>
                <c:pt idx="152">
                  <c:v>96199.90218569657</c:v>
                </c:pt>
                <c:pt idx="153">
                  <c:v>95944.659699022479</c:v>
                </c:pt>
                <c:pt idx="154">
                  <c:v>95575.420336543786</c:v>
                </c:pt>
                <c:pt idx="155">
                  <c:v>95746.326487256607</c:v>
                </c:pt>
                <c:pt idx="156">
                  <c:v>96250.68433673821</c:v>
                </c:pt>
                <c:pt idx="157">
                  <c:v>96250.68433673821</c:v>
                </c:pt>
                <c:pt idx="158">
                  <c:v>96250.68433673821</c:v>
                </c:pt>
                <c:pt idx="159">
                  <c:v>96093.896312859535</c:v>
                </c:pt>
                <c:pt idx="160">
                  <c:v>96128.69280638764</c:v>
                </c:pt>
                <c:pt idx="161">
                  <c:v>96194.474074615558</c:v>
                </c:pt>
                <c:pt idx="162">
                  <c:v>96370.702986003773</c:v>
                </c:pt>
                <c:pt idx="163">
                  <c:v>96047.986663478368</c:v>
                </c:pt>
                <c:pt idx="164">
                  <c:v>96047.986663478368</c:v>
                </c:pt>
                <c:pt idx="165">
                  <c:v>96047.986663478368</c:v>
                </c:pt>
                <c:pt idx="166">
                  <c:v>96473.864953902434</c:v>
                </c:pt>
                <c:pt idx="167">
                  <c:v>96581.503642773576</c:v>
                </c:pt>
                <c:pt idx="168">
                  <c:v>96565.838402969064</c:v>
                </c:pt>
                <c:pt idx="169">
                  <c:v>96534.855041272647</c:v>
                </c:pt>
                <c:pt idx="170">
                  <c:v>96620.951958924241</c:v>
                </c:pt>
                <c:pt idx="171">
                  <c:v>96620.951958924241</c:v>
                </c:pt>
                <c:pt idx="172">
                  <c:v>96620.951958924241</c:v>
                </c:pt>
                <c:pt idx="173">
                  <c:v>96900.559244731892</c:v>
                </c:pt>
                <c:pt idx="174">
                  <c:v>97084.634454089959</c:v>
                </c:pt>
                <c:pt idx="175">
                  <c:v>97581.737781646938</c:v>
                </c:pt>
                <c:pt idx="176">
                  <c:v>97874.875761486444</c:v>
                </c:pt>
                <c:pt idx="177">
                  <c:v>97501.896954793556</c:v>
                </c:pt>
                <c:pt idx="178">
                  <c:v>97501.896954793556</c:v>
                </c:pt>
                <c:pt idx="179">
                  <c:v>97501.896954793556</c:v>
                </c:pt>
                <c:pt idx="180">
                  <c:v>97398.767384849183</c:v>
                </c:pt>
                <c:pt idx="181">
                  <c:v>97639.075594285532</c:v>
                </c:pt>
                <c:pt idx="182">
                  <c:v>96868.400118516904</c:v>
                </c:pt>
                <c:pt idx="183">
                  <c:v>96060.886615866533</c:v>
                </c:pt>
                <c:pt idx="184">
                  <c:v>95990.711237154872</c:v>
                </c:pt>
                <c:pt idx="185">
                  <c:v>95990.711237154872</c:v>
                </c:pt>
                <c:pt idx="186">
                  <c:v>95990.711237154872</c:v>
                </c:pt>
                <c:pt idx="187">
                  <c:v>95770.229788551413</c:v>
                </c:pt>
                <c:pt idx="188">
                  <c:v>94734.547921843798</c:v>
                </c:pt>
                <c:pt idx="189">
                  <c:v>95098.723060521224</c:v>
                </c:pt>
                <c:pt idx="190">
                  <c:v>95723.212181744515</c:v>
                </c:pt>
                <c:pt idx="191">
                  <c:v>96162.619000277526</c:v>
                </c:pt>
                <c:pt idx="192">
                  <c:v>96162.619000277526</c:v>
                </c:pt>
                <c:pt idx="193">
                  <c:v>96162.619000277526</c:v>
                </c:pt>
                <c:pt idx="194">
                  <c:v>96397.75304754106</c:v>
                </c:pt>
                <c:pt idx="195">
                  <c:v>96573.139938816661</c:v>
                </c:pt>
                <c:pt idx="196">
                  <c:v>96131.740862236067</c:v>
                </c:pt>
                <c:pt idx="197">
                  <c:v>96217.633140333535</c:v>
                </c:pt>
                <c:pt idx="198">
                  <c:v>95929.374685099596</c:v>
                </c:pt>
                <c:pt idx="199">
                  <c:v>95929.374685099596</c:v>
                </c:pt>
                <c:pt idx="200">
                  <c:v>95929.374685099596</c:v>
                </c:pt>
                <c:pt idx="201">
                  <c:v>95778.721995722008</c:v>
                </c:pt>
                <c:pt idx="202">
                  <c:v>95520.944340576738</c:v>
                </c:pt>
                <c:pt idx="203">
                  <c:v>95511.257704892589</c:v>
                </c:pt>
                <c:pt idx="204">
                  <c:v>95336.049465977296</c:v>
                </c:pt>
                <c:pt idx="205">
                  <c:v>95440.218286023053</c:v>
                </c:pt>
                <c:pt idx="206">
                  <c:v>95440.218286023053</c:v>
                </c:pt>
                <c:pt idx="207">
                  <c:v>95440.218286023053</c:v>
                </c:pt>
                <c:pt idx="208">
                  <c:v>95905.466492235137</c:v>
                </c:pt>
                <c:pt idx="209">
                  <c:v>95570.478384229878</c:v>
                </c:pt>
                <c:pt idx="210">
                  <c:v>95532.470626184586</c:v>
                </c:pt>
                <c:pt idx="211">
                  <c:v>94927.962121439385</c:v>
                </c:pt>
                <c:pt idx="212">
                  <c:v>95122.854220885507</c:v>
                </c:pt>
                <c:pt idx="213">
                  <c:v>95124.24258650429</c:v>
                </c:pt>
                <c:pt idx="214">
                  <c:v>94132.381350166776</c:v>
                </c:pt>
                <c:pt idx="215">
                  <c:v>94718.74814436656</c:v>
                </c:pt>
                <c:pt idx="216">
                  <c:v>94536.118207641324</c:v>
                </c:pt>
                <c:pt idx="217">
                  <c:v>93205.27494284742</c:v>
                </c:pt>
                <c:pt idx="218">
                  <c:v>93177.62808661646</c:v>
                </c:pt>
                <c:pt idx="219">
                  <c:v>93178.612666659174</c:v>
                </c:pt>
                <c:pt idx="220">
                  <c:v>93178.612666659174</c:v>
                </c:pt>
                <c:pt idx="221">
                  <c:v>93178.612666659174</c:v>
                </c:pt>
                <c:pt idx="222">
                  <c:v>93001.977837539423</c:v>
                </c:pt>
                <c:pt idx="223">
                  <c:v>92541.449137051459</c:v>
                </c:pt>
                <c:pt idx="224">
                  <c:v>92597.270481574305</c:v>
                </c:pt>
                <c:pt idx="225">
                  <c:v>93099.822536491702</c:v>
                </c:pt>
                <c:pt idx="226">
                  <c:v>92796.129351300639</c:v>
                </c:pt>
                <c:pt idx="227">
                  <c:v>92796.129351300639</c:v>
                </c:pt>
                <c:pt idx="228">
                  <c:v>92796.129351300639</c:v>
                </c:pt>
                <c:pt idx="229">
                  <c:v>92937.771395864518</c:v>
                </c:pt>
                <c:pt idx="230">
                  <c:v>93598.345844179319</c:v>
                </c:pt>
                <c:pt idx="231">
                  <c:v>93075.536886538772</c:v>
                </c:pt>
                <c:pt idx="232">
                  <c:v>92937.965602642944</c:v>
                </c:pt>
                <c:pt idx="233">
                  <c:v>93091.549865947731</c:v>
                </c:pt>
                <c:pt idx="234">
                  <c:v>93091.549865947731</c:v>
                </c:pt>
                <c:pt idx="235">
                  <c:v>93091.549865947731</c:v>
                </c:pt>
                <c:pt idx="236">
                  <c:v>92244.148788832157</c:v>
                </c:pt>
                <c:pt idx="237">
                  <c:v>92409.19537753216</c:v>
                </c:pt>
                <c:pt idx="238">
                  <c:v>92714.223456893174</c:v>
                </c:pt>
                <c:pt idx="239">
                  <c:v>92770.351841160242</c:v>
                </c:pt>
                <c:pt idx="240">
                  <c:v>92929.181177436927</c:v>
                </c:pt>
                <c:pt idx="241">
                  <c:v>92929.181177436927</c:v>
                </c:pt>
                <c:pt idx="242">
                  <c:v>92929.181177436927</c:v>
                </c:pt>
                <c:pt idx="243">
                  <c:v>92883.300860489035</c:v>
                </c:pt>
                <c:pt idx="244">
                  <c:v>92215.704302153972</c:v>
                </c:pt>
                <c:pt idx="245">
                  <c:v>91986.562192312893</c:v>
                </c:pt>
                <c:pt idx="246">
                  <c:v>91967.071996727682</c:v>
                </c:pt>
                <c:pt idx="247">
                  <c:v>91256.457661156091</c:v>
                </c:pt>
                <c:pt idx="248">
                  <c:v>91256.457661156106</c:v>
                </c:pt>
                <c:pt idx="249">
                  <c:v>91256.457661156106</c:v>
                </c:pt>
                <c:pt idx="250">
                  <c:v>91081.536927211011</c:v>
                </c:pt>
                <c:pt idx="251">
                  <c:v>90446.480656710482</c:v>
                </c:pt>
                <c:pt idx="252">
                  <c:v>90373.38624292129</c:v>
                </c:pt>
                <c:pt idx="253">
                  <c:v>90363.315340027882</c:v>
                </c:pt>
                <c:pt idx="254">
                  <c:v>90772.478769202513</c:v>
                </c:pt>
                <c:pt idx="255">
                  <c:v>90772.478769202513</c:v>
                </c:pt>
                <c:pt idx="256">
                  <c:v>90772.478769202513</c:v>
                </c:pt>
                <c:pt idx="257">
                  <c:v>89788.055412484551</c:v>
                </c:pt>
                <c:pt idx="258">
                  <c:v>89432.024493004923</c:v>
                </c:pt>
                <c:pt idx="259">
                  <c:v>89538.157125297352</c:v>
                </c:pt>
                <c:pt idx="260">
                  <c:v>89617.973739689463</c:v>
                </c:pt>
                <c:pt idx="261">
                  <c:v>89338.326471681721</c:v>
                </c:pt>
                <c:pt idx="262">
                  <c:v>89338.326471681721</c:v>
                </c:pt>
                <c:pt idx="263">
                  <c:v>89338.326471681721</c:v>
                </c:pt>
                <c:pt idx="264">
                  <c:v>89801.049688048821</c:v>
                </c:pt>
                <c:pt idx="265">
                  <c:v>90262.375999710464</c:v>
                </c:pt>
                <c:pt idx="266">
                  <c:v>89428.286259407963</c:v>
                </c:pt>
                <c:pt idx="267">
                  <c:v>90045.415794217901</c:v>
                </c:pt>
                <c:pt idx="268">
                  <c:v>90230.730070331148</c:v>
                </c:pt>
                <c:pt idx="269">
                  <c:v>90230.730070331134</c:v>
                </c:pt>
                <c:pt idx="270">
                  <c:v>90230.730070331134</c:v>
                </c:pt>
                <c:pt idx="271">
                  <c:v>90175.19985034682</c:v>
                </c:pt>
                <c:pt idx="272">
                  <c:v>90575.974111790812</c:v>
                </c:pt>
                <c:pt idx="273">
                  <c:v>90146.241891521451</c:v>
                </c:pt>
                <c:pt idx="274">
                  <c:v>90687.376737435057</c:v>
                </c:pt>
                <c:pt idx="275">
                  <c:v>89378.754560452508</c:v>
                </c:pt>
                <c:pt idx="276">
                  <c:v>89378.754560452493</c:v>
                </c:pt>
                <c:pt idx="277">
                  <c:v>89378.754560452493</c:v>
                </c:pt>
                <c:pt idx="278">
                  <c:v>89430.021838677596</c:v>
                </c:pt>
                <c:pt idx="279">
                  <c:v>89520.966062817039</c:v>
                </c:pt>
                <c:pt idx="280">
                  <c:v>90132.196688253971</c:v>
                </c:pt>
                <c:pt idx="281">
                  <c:v>90028.016433310564</c:v>
                </c:pt>
                <c:pt idx="282">
                  <c:v>90405.822785449651</c:v>
                </c:pt>
                <c:pt idx="283">
                  <c:v>90405.822785449665</c:v>
                </c:pt>
                <c:pt idx="284">
                  <c:v>90405.822785449665</c:v>
                </c:pt>
                <c:pt idx="285">
                  <c:v>90183.366502224482</c:v>
                </c:pt>
                <c:pt idx="286">
                  <c:v>90430.054019826319</c:v>
                </c:pt>
                <c:pt idx="287">
                  <c:v>90529.615971991225</c:v>
                </c:pt>
                <c:pt idx="288">
                  <c:v>90766.879456814902</c:v>
                </c:pt>
                <c:pt idx="289">
                  <c:v>90737.660091587546</c:v>
                </c:pt>
                <c:pt idx="290">
                  <c:v>90737.660091587546</c:v>
                </c:pt>
                <c:pt idx="291">
                  <c:v>90737.660091587546</c:v>
                </c:pt>
                <c:pt idx="292">
                  <c:v>90890.638115398222</c:v>
                </c:pt>
                <c:pt idx="293">
                  <c:v>91700.421257108232</c:v>
                </c:pt>
                <c:pt idx="294">
                  <c:v>91664.842172243589</c:v>
                </c:pt>
                <c:pt idx="295">
                  <c:v>91044.523910707372</c:v>
                </c:pt>
                <c:pt idx="296">
                  <c:v>90851.243314933206</c:v>
                </c:pt>
                <c:pt idx="297">
                  <c:v>90851.243314933206</c:v>
                </c:pt>
                <c:pt idx="298">
                  <c:v>90851.243314933206</c:v>
                </c:pt>
                <c:pt idx="299">
                  <c:v>90315.167558844041</c:v>
                </c:pt>
                <c:pt idx="300">
                  <c:v>90234.105947880525</c:v>
                </c:pt>
                <c:pt idx="301">
                  <c:v>90804.669825138946</c:v>
                </c:pt>
                <c:pt idx="302">
                  <c:v>90845.604751905455</c:v>
                </c:pt>
                <c:pt idx="303">
                  <c:v>91776.551900020946</c:v>
                </c:pt>
                <c:pt idx="304">
                  <c:v>91778.858832140104</c:v>
                </c:pt>
                <c:pt idx="305">
                  <c:v>90786.99759580259</c:v>
                </c:pt>
                <c:pt idx="306">
                  <c:v>91222.047916860785</c:v>
                </c:pt>
                <c:pt idx="307">
                  <c:v>91859.937480726818</c:v>
                </c:pt>
                <c:pt idx="308">
                  <c:v>92110.487967981797</c:v>
                </c:pt>
                <c:pt idx="309">
                  <c:v>92146.038158189825</c:v>
                </c:pt>
                <c:pt idx="310">
                  <c:v>91680.078034711129</c:v>
                </c:pt>
                <c:pt idx="311">
                  <c:v>91680.078034711129</c:v>
                </c:pt>
                <c:pt idx="312">
                  <c:v>91680.078034711129</c:v>
                </c:pt>
                <c:pt idx="313">
                  <c:v>91450.230504929365</c:v>
                </c:pt>
                <c:pt idx="314">
                  <c:v>91532.811809774706</c:v>
                </c:pt>
                <c:pt idx="315">
                  <c:v>91250.265708441875</c:v>
                </c:pt>
                <c:pt idx="316">
                  <c:v>91186.395878836571</c:v>
                </c:pt>
                <c:pt idx="317">
                  <c:v>91572.062329802488</c:v>
                </c:pt>
                <c:pt idx="318">
                  <c:v>91572.062329802488</c:v>
                </c:pt>
                <c:pt idx="319">
                  <c:v>91572.062329802488</c:v>
                </c:pt>
                <c:pt idx="320">
                  <c:v>91494.417068672556</c:v>
                </c:pt>
                <c:pt idx="321">
                  <c:v>91621.571059666647</c:v>
                </c:pt>
                <c:pt idx="322">
                  <c:v>91948.022537971759</c:v>
                </c:pt>
                <c:pt idx="323">
                  <c:v>92200.437440300404</c:v>
                </c:pt>
                <c:pt idx="324">
                  <c:v>91987.461483146762</c:v>
                </c:pt>
                <c:pt idx="325">
                  <c:v>91987.461483146762</c:v>
                </c:pt>
                <c:pt idx="326">
                  <c:v>91987.461483146762</c:v>
                </c:pt>
                <c:pt idx="327">
                  <c:v>91421.776907803112</c:v>
                </c:pt>
                <c:pt idx="328">
                  <c:v>91010.970867723488</c:v>
                </c:pt>
                <c:pt idx="329">
                  <c:v>91322.277461206584</c:v>
                </c:pt>
                <c:pt idx="330">
                  <c:v>91750.765495648026</c:v>
                </c:pt>
                <c:pt idx="331">
                  <c:v>92343.956214761129</c:v>
                </c:pt>
                <c:pt idx="332">
                  <c:v>92343.956214761129</c:v>
                </c:pt>
                <c:pt idx="333">
                  <c:v>92343.956214761129</c:v>
                </c:pt>
                <c:pt idx="334">
                  <c:v>92616.916915407768</c:v>
                </c:pt>
                <c:pt idx="335">
                  <c:v>92621.048759828584</c:v>
                </c:pt>
                <c:pt idx="336">
                  <c:v>92033.265539633459</c:v>
                </c:pt>
                <c:pt idx="337">
                  <c:v>91657.322718627765</c:v>
                </c:pt>
                <c:pt idx="338">
                  <c:v>92518.889361758949</c:v>
                </c:pt>
                <c:pt idx="339">
                  <c:v>92518.889361758949</c:v>
                </c:pt>
                <c:pt idx="340">
                  <c:v>92518.889361758949</c:v>
                </c:pt>
                <c:pt idx="341">
                  <c:v>92698.360917289916</c:v>
                </c:pt>
                <c:pt idx="342">
                  <c:v>92875.505575416624</c:v>
                </c:pt>
                <c:pt idx="343">
                  <c:v>93063.719858588986</c:v>
                </c:pt>
                <c:pt idx="344">
                  <c:v>93231.372335171691</c:v>
                </c:pt>
                <c:pt idx="345">
                  <c:v>93105.072093409617</c:v>
                </c:pt>
                <c:pt idx="346">
                  <c:v>93105.072093409617</c:v>
                </c:pt>
                <c:pt idx="347">
                  <c:v>93105.072093409617</c:v>
                </c:pt>
                <c:pt idx="348">
                  <c:v>93046.179150413445</c:v>
                </c:pt>
                <c:pt idx="349">
                  <c:v>93314.377411166352</c:v>
                </c:pt>
                <c:pt idx="350">
                  <c:v>93153.521266218449</c:v>
                </c:pt>
                <c:pt idx="351">
                  <c:v>93319.809179209231</c:v>
                </c:pt>
                <c:pt idx="352">
                  <c:v>93486.252225841701</c:v>
                </c:pt>
                <c:pt idx="353">
                  <c:v>93486.252225841701</c:v>
                </c:pt>
                <c:pt idx="354">
                  <c:v>93486.252225841701</c:v>
                </c:pt>
                <c:pt idx="355">
                  <c:v>93402.951497116999</c:v>
                </c:pt>
                <c:pt idx="356">
                  <c:v>93394.492328050532</c:v>
                </c:pt>
                <c:pt idx="357">
                  <c:v>93072.994116284215</c:v>
                </c:pt>
                <c:pt idx="358">
                  <c:v>93013.665089862159</c:v>
                </c:pt>
                <c:pt idx="359">
                  <c:v>93461.705961725471</c:v>
                </c:pt>
                <c:pt idx="360">
                  <c:v>93461.705961725471</c:v>
                </c:pt>
                <c:pt idx="361">
                  <c:v>93461.705961725471</c:v>
                </c:pt>
                <c:pt idx="362">
                  <c:v>93633.964175866247</c:v>
                </c:pt>
                <c:pt idx="363">
                  <c:v>93374.541446550764</c:v>
                </c:pt>
                <c:pt idx="364">
                  <c:v>93222.222909235046</c:v>
                </c:pt>
                <c:pt idx="365">
                  <c:v>92918.838269665881</c:v>
                </c:pt>
                <c:pt idx="366">
                  <c:v>92935.803957962067</c:v>
                </c:pt>
                <c:pt idx="367">
                  <c:v>91943.942721624553</c:v>
                </c:pt>
                <c:pt idx="368">
                  <c:v>91943.942721624553</c:v>
                </c:pt>
                <c:pt idx="369">
                  <c:v>92211.730346657539</c:v>
                </c:pt>
                <c:pt idx="370">
                  <c:v>91719.487854696665</c:v>
                </c:pt>
                <c:pt idx="371">
                  <c:v>91731.507381733754</c:v>
                </c:pt>
                <c:pt idx="372">
                  <c:v>92783.172879919919</c:v>
                </c:pt>
                <c:pt idx="373">
                  <c:v>92817.673903787669</c:v>
                </c:pt>
                <c:pt idx="374">
                  <c:v>92817.673903787669</c:v>
                </c:pt>
                <c:pt idx="375">
                  <c:v>92817.673903787669</c:v>
                </c:pt>
                <c:pt idx="376">
                  <c:v>92753.793652651468</c:v>
                </c:pt>
                <c:pt idx="377">
                  <c:v>92774.383158317258</c:v>
                </c:pt>
                <c:pt idx="378">
                  <c:v>92614.693247379313</c:v>
                </c:pt>
                <c:pt idx="379">
                  <c:v>93022.171372819634</c:v>
                </c:pt>
                <c:pt idx="380">
                  <c:v>93506.397076612629</c:v>
                </c:pt>
                <c:pt idx="381">
                  <c:v>93506.397076612644</c:v>
                </c:pt>
                <c:pt idx="382">
                  <c:v>93506.397076612644</c:v>
                </c:pt>
                <c:pt idx="383">
                  <c:v>93320.32364772445</c:v>
                </c:pt>
                <c:pt idx="384">
                  <c:v>93245.965715216909</c:v>
                </c:pt>
                <c:pt idx="385">
                  <c:v>93763.624834005823</c:v>
                </c:pt>
                <c:pt idx="386">
                  <c:v>93605.078842492323</c:v>
                </c:pt>
                <c:pt idx="387">
                  <c:v>93626.173299279457</c:v>
                </c:pt>
                <c:pt idx="388">
                  <c:v>93626.173299279457</c:v>
                </c:pt>
                <c:pt idx="389">
                  <c:v>93626.173299279457</c:v>
                </c:pt>
                <c:pt idx="390">
                  <c:v>93565.917038975895</c:v>
                </c:pt>
                <c:pt idx="391">
                  <c:v>93568.735964854684</c:v>
                </c:pt>
                <c:pt idx="392">
                  <c:v>93177.865595129551</c:v>
                </c:pt>
                <c:pt idx="393">
                  <c:v>93484.42366145135</c:v>
                </c:pt>
                <c:pt idx="394">
                  <c:v>93381.189485489856</c:v>
                </c:pt>
                <c:pt idx="395">
                  <c:v>93381.189485489856</c:v>
                </c:pt>
                <c:pt idx="396">
                  <c:v>93386.211507184154</c:v>
                </c:pt>
                <c:pt idx="397">
                  <c:v>92819.674820151835</c:v>
                </c:pt>
                <c:pt idx="398">
                  <c:v>92859.324869821838</c:v>
                </c:pt>
                <c:pt idx="399">
                  <c:v>92943.820615306729</c:v>
                </c:pt>
                <c:pt idx="400">
                  <c:v>92807.123212305305</c:v>
                </c:pt>
                <c:pt idx="401">
                  <c:v>93113.745604051393</c:v>
                </c:pt>
                <c:pt idx="402">
                  <c:v>93113.745604051393</c:v>
                </c:pt>
                <c:pt idx="403">
                  <c:v>93113.745604051393</c:v>
                </c:pt>
                <c:pt idx="404">
                  <c:v>93107.11306539514</c:v>
                </c:pt>
                <c:pt idx="405">
                  <c:v>92689.419910434895</c:v>
                </c:pt>
                <c:pt idx="406">
                  <c:v>92287.080628194177</c:v>
                </c:pt>
                <c:pt idx="407">
                  <c:v>92655.269811077989</c:v>
                </c:pt>
                <c:pt idx="408">
                  <c:v>92308.549575630168</c:v>
                </c:pt>
                <c:pt idx="409">
                  <c:v>92308.549575630168</c:v>
                </c:pt>
                <c:pt idx="410">
                  <c:v>92308.549575630168</c:v>
                </c:pt>
                <c:pt idx="411">
                  <c:v>92490.636811286648</c:v>
                </c:pt>
                <c:pt idx="412">
                  <c:v>92964.548382865716</c:v>
                </c:pt>
                <c:pt idx="413">
                  <c:v>92877.603716627564</c:v>
                </c:pt>
                <c:pt idx="414">
                  <c:v>92867.894589143354</c:v>
                </c:pt>
                <c:pt idx="415">
                  <c:v>92672.510503652884</c:v>
                </c:pt>
                <c:pt idx="416">
                  <c:v>92672.510503652884</c:v>
                </c:pt>
                <c:pt idx="417">
                  <c:v>92672.510503652884</c:v>
                </c:pt>
                <c:pt idx="418">
                  <c:v>92473.406895442662</c:v>
                </c:pt>
                <c:pt idx="419">
                  <c:v>91730.852650998</c:v>
                </c:pt>
                <c:pt idx="420">
                  <c:v>91359.777135079625</c:v>
                </c:pt>
                <c:pt idx="421">
                  <c:v>91093.284739822659</c:v>
                </c:pt>
                <c:pt idx="422">
                  <c:v>91298.870915038497</c:v>
                </c:pt>
                <c:pt idx="423">
                  <c:v>91298.870915038497</c:v>
                </c:pt>
                <c:pt idx="424">
                  <c:v>91298.870915038497</c:v>
                </c:pt>
                <c:pt idx="425">
                  <c:v>91418.480241990648</c:v>
                </c:pt>
                <c:pt idx="426">
                  <c:v>91671.902690928197</c:v>
                </c:pt>
                <c:pt idx="427">
                  <c:v>91382.543630272776</c:v>
                </c:pt>
                <c:pt idx="428">
                  <c:v>90607.679857228926</c:v>
                </c:pt>
                <c:pt idx="429">
                  <c:v>90468.939891865579</c:v>
                </c:pt>
                <c:pt idx="430">
                  <c:v>90468.939891865579</c:v>
                </c:pt>
                <c:pt idx="431">
                  <c:v>90468.939891865579</c:v>
                </c:pt>
                <c:pt idx="432">
                  <c:v>90512.172220843451</c:v>
                </c:pt>
                <c:pt idx="433">
                  <c:v>90771.327124907024</c:v>
                </c:pt>
                <c:pt idx="434">
                  <c:v>90150.495325929121</c:v>
                </c:pt>
                <c:pt idx="435">
                  <c:v>89932.545315802214</c:v>
                </c:pt>
                <c:pt idx="436">
                  <c:v>90059.383938395244</c:v>
                </c:pt>
                <c:pt idx="437">
                  <c:v>90059.383938395244</c:v>
                </c:pt>
                <c:pt idx="438">
                  <c:v>90059.383938395244</c:v>
                </c:pt>
                <c:pt idx="439">
                  <c:v>90080.063419164871</c:v>
                </c:pt>
                <c:pt idx="440">
                  <c:v>89877.058294626942</c:v>
                </c:pt>
                <c:pt idx="441">
                  <c:v>89491.751211373194</c:v>
                </c:pt>
                <c:pt idx="442">
                  <c:v>88943.325114202889</c:v>
                </c:pt>
                <c:pt idx="443">
                  <c:v>88687.337196776716</c:v>
                </c:pt>
                <c:pt idx="444">
                  <c:v>88687.337196776716</c:v>
                </c:pt>
                <c:pt idx="445">
                  <c:v>88687.337196776716</c:v>
                </c:pt>
                <c:pt idx="446">
                  <c:v>89719.065459022051</c:v>
                </c:pt>
                <c:pt idx="447">
                  <c:v>89684.617393187553</c:v>
                </c:pt>
                <c:pt idx="448">
                  <c:v>89845.922101221659</c:v>
                </c:pt>
                <c:pt idx="449">
                  <c:v>90117.749698665182</c:v>
                </c:pt>
                <c:pt idx="450">
                  <c:v>90508.099751043614</c:v>
                </c:pt>
                <c:pt idx="451">
                  <c:v>90508.099751043614</c:v>
                </c:pt>
                <c:pt idx="452">
                  <c:v>90508.099751043614</c:v>
                </c:pt>
                <c:pt idx="453">
                  <c:v>90356.164555208758</c:v>
                </c:pt>
                <c:pt idx="454">
                  <c:v>90207.530037929144</c:v>
                </c:pt>
                <c:pt idx="455">
                  <c:v>90491.323107843535</c:v>
                </c:pt>
                <c:pt idx="456">
                  <c:v>90971.967272828566</c:v>
                </c:pt>
                <c:pt idx="457">
                  <c:v>90891.546097862083</c:v>
                </c:pt>
                <c:pt idx="458">
                  <c:v>89899.684861524569</c:v>
                </c:pt>
                <c:pt idx="459">
                  <c:v>89899.684861524569</c:v>
                </c:pt>
                <c:pt idx="460">
                  <c:v>89632.408873146065</c:v>
                </c:pt>
                <c:pt idx="461">
                  <c:v>89586.339813787985</c:v>
                </c:pt>
                <c:pt idx="462">
                  <c:v>89661.913739184281</c:v>
                </c:pt>
                <c:pt idx="463">
                  <c:v>89944.366341197805</c:v>
                </c:pt>
                <c:pt idx="464">
                  <c:v>90146.351652392608</c:v>
                </c:pt>
                <c:pt idx="465">
                  <c:v>90146.351652392608</c:v>
                </c:pt>
                <c:pt idx="466">
                  <c:v>90146.351652392608</c:v>
                </c:pt>
                <c:pt idx="467">
                  <c:v>90240.05255582236</c:v>
                </c:pt>
                <c:pt idx="468">
                  <c:v>90357.114415551201</c:v>
                </c:pt>
                <c:pt idx="469">
                  <c:v>90515.612865946576</c:v>
                </c:pt>
                <c:pt idx="470">
                  <c:v>90089.815710304858</c:v>
                </c:pt>
                <c:pt idx="471">
                  <c:v>90047.775279785681</c:v>
                </c:pt>
                <c:pt idx="472">
                  <c:v>90047.775279785681</c:v>
                </c:pt>
                <c:pt idx="473">
                  <c:v>90047.775279785681</c:v>
                </c:pt>
                <c:pt idx="474">
                  <c:v>90006.923161498067</c:v>
                </c:pt>
                <c:pt idx="475">
                  <c:v>90251.976280518342</c:v>
                </c:pt>
                <c:pt idx="476">
                  <c:v>90116.334744226027</c:v>
                </c:pt>
                <c:pt idx="477">
                  <c:v>90141.670248831942</c:v>
                </c:pt>
                <c:pt idx="478">
                  <c:v>90090.008453090602</c:v>
                </c:pt>
                <c:pt idx="479">
                  <c:v>90090.008453090602</c:v>
                </c:pt>
                <c:pt idx="480">
                  <c:v>90090.008453090602</c:v>
                </c:pt>
                <c:pt idx="481">
                  <c:v>90221.470586215612</c:v>
                </c:pt>
                <c:pt idx="482">
                  <c:v>90251.243978262049</c:v>
                </c:pt>
                <c:pt idx="483">
                  <c:v>90161.699843755239</c:v>
                </c:pt>
                <c:pt idx="484">
                  <c:v>90178.734066658202</c:v>
                </c:pt>
                <c:pt idx="485">
                  <c:v>89688.74551635269</c:v>
                </c:pt>
                <c:pt idx="486">
                  <c:v>89688.74551635269</c:v>
                </c:pt>
                <c:pt idx="487">
                  <c:v>89688.74551635269</c:v>
                </c:pt>
                <c:pt idx="488">
                  <c:v>89714.569955604195</c:v>
                </c:pt>
                <c:pt idx="489">
                  <c:v>88724.418400854876</c:v>
                </c:pt>
                <c:pt idx="490">
                  <c:v>89910.032245739698</c:v>
                </c:pt>
                <c:pt idx="491">
                  <c:v>90170.609141554189</c:v>
                </c:pt>
                <c:pt idx="492">
                  <c:v>90728.105118196196</c:v>
                </c:pt>
                <c:pt idx="493">
                  <c:v>90728.105118196196</c:v>
                </c:pt>
                <c:pt idx="494">
                  <c:v>90728.105118196196</c:v>
                </c:pt>
                <c:pt idx="495">
                  <c:v>90322.717536904995</c:v>
                </c:pt>
                <c:pt idx="496">
                  <c:v>90341.207238476083</c:v>
                </c:pt>
                <c:pt idx="497">
                  <c:v>90632.945945431231</c:v>
                </c:pt>
                <c:pt idx="498">
                  <c:v>90734.202060540571</c:v>
                </c:pt>
                <c:pt idx="499">
                  <c:v>90820.995367709329</c:v>
                </c:pt>
                <c:pt idx="500">
                  <c:v>90820.995367709329</c:v>
                </c:pt>
                <c:pt idx="501">
                  <c:v>90820.995367709329</c:v>
                </c:pt>
                <c:pt idx="502">
                  <c:v>90815.394564074391</c:v>
                </c:pt>
                <c:pt idx="503">
                  <c:v>90838.379504524666</c:v>
                </c:pt>
                <c:pt idx="504">
                  <c:v>91045.338555742652</c:v>
                </c:pt>
                <c:pt idx="505">
                  <c:v>91589.227083845442</c:v>
                </c:pt>
                <c:pt idx="506">
                  <c:v>91821.615367290244</c:v>
                </c:pt>
                <c:pt idx="507">
                  <c:v>91821.615367290244</c:v>
                </c:pt>
                <c:pt idx="508">
                  <c:v>91821.615367290244</c:v>
                </c:pt>
                <c:pt idx="509">
                  <c:v>92165.292397915648</c:v>
                </c:pt>
                <c:pt idx="510">
                  <c:v>92122.942206429027</c:v>
                </c:pt>
                <c:pt idx="511">
                  <c:v>92364.624350111102</c:v>
                </c:pt>
                <c:pt idx="512">
                  <c:v>92846.297987394486</c:v>
                </c:pt>
                <c:pt idx="513">
                  <c:v>93081.012964475129</c:v>
                </c:pt>
                <c:pt idx="514">
                  <c:v>93081.012964475129</c:v>
                </c:pt>
                <c:pt idx="515">
                  <c:v>93081.012964475129</c:v>
                </c:pt>
                <c:pt idx="516">
                  <c:v>93220.560363511191</c:v>
                </c:pt>
                <c:pt idx="517">
                  <c:v>93385.337585333094</c:v>
                </c:pt>
                <c:pt idx="518">
                  <c:v>93293.442481626407</c:v>
                </c:pt>
                <c:pt idx="519">
                  <c:v>92952.535834770708</c:v>
                </c:pt>
                <c:pt idx="520">
                  <c:v>93017.544094301702</c:v>
                </c:pt>
                <c:pt idx="521">
                  <c:v>93017.544094301702</c:v>
                </c:pt>
                <c:pt idx="522">
                  <c:v>93017.544094301702</c:v>
                </c:pt>
                <c:pt idx="523">
                  <c:v>92177.750694169154</c:v>
                </c:pt>
                <c:pt idx="524">
                  <c:v>92590.072585474336</c:v>
                </c:pt>
                <c:pt idx="525">
                  <c:v>92596.202529747869</c:v>
                </c:pt>
                <c:pt idx="526">
                  <c:v>92036.251810731483</c:v>
                </c:pt>
                <c:pt idx="527">
                  <c:v>92002.302518173179</c:v>
                </c:pt>
                <c:pt idx="528">
                  <c:v>92002.302518173179</c:v>
                </c:pt>
                <c:pt idx="529">
                  <c:v>92002.302518173179</c:v>
                </c:pt>
                <c:pt idx="530">
                  <c:v>92393.466821742491</c:v>
                </c:pt>
                <c:pt idx="531">
                  <c:v>92744.944985063776</c:v>
                </c:pt>
                <c:pt idx="532">
                  <c:v>93112.532062171522</c:v>
                </c:pt>
                <c:pt idx="533">
                  <c:v>93016.94475729845</c:v>
                </c:pt>
                <c:pt idx="534">
                  <c:v>92854.972574768923</c:v>
                </c:pt>
                <c:pt idx="535">
                  <c:v>92854.972574768923</c:v>
                </c:pt>
                <c:pt idx="536">
                  <c:v>92854.972574768923</c:v>
                </c:pt>
                <c:pt idx="537">
                  <c:v>92881.272742917034</c:v>
                </c:pt>
                <c:pt idx="538">
                  <c:v>93573.945915133183</c:v>
                </c:pt>
                <c:pt idx="539">
                  <c:v>93983.874657398206</c:v>
                </c:pt>
                <c:pt idx="540">
                  <c:v>93169.227788948745</c:v>
                </c:pt>
                <c:pt idx="541">
                  <c:v>93623.904987204631</c:v>
                </c:pt>
                <c:pt idx="542">
                  <c:v>93623.904987204631</c:v>
                </c:pt>
                <c:pt idx="543">
                  <c:v>93623.904987204631</c:v>
                </c:pt>
                <c:pt idx="544">
                  <c:v>94120.108781295756</c:v>
                </c:pt>
                <c:pt idx="545">
                  <c:v>93628.3656608733</c:v>
                </c:pt>
                <c:pt idx="546">
                  <c:v>94112.834029068152</c:v>
                </c:pt>
                <c:pt idx="547">
                  <c:v>94275.104328040688</c:v>
                </c:pt>
                <c:pt idx="548">
                  <c:v>93799.497861948272</c:v>
                </c:pt>
                <c:pt idx="549">
                  <c:v>93799.497861948272</c:v>
                </c:pt>
                <c:pt idx="550">
                  <c:v>93799.497861948272</c:v>
                </c:pt>
                <c:pt idx="551">
                  <c:v>93762.009645094426</c:v>
                </c:pt>
                <c:pt idx="552">
                  <c:v>94432.964116536066</c:v>
                </c:pt>
                <c:pt idx="553">
                  <c:v>94836.513331577415</c:v>
                </c:pt>
                <c:pt idx="554">
                  <c:v>94935.478998248494</c:v>
                </c:pt>
                <c:pt idx="555">
                  <c:v>95441.213139642467</c:v>
                </c:pt>
                <c:pt idx="556">
                  <c:v>95441.213139642467</c:v>
                </c:pt>
                <c:pt idx="557">
                  <c:v>95441.213139642467</c:v>
                </c:pt>
                <c:pt idx="558">
                  <c:v>95677.562194625585</c:v>
                </c:pt>
                <c:pt idx="559">
                  <c:v>95852.71031496732</c:v>
                </c:pt>
                <c:pt idx="560">
                  <c:v>95690.654332664868</c:v>
                </c:pt>
                <c:pt idx="561">
                  <c:v>95725.493520061224</c:v>
                </c:pt>
                <c:pt idx="562">
                  <c:v>95557.687773328449</c:v>
                </c:pt>
                <c:pt idx="563">
                  <c:v>95557.687773328449</c:v>
                </c:pt>
                <c:pt idx="564">
                  <c:v>95557.687773328449</c:v>
                </c:pt>
                <c:pt idx="565">
                  <c:v>95359.737920836851</c:v>
                </c:pt>
                <c:pt idx="566">
                  <c:v>95427.96587751653</c:v>
                </c:pt>
                <c:pt idx="567">
                  <c:v>95704.015259407854</c:v>
                </c:pt>
                <c:pt idx="568">
                  <c:v>95285.531441190411</c:v>
                </c:pt>
                <c:pt idx="569">
                  <c:v>95165.161421884142</c:v>
                </c:pt>
                <c:pt idx="570">
                  <c:v>95165.161421884142</c:v>
                </c:pt>
                <c:pt idx="571">
                  <c:v>95165.161421884142</c:v>
                </c:pt>
                <c:pt idx="572">
                  <c:v>95141.047854709526</c:v>
                </c:pt>
                <c:pt idx="573">
                  <c:v>95503.913955976954</c:v>
                </c:pt>
                <c:pt idx="574">
                  <c:v>95626.035221419283</c:v>
                </c:pt>
                <c:pt idx="575">
                  <c:v>95856.579169100281</c:v>
                </c:pt>
                <c:pt idx="576">
                  <c:v>95863.765249270844</c:v>
                </c:pt>
                <c:pt idx="577">
                  <c:v>95863.765249270844</c:v>
                </c:pt>
                <c:pt idx="578">
                  <c:v>95863.765249270844</c:v>
                </c:pt>
                <c:pt idx="579">
                  <c:v>94621.798200688048</c:v>
                </c:pt>
                <c:pt idx="580">
                  <c:v>95331.482409367018</c:v>
                </c:pt>
                <c:pt idx="581">
                  <c:v>94946.461431471354</c:v>
                </c:pt>
                <c:pt idx="582">
                  <c:v>94414.859374623004</c:v>
                </c:pt>
                <c:pt idx="583">
                  <c:v>93596.763021064384</c:v>
                </c:pt>
                <c:pt idx="584">
                  <c:v>93596.763021064398</c:v>
                </c:pt>
                <c:pt idx="585">
                  <c:v>93596.763021064398</c:v>
                </c:pt>
                <c:pt idx="586">
                  <c:v>94218.248522620677</c:v>
                </c:pt>
                <c:pt idx="587">
                  <c:v>94517.530084989048</c:v>
                </c:pt>
                <c:pt idx="588">
                  <c:v>94970.243676139333</c:v>
                </c:pt>
                <c:pt idx="589">
                  <c:v>95083.923741605438</c:v>
                </c:pt>
                <c:pt idx="590">
                  <c:v>94613.42677927218</c:v>
                </c:pt>
                <c:pt idx="591">
                  <c:v>94613.42677927218</c:v>
                </c:pt>
                <c:pt idx="592">
                  <c:v>94613.42677927218</c:v>
                </c:pt>
                <c:pt idx="593">
                  <c:v>94276.162365209457</c:v>
                </c:pt>
                <c:pt idx="594">
                  <c:v>94066.548802372345</c:v>
                </c:pt>
                <c:pt idx="595">
                  <c:v>93418.455726125452</c:v>
                </c:pt>
                <c:pt idx="596">
                  <c:v>93283.635359868524</c:v>
                </c:pt>
                <c:pt idx="597">
                  <c:v>93607.216141666664</c:v>
                </c:pt>
                <c:pt idx="598">
                  <c:v>93607.216141666664</c:v>
                </c:pt>
                <c:pt idx="599">
                  <c:v>93607.216141666664</c:v>
                </c:pt>
                <c:pt idx="600">
                  <c:v>93774.031567719023</c:v>
                </c:pt>
                <c:pt idx="601">
                  <c:v>94598.744692801585</c:v>
                </c:pt>
                <c:pt idx="602">
                  <c:v>95168.509091377302</c:v>
                </c:pt>
                <c:pt idx="603">
                  <c:v>95131.937955591246</c:v>
                </c:pt>
                <c:pt idx="604">
                  <c:v>95066.850957295348</c:v>
                </c:pt>
                <c:pt idx="605">
                  <c:v>95066.850957295348</c:v>
                </c:pt>
                <c:pt idx="606">
                  <c:v>95066.850957295348</c:v>
                </c:pt>
                <c:pt idx="607">
                  <c:v>95582.993133189491</c:v>
                </c:pt>
                <c:pt idx="608">
                  <c:v>95458.013017020232</c:v>
                </c:pt>
                <c:pt idx="609">
                  <c:v>94307.836689803866</c:v>
                </c:pt>
                <c:pt idx="610">
                  <c:v>94528.67622871713</c:v>
                </c:pt>
                <c:pt idx="611">
                  <c:v>94844.999749952301</c:v>
                </c:pt>
                <c:pt idx="612">
                  <c:v>94844.999749952301</c:v>
                </c:pt>
                <c:pt idx="613">
                  <c:v>94844.999749952301</c:v>
                </c:pt>
                <c:pt idx="614">
                  <c:v>94817.1952269381</c:v>
                </c:pt>
                <c:pt idx="615">
                  <c:v>95173.264164962893</c:v>
                </c:pt>
                <c:pt idx="616">
                  <c:v>95781.714599390529</c:v>
                </c:pt>
                <c:pt idx="617">
                  <c:v>95862.472214535796</c:v>
                </c:pt>
                <c:pt idx="618">
                  <c:v>96215.461467329107</c:v>
                </c:pt>
                <c:pt idx="619">
                  <c:v>96215.461467329107</c:v>
                </c:pt>
                <c:pt idx="620">
                  <c:v>96215.461467329107</c:v>
                </c:pt>
                <c:pt idx="621">
                  <c:v>96154.796012075749</c:v>
                </c:pt>
                <c:pt idx="622">
                  <c:v>96849.604606461653</c:v>
                </c:pt>
                <c:pt idx="623">
                  <c:v>96977.124737554084</c:v>
                </c:pt>
                <c:pt idx="624">
                  <c:v>96660.040155340568</c:v>
                </c:pt>
                <c:pt idx="625">
                  <c:v>97007.449562752372</c:v>
                </c:pt>
                <c:pt idx="626">
                  <c:v>97007.449562752372</c:v>
                </c:pt>
                <c:pt idx="627">
                  <c:v>97007.449562752372</c:v>
                </c:pt>
                <c:pt idx="628">
                  <c:v>97272.720876522915</c:v>
                </c:pt>
                <c:pt idx="629">
                  <c:v>97866.402614030594</c:v>
                </c:pt>
                <c:pt idx="630">
                  <c:v>98027.872205757318</c:v>
                </c:pt>
                <c:pt idx="631">
                  <c:v>96873.314827154478</c:v>
                </c:pt>
                <c:pt idx="632">
                  <c:v>96857.88327622111</c:v>
                </c:pt>
                <c:pt idx="633">
                  <c:v>96857.88327622111</c:v>
                </c:pt>
                <c:pt idx="634">
                  <c:v>96857.88327622111</c:v>
                </c:pt>
                <c:pt idx="635">
                  <c:v>96938.242203630085</c:v>
                </c:pt>
                <c:pt idx="636">
                  <c:v>97516.62861704042</c:v>
                </c:pt>
                <c:pt idx="637">
                  <c:v>96507.556384199634</c:v>
                </c:pt>
                <c:pt idx="638">
                  <c:v>96471.833407698854</c:v>
                </c:pt>
                <c:pt idx="639">
                  <c:v>95955.020772436299</c:v>
                </c:pt>
                <c:pt idx="640">
                  <c:v>94963.159536098785</c:v>
                </c:pt>
                <c:pt idx="641">
                  <c:v>94963.159536098785</c:v>
                </c:pt>
                <c:pt idx="642">
                  <c:v>94289.383573979445</c:v>
                </c:pt>
                <c:pt idx="643">
                  <c:v>94138.088450874027</c:v>
                </c:pt>
                <c:pt idx="644">
                  <c:v>92906.82984508411</c:v>
                </c:pt>
                <c:pt idx="645">
                  <c:v>92310.505313773174</c:v>
                </c:pt>
                <c:pt idx="646">
                  <c:v>92707.797968285275</c:v>
                </c:pt>
                <c:pt idx="647">
                  <c:v>92707.797968285275</c:v>
                </c:pt>
                <c:pt idx="648">
                  <c:v>92707.797968285275</c:v>
                </c:pt>
                <c:pt idx="649">
                  <c:v>92922.627245406649</c:v>
                </c:pt>
                <c:pt idx="650">
                  <c:v>92170.973976398134</c:v>
                </c:pt>
                <c:pt idx="651">
                  <c:v>91960.848931289758</c:v>
                </c:pt>
                <c:pt idx="652">
                  <c:v>91806.00752529224</c:v>
                </c:pt>
                <c:pt idx="653">
                  <c:v>91880.34099510411</c:v>
                </c:pt>
                <c:pt idx="654">
                  <c:v>91880.34099510411</c:v>
                </c:pt>
                <c:pt idx="655">
                  <c:v>91880.34099510411</c:v>
                </c:pt>
                <c:pt idx="656">
                  <c:v>92303.569905983706</c:v>
                </c:pt>
                <c:pt idx="657">
                  <c:v>92609.912661226874</c:v>
                </c:pt>
                <c:pt idx="658">
                  <c:v>92205.858557281172</c:v>
                </c:pt>
                <c:pt idx="659">
                  <c:v>90151.699575341263</c:v>
                </c:pt>
                <c:pt idx="660">
                  <c:v>89892.504874650695</c:v>
                </c:pt>
                <c:pt idx="661">
                  <c:v>89892.504874650695</c:v>
                </c:pt>
                <c:pt idx="662">
                  <c:v>89892.504874650695</c:v>
                </c:pt>
                <c:pt idx="663">
                  <c:v>88689.012513148249</c:v>
                </c:pt>
                <c:pt idx="664">
                  <c:v>89079.74792179717</c:v>
                </c:pt>
                <c:pt idx="665">
                  <c:v>89911.575142369387</c:v>
                </c:pt>
                <c:pt idx="666">
                  <c:v>91112.464080525402</c:v>
                </c:pt>
                <c:pt idx="667">
                  <c:v>91199.797837383128</c:v>
                </c:pt>
                <c:pt idx="668">
                  <c:v>91199.797837383128</c:v>
                </c:pt>
                <c:pt idx="669">
                  <c:v>91203.935052372151</c:v>
                </c:pt>
                <c:pt idx="670">
                  <c:v>90777.12207716488</c:v>
                </c:pt>
                <c:pt idx="671">
                  <c:v>90964.44163988631</c:v>
                </c:pt>
                <c:pt idx="672">
                  <c:v>90369.674640659345</c:v>
                </c:pt>
                <c:pt idx="673">
                  <c:v>91885.001207195615</c:v>
                </c:pt>
                <c:pt idx="674">
                  <c:v>91758.697573073223</c:v>
                </c:pt>
                <c:pt idx="675">
                  <c:v>91758.697573073223</c:v>
                </c:pt>
                <c:pt idx="676">
                  <c:v>91758.697573073223</c:v>
                </c:pt>
                <c:pt idx="677">
                  <c:v>92065.261271214811</c:v>
                </c:pt>
                <c:pt idx="678">
                  <c:v>92851.557248042416</c:v>
                </c:pt>
                <c:pt idx="679">
                  <c:v>92928.619212277306</c:v>
                </c:pt>
                <c:pt idx="680">
                  <c:v>93458.494230973665</c:v>
                </c:pt>
                <c:pt idx="681">
                  <c:v>93613.866332757258</c:v>
                </c:pt>
                <c:pt idx="682">
                  <c:v>93613.866332757258</c:v>
                </c:pt>
                <c:pt idx="683">
                  <c:v>93613.866332757258</c:v>
                </c:pt>
                <c:pt idx="684">
                  <c:v>93884.609972499165</c:v>
                </c:pt>
                <c:pt idx="685">
                  <c:v>93795.3120857584</c:v>
                </c:pt>
                <c:pt idx="686">
                  <c:v>93718.031520621269</c:v>
                </c:pt>
                <c:pt idx="687">
                  <c:v>93938.375255288702</c:v>
                </c:pt>
                <c:pt idx="688">
                  <c:v>93762.462421099932</c:v>
                </c:pt>
                <c:pt idx="689">
                  <c:v>93762.462421099932</c:v>
                </c:pt>
                <c:pt idx="690">
                  <c:v>93762.462421099932</c:v>
                </c:pt>
                <c:pt idx="691">
                  <c:v>93908.446955858541</c:v>
                </c:pt>
                <c:pt idx="692">
                  <c:v>93830.518233180352</c:v>
                </c:pt>
                <c:pt idx="693">
                  <c:v>93843.033253871778</c:v>
                </c:pt>
                <c:pt idx="694">
                  <c:v>93722.080704406981</c:v>
                </c:pt>
                <c:pt idx="695">
                  <c:v>93549.673107437804</c:v>
                </c:pt>
                <c:pt idx="696">
                  <c:v>93549.673107437804</c:v>
                </c:pt>
                <c:pt idx="697">
                  <c:v>93549.673107437804</c:v>
                </c:pt>
                <c:pt idx="698">
                  <c:v>93386.931617033755</c:v>
                </c:pt>
                <c:pt idx="699">
                  <c:v>93764.899683168274</c:v>
                </c:pt>
                <c:pt idx="700">
                  <c:v>94156.899036207513</c:v>
                </c:pt>
                <c:pt idx="701">
                  <c:v>93547.66547849607</c:v>
                </c:pt>
                <c:pt idx="702">
                  <c:v>93393.877849961296</c:v>
                </c:pt>
                <c:pt idx="703">
                  <c:v>93393.877849961296</c:v>
                </c:pt>
                <c:pt idx="704">
                  <c:v>93393.877849961296</c:v>
                </c:pt>
                <c:pt idx="705">
                  <c:v>93176.592584952319</c:v>
                </c:pt>
                <c:pt idx="706">
                  <c:v>92845.736825925429</c:v>
                </c:pt>
                <c:pt idx="707">
                  <c:v>92079.880567952365</c:v>
                </c:pt>
                <c:pt idx="708">
                  <c:v>92341.113104385149</c:v>
                </c:pt>
                <c:pt idx="709">
                  <c:v>92679.593083475018</c:v>
                </c:pt>
                <c:pt idx="710">
                  <c:v>92679.593083475018</c:v>
                </c:pt>
                <c:pt idx="711">
                  <c:v>92679.593083475018</c:v>
                </c:pt>
                <c:pt idx="712">
                  <c:v>92732.260375339436</c:v>
                </c:pt>
                <c:pt idx="713">
                  <c:v>92832.376543952632</c:v>
                </c:pt>
                <c:pt idx="714">
                  <c:v>92796.901069002051</c:v>
                </c:pt>
                <c:pt idx="715">
                  <c:v>91877.115353032801</c:v>
                </c:pt>
                <c:pt idx="716">
                  <c:v>91837.302729585572</c:v>
                </c:pt>
                <c:pt idx="717">
                  <c:v>91837.302729585572</c:v>
                </c:pt>
                <c:pt idx="718">
                  <c:v>91837.302729585572</c:v>
                </c:pt>
                <c:pt idx="719">
                  <c:v>91478.163204139957</c:v>
                </c:pt>
                <c:pt idx="720">
                  <c:v>91376.101108931252</c:v>
                </c:pt>
                <c:pt idx="721">
                  <c:v>90838.1507761713</c:v>
                </c:pt>
                <c:pt idx="722">
                  <c:v>91550.709030455109</c:v>
                </c:pt>
                <c:pt idx="723">
                  <c:v>92143.079928324965</c:v>
                </c:pt>
                <c:pt idx="724">
                  <c:v>92143.079928324951</c:v>
                </c:pt>
                <c:pt idx="725">
                  <c:v>92143.079928324951</c:v>
                </c:pt>
                <c:pt idx="726">
                  <c:v>92268.427596393158</c:v>
                </c:pt>
                <c:pt idx="727">
                  <c:v>91757.213302981574</c:v>
                </c:pt>
                <c:pt idx="728">
                  <c:v>91326.48338079227</c:v>
                </c:pt>
                <c:pt idx="729">
                  <c:v>91625.241194497532</c:v>
                </c:pt>
                <c:pt idx="730">
                  <c:v>91212.114325156406</c:v>
                </c:pt>
                <c:pt idx="731">
                  <c:v>91213.451631570599</c:v>
                </c:pt>
                <c:pt idx="732">
                  <c:v>90221.590395233085</c:v>
                </c:pt>
                <c:pt idx="733">
                  <c:v>90590.694951261539</c:v>
                </c:pt>
                <c:pt idx="734">
                  <c:v>90436.58423518714</c:v>
                </c:pt>
                <c:pt idx="735">
                  <c:v>90418.208651727837</c:v>
                </c:pt>
                <c:pt idx="736">
                  <c:v>90360.592722483605</c:v>
                </c:pt>
                <c:pt idx="737">
                  <c:v>90425.849940751883</c:v>
                </c:pt>
                <c:pt idx="738">
                  <c:v>90425.849940751883</c:v>
                </c:pt>
                <c:pt idx="739">
                  <c:v>90425.849940751883</c:v>
                </c:pt>
                <c:pt idx="740">
                  <c:v>90414.785289071777</c:v>
                </c:pt>
                <c:pt idx="741">
                  <c:v>90677.176409993059</c:v>
                </c:pt>
                <c:pt idx="742">
                  <c:v>90698.309859420115</c:v>
                </c:pt>
                <c:pt idx="743">
                  <c:v>90498.706669586216</c:v>
                </c:pt>
                <c:pt idx="744">
                  <c:v>90310.143428621406</c:v>
                </c:pt>
                <c:pt idx="745">
                  <c:v>90310.143428621406</c:v>
                </c:pt>
                <c:pt idx="746">
                  <c:v>90310.143428621406</c:v>
                </c:pt>
                <c:pt idx="747">
                  <c:v>90647.838432051343</c:v>
                </c:pt>
                <c:pt idx="748">
                  <c:v>90513.703399035148</c:v>
                </c:pt>
                <c:pt idx="749">
                  <c:v>90661.629184185091</c:v>
                </c:pt>
                <c:pt idx="750">
                  <c:v>91292.961321126757</c:v>
                </c:pt>
                <c:pt idx="751">
                  <c:v>91063.266358937093</c:v>
                </c:pt>
                <c:pt idx="752">
                  <c:v>91063.266358937093</c:v>
                </c:pt>
                <c:pt idx="753">
                  <c:v>91063.266358937093</c:v>
                </c:pt>
                <c:pt idx="754">
                  <c:v>90600.827295212293</c:v>
                </c:pt>
                <c:pt idx="755">
                  <c:v>90804.613380425901</c:v>
                </c:pt>
                <c:pt idx="756">
                  <c:v>90490.384996512759</c:v>
                </c:pt>
                <c:pt idx="757">
                  <c:v>90728.935658950184</c:v>
                </c:pt>
                <c:pt idx="758">
                  <c:v>90336.81835472786</c:v>
                </c:pt>
                <c:pt idx="759">
                  <c:v>90336.81835472786</c:v>
                </c:pt>
                <c:pt idx="760">
                  <c:v>90336.81835472786</c:v>
                </c:pt>
                <c:pt idx="761">
                  <c:v>89817.845257739973</c:v>
                </c:pt>
                <c:pt idx="762">
                  <c:v>88853.438229000312</c:v>
                </c:pt>
                <c:pt idx="763">
                  <c:v>88609.636549650284</c:v>
                </c:pt>
                <c:pt idx="764">
                  <c:v>88781.167961318497</c:v>
                </c:pt>
                <c:pt idx="765">
                  <c:v>88937.065579266768</c:v>
                </c:pt>
                <c:pt idx="766">
                  <c:v>88937.065579266768</c:v>
                </c:pt>
                <c:pt idx="767">
                  <c:v>88937.065579266768</c:v>
                </c:pt>
                <c:pt idx="768">
                  <c:v>88646.944867011305</c:v>
                </c:pt>
                <c:pt idx="769">
                  <c:v>87981.003752791032</c:v>
                </c:pt>
                <c:pt idx="770">
                  <c:v>88013.407050895985</c:v>
                </c:pt>
                <c:pt idx="771">
                  <c:v>88622.883436216318</c:v>
                </c:pt>
                <c:pt idx="772">
                  <c:v>89071.928674002716</c:v>
                </c:pt>
                <c:pt idx="773">
                  <c:v>89071.928674002716</c:v>
                </c:pt>
                <c:pt idx="774">
                  <c:v>89071.928674002716</c:v>
                </c:pt>
                <c:pt idx="775">
                  <c:v>89158.968943241212</c:v>
                </c:pt>
                <c:pt idx="776">
                  <c:v>89319.213359542438</c:v>
                </c:pt>
                <c:pt idx="777">
                  <c:v>89725.937802888264</c:v>
                </c:pt>
                <c:pt idx="778">
                  <c:v>89846.536264521434</c:v>
                </c:pt>
                <c:pt idx="779">
                  <c:v>90209.610052844655</c:v>
                </c:pt>
                <c:pt idx="780">
                  <c:v>90209.610052844655</c:v>
                </c:pt>
                <c:pt idx="781">
                  <c:v>90209.610052844655</c:v>
                </c:pt>
                <c:pt idx="782">
                  <c:v>90511.039023870078</c:v>
                </c:pt>
                <c:pt idx="783">
                  <c:v>90905.624794847899</c:v>
                </c:pt>
                <c:pt idx="784">
                  <c:v>90865.433636375863</c:v>
                </c:pt>
                <c:pt idx="785">
                  <c:v>91186.563146256638</c:v>
                </c:pt>
                <c:pt idx="786">
                  <c:v>91322.4273411022</c:v>
                </c:pt>
                <c:pt idx="787">
                  <c:v>91322.4273411022</c:v>
                </c:pt>
                <c:pt idx="788">
                  <c:v>91322.4273411022</c:v>
                </c:pt>
                <c:pt idx="789">
                  <c:v>91565.088674040453</c:v>
                </c:pt>
                <c:pt idx="790">
                  <c:v>91997.892125628699</c:v>
                </c:pt>
                <c:pt idx="791">
                  <c:v>92050.792551163409</c:v>
                </c:pt>
                <c:pt idx="792">
                  <c:v>91445.54556495235</c:v>
                </c:pt>
                <c:pt idx="793">
                  <c:v>90458.703902634647</c:v>
                </c:pt>
                <c:pt idx="794">
                  <c:v>90458.703902634647</c:v>
                </c:pt>
                <c:pt idx="795">
                  <c:v>90458.703902634647</c:v>
                </c:pt>
                <c:pt idx="796">
                  <c:v>90698.054322372453</c:v>
                </c:pt>
                <c:pt idx="797">
                  <c:v>90203.710019171616</c:v>
                </c:pt>
                <c:pt idx="798">
                  <c:v>90489.709252691697</c:v>
                </c:pt>
                <c:pt idx="799">
                  <c:v>90107.2045733626</c:v>
                </c:pt>
                <c:pt idx="800">
                  <c:v>90081.671931035497</c:v>
                </c:pt>
                <c:pt idx="801">
                  <c:v>90081.671931035497</c:v>
                </c:pt>
                <c:pt idx="802">
                  <c:v>90081.671931035497</c:v>
                </c:pt>
                <c:pt idx="803">
                  <c:v>90330.230622070754</c:v>
                </c:pt>
                <c:pt idx="804">
                  <c:v>90394.997153535165</c:v>
                </c:pt>
                <c:pt idx="805">
                  <c:v>90022.546868209829</c:v>
                </c:pt>
                <c:pt idx="806">
                  <c:v>90100.705793738991</c:v>
                </c:pt>
                <c:pt idx="807">
                  <c:v>90370.934370924137</c:v>
                </c:pt>
                <c:pt idx="808">
                  <c:v>90370.934370924137</c:v>
                </c:pt>
                <c:pt idx="809">
                  <c:v>90370.934370924137</c:v>
                </c:pt>
                <c:pt idx="810">
                  <c:v>90456.924637511067</c:v>
                </c:pt>
                <c:pt idx="811">
                  <c:v>90279.030168014913</c:v>
                </c:pt>
                <c:pt idx="812">
                  <c:v>89843.756143591949</c:v>
                </c:pt>
                <c:pt idx="813">
                  <c:v>89820.114918147214</c:v>
                </c:pt>
                <c:pt idx="814">
                  <c:v>89813.544109676353</c:v>
                </c:pt>
                <c:pt idx="815">
                  <c:v>89813.544109676353</c:v>
                </c:pt>
                <c:pt idx="816">
                  <c:v>89813.544109676353</c:v>
                </c:pt>
                <c:pt idx="817">
                  <c:v>89952.917539822229</c:v>
                </c:pt>
                <c:pt idx="818">
                  <c:v>89617.216013118188</c:v>
                </c:pt>
                <c:pt idx="819">
                  <c:v>89485.460289241018</c:v>
                </c:pt>
                <c:pt idx="820">
                  <c:v>89388.050103971109</c:v>
                </c:pt>
                <c:pt idx="821">
                  <c:v>89367.744589366222</c:v>
                </c:pt>
                <c:pt idx="822">
                  <c:v>89369.780645754421</c:v>
                </c:pt>
                <c:pt idx="823">
                  <c:v>88377.919409416907</c:v>
                </c:pt>
                <c:pt idx="824">
                  <c:v>88011.04746494627</c:v>
                </c:pt>
                <c:pt idx="825">
                  <c:v>87233.254057505095</c:v>
                </c:pt>
                <c:pt idx="826">
                  <c:v>86988.016606105302</c:v>
                </c:pt>
                <c:pt idx="827">
                  <c:v>86961.324176631286</c:v>
                </c:pt>
                <c:pt idx="828">
                  <c:v>87315.804448449824</c:v>
                </c:pt>
                <c:pt idx="829">
                  <c:v>87315.804448449824</c:v>
                </c:pt>
                <c:pt idx="830">
                  <c:v>87315.804448449824</c:v>
                </c:pt>
                <c:pt idx="831">
                  <c:v>87508.51818251099</c:v>
                </c:pt>
                <c:pt idx="832">
                  <c:v>87228.790273465944</c:v>
                </c:pt>
                <c:pt idx="833">
                  <c:v>87113.46305741457</c:v>
                </c:pt>
                <c:pt idx="834">
                  <c:v>86558.683616182694</c:v>
                </c:pt>
                <c:pt idx="835">
                  <c:v>86634.047154550557</c:v>
                </c:pt>
                <c:pt idx="836">
                  <c:v>86634.047154550557</c:v>
                </c:pt>
                <c:pt idx="837">
                  <c:v>86634.047154550557</c:v>
                </c:pt>
                <c:pt idx="838">
                  <c:v>87228.570964029379</c:v>
                </c:pt>
                <c:pt idx="839">
                  <c:v>87165.825045426391</c:v>
                </c:pt>
                <c:pt idx="840">
                  <c:v>87134.377977943863</c:v>
                </c:pt>
                <c:pt idx="841">
                  <c:v>87668.271694591094</c:v>
                </c:pt>
                <c:pt idx="842">
                  <c:v>88049.859419353656</c:v>
                </c:pt>
                <c:pt idx="843">
                  <c:v>88049.859419353656</c:v>
                </c:pt>
                <c:pt idx="844">
                  <c:v>88049.859419353656</c:v>
                </c:pt>
                <c:pt idx="845">
                  <c:v>88548.849031745471</c:v>
                </c:pt>
                <c:pt idx="846">
                  <c:v>88558.416079621864</c:v>
                </c:pt>
                <c:pt idx="847">
                  <c:v>88560.143252122361</c:v>
                </c:pt>
                <c:pt idx="848">
                  <c:v>88517.107760469502</c:v>
                </c:pt>
                <c:pt idx="849">
                  <c:v>89013.504221094612</c:v>
                </c:pt>
                <c:pt idx="850">
                  <c:v>89013.504221094612</c:v>
                </c:pt>
                <c:pt idx="851">
                  <c:v>89013.504221094612</c:v>
                </c:pt>
                <c:pt idx="852">
                  <c:v>88891.081652190944</c:v>
                </c:pt>
                <c:pt idx="853">
                  <c:v>88957.711144694738</c:v>
                </c:pt>
                <c:pt idx="854">
                  <c:v>87967.454216198865</c:v>
                </c:pt>
                <c:pt idx="855">
                  <c:v>87858.931327785249</c:v>
                </c:pt>
                <c:pt idx="856">
                  <c:v>87981.200736721148</c:v>
                </c:pt>
                <c:pt idx="857">
                  <c:v>87981.200736721148</c:v>
                </c:pt>
                <c:pt idx="858">
                  <c:v>87981.200736721148</c:v>
                </c:pt>
                <c:pt idx="859">
                  <c:v>87966.194900672723</c:v>
                </c:pt>
                <c:pt idx="860">
                  <c:v>88176.418272570256</c:v>
                </c:pt>
                <c:pt idx="861">
                  <c:v>87840.496566268994</c:v>
                </c:pt>
                <c:pt idx="862">
                  <c:v>87626.59434599815</c:v>
                </c:pt>
                <c:pt idx="863">
                  <c:v>88037.749981006622</c:v>
                </c:pt>
                <c:pt idx="864">
                  <c:v>88037.749981006622</c:v>
                </c:pt>
                <c:pt idx="865">
                  <c:v>88037.749981006622</c:v>
                </c:pt>
                <c:pt idx="866">
                  <c:v>88173.909482063144</c:v>
                </c:pt>
                <c:pt idx="867">
                  <c:v>88134.541189357609</c:v>
                </c:pt>
                <c:pt idx="868">
                  <c:v>88706.020590182146</c:v>
                </c:pt>
                <c:pt idx="869">
                  <c:v>88804.828523361954</c:v>
                </c:pt>
                <c:pt idx="870">
                  <c:v>88727.941640284771</c:v>
                </c:pt>
                <c:pt idx="871">
                  <c:v>88727.941640284771</c:v>
                </c:pt>
                <c:pt idx="872">
                  <c:v>88727.941640284771</c:v>
                </c:pt>
                <c:pt idx="873">
                  <c:v>88899.674207544973</c:v>
                </c:pt>
                <c:pt idx="874">
                  <c:v>88827.944385274721</c:v>
                </c:pt>
                <c:pt idx="875">
                  <c:v>88495.933634324159</c:v>
                </c:pt>
                <c:pt idx="876">
                  <c:v>88040.313647446848</c:v>
                </c:pt>
                <c:pt idx="877">
                  <c:v>87371.805409617184</c:v>
                </c:pt>
                <c:pt idx="878">
                  <c:v>87371.805409617184</c:v>
                </c:pt>
                <c:pt idx="879">
                  <c:v>87371.805409617184</c:v>
                </c:pt>
                <c:pt idx="880">
                  <c:v>86426.39747860533</c:v>
                </c:pt>
                <c:pt idx="881">
                  <c:v>86587.694355523199</c:v>
                </c:pt>
                <c:pt idx="882">
                  <c:v>86427.167108407288</c:v>
                </c:pt>
                <c:pt idx="883">
                  <c:v>86545.997497151664</c:v>
                </c:pt>
                <c:pt idx="884">
                  <c:v>86258.406047547003</c:v>
                </c:pt>
                <c:pt idx="885">
                  <c:v>85266.544811209489</c:v>
                </c:pt>
                <c:pt idx="886">
                  <c:v>85266.544811209489</c:v>
                </c:pt>
                <c:pt idx="887">
                  <c:v>84974.70479888159</c:v>
                </c:pt>
                <c:pt idx="888">
                  <c:v>84760.870865793142</c:v>
                </c:pt>
                <c:pt idx="889">
                  <c:v>84860.208029717396</c:v>
                </c:pt>
                <c:pt idx="890">
                  <c:v>85444.730234238581</c:v>
                </c:pt>
                <c:pt idx="891">
                  <c:v>85746.990352240144</c:v>
                </c:pt>
                <c:pt idx="892">
                  <c:v>85746.990352240144</c:v>
                </c:pt>
                <c:pt idx="893">
                  <c:v>85746.990352240144</c:v>
                </c:pt>
                <c:pt idx="894">
                  <c:v>86023.642349686052</c:v>
                </c:pt>
                <c:pt idx="895">
                  <c:v>86549.571061960101</c:v>
                </c:pt>
                <c:pt idx="896">
                  <c:v>86380.43492949057</c:v>
                </c:pt>
                <c:pt idx="897">
                  <c:v>86487.656337403314</c:v>
                </c:pt>
                <c:pt idx="898">
                  <c:v>86533.633763628342</c:v>
                </c:pt>
                <c:pt idx="899">
                  <c:v>86533.633763628342</c:v>
                </c:pt>
                <c:pt idx="900">
                  <c:v>86533.633763628342</c:v>
                </c:pt>
                <c:pt idx="901">
                  <c:v>86936.596683954835</c:v>
                </c:pt>
                <c:pt idx="902">
                  <c:v>87294.333763525967</c:v>
                </c:pt>
                <c:pt idx="903">
                  <c:v>87158.113941154181</c:v>
                </c:pt>
                <c:pt idx="904">
                  <c:v>87315.450905575417</c:v>
                </c:pt>
                <c:pt idx="905">
                  <c:v>87553.757385798526</c:v>
                </c:pt>
                <c:pt idx="906">
                  <c:v>87553.757385798526</c:v>
                </c:pt>
                <c:pt idx="907">
                  <c:v>87553.757385798526</c:v>
                </c:pt>
                <c:pt idx="908">
                  <c:v>88210.382286328386</c:v>
                </c:pt>
                <c:pt idx="909">
                  <c:v>88011.856652711605</c:v>
                </c:pt>
                <c:pt idx="910">
                  <c:v>88075.570864869747</c:v>
                </c:pt>
                <c:pt idx="911">
                  <c:v>88174.747128384159</c:v>
                </c:pt>
                <c:pt idx="912">
                  <c:v>88214.426849141324</c:v>
                </c:pt>
                <c:pt idx="913">
                  <c:v>87222.56561280381</c:v>
                </c:pt>
                <c:pt idx="914">
                  <c:v>87222.56561280381</c:v>
                </c:pt>
                <c:pt idx="915">
                  <c:v>86480.660186295107</c:v>
                </c:pt>
                <c:pt idx="916">
                  <c:v>87501.685539199243</c:v>
                </c:pt>
                <c:pt idx="917">
                  <c:v>87269.113365426791</c:v>
                </c:pt>
                <c:pt idx="918">
                  <c:v>87394.230028575636</c:v>
                </c:pt>
                <c:pt idx="919">
                  <c:v>86842.485382007362</c:v>
                </c:pt>
                <c:pt idx="920">
                  <c:v>86842.485382007362</c:v>
                </c:pt>
                <c:pt idx="921">
                  <c:v>86842.485382007362</c:v>
                </c:pt>
                <c:pt idx="922">
                  <c:v>86857.516991223369</c:v>
                </c:pt>
                <c:pt idx="923">
                  <c:v>86723.646722698672</c:v>
                </c:pt>
                <c:pt idx="924">
                  <c:v>86626.065769731067</c:v>
                </c:pt>
                <c:pt idx="925">
                  <c:v>86003.671607224271</c:v>
                </c:pt>
                <c:pt idx="926">
                  <c:v>85871.731645937834</c:v>
                </c:pt>
                <c:pt idx="927">
                  <c:v>85871.731645937834</c:v>
                </c:pt>
                <c:pt idx="928">
                  <c:v>85871.731645937834</c:v>
                </c:pt>
                <c:pt idx="929">
                  <c:v>86201.264613634092</c:v>
                </c:pt>
                <c:pt idx="930">
                  <c:v>86687.556031560947</c:v>
                </c:pt>
                <c:pt idx="931">
                  <c:v>86347.447287852512</c:v>
                </c:pt>
                <c:pt idx="932">
                  <c:v>86363.646604317895</c:v>
                </c:pt>
                <c:pt idx="933">
                  <c:v>86517.55122574915</c:v>
                </c:pt>
                <c:pt idx="934">
                  <c:v>86517.55122574915</c:v>
                </c:pt>
                <c:pt idx="935">
                  <c:v>86517.55122574915</c:v>
                </c:pt>
                <c:pt idx="936">
                  <c:v>86002.778059826654</c:v>
                </c:pt>
                <c:pt idx="937">
                  <c:v>86437.170463360409</c:v>
                </c:pt>
                <c:pt idx="938">
                  <c:v>86396.128149988072</c:v>
                </c:pt>
                <c:pt idx="939">
                  <c:v>86091.584200071724</c:v>
                </c:pt>
                <c:pt idx="940">
                  <c:v>86375.752201902287</c:v>
                </c:pt>
                <c:pt idx="941">
                  <c:v>86375.752201902287</c:v>
                </c:pt>
                <c:pt idx="942">
                  <c:v>86375.752201902287</c:v>
                </c:pt>
                <c:pt idx="943">
                  <c:v>86395.56619482713</c:v>
                </c:pt>
                <c:pt idx="944">
                  <c:v>85748.059455877723</c:v>
                </c:pt>
                <c:pt idx="945">
                  <c:v>85771.18077699955</c:v>
                </c:pt>
                <c:pt idx="946">
                  <c:v>85781.165974820717</c:v>
                </c:pt>
                <c:pt idx="947">
                  <c:v>85870.779774666371</c:v>
                </c:pt>
                <c:pt idx="948">
                  <c:v>85870.779774666371</c:v>
                </c:pt>
                <c:pt idx="949">
                  <c:v>85870.779774666371</c:v>
                </c:pt>
                <c:pt idx="950">
                  <c:v>85242.479293955563</c:v>
                </c:pt>
                <c:pt idx="951">
                  <c:v>84979.374682091177</c:v>
                </c:pt>
                <c:pt idx="952">
                  <c:v>85419.195463324562</c:v>
                </c:pt>
                <c:pt idx="953">
                  <c:v>85101.451089979382</c:v>
                </c:pt>
                <c:pt idx="954">
                  <c:v>84552.869435151559</c:v>
                </c:pt>
                <c:pt idx="955">
                  <c:v>84552.869435151559</c:v>
                </c:pt>
                <c:pt idx="956">
                  <c:v>84552.869435151559</c:v>
                </c:pt>
                <c:pt idx="957">
                  <c:v>84753.538024572059</c:v>
                </c:pt>
                <c:pt idx="958">
                  <c:v>84497.702350747699</c:v>
                </c:pt>
                <c:pt idx="959">
                  <c:v>84691.93487855501</c:v>
                </c:pt>
                <c:pt idx="960">
                  <c:v>84934.427731432646</c:v>
                </c:pt>
                <c:pt idx="961">
                  <c:v>84936.275072222677</c:v>
                </c:pt>
                <c:pt idx="962">
                  <c:v>84936.275072222677</c:v>
                </c:pt>
                <c:pt idx="963">
                  <c:v>84936.275072222677</c:v>
                </c:pt>
                <c:pt idx="964">
                  <c:v>84843.547329335634</c:v>
                </c:pt>
                <c:pt idx="965">
                  <c:v>85386.68313941588</c:v>
                </c:pt>
                <c:pt idx="966">
                  <c:v>85523.904542880569</c:v>
                </c:pt>
                <c:pt idx="967">
                  <c:v>85473.670555221805</c:v>
                </c:pt>
                <c:pt idx="968">
                  <c:v>85429.266402147405</c:v>
                </c:pt>
                <c:pt idx="969">
                  <c:v>85429.266402147405</c:v>
                </c:pt>
                <c:pt idx="970">
                  <c:v>85429.266402147405</c:v>
                </c:pt>
                <c:pt idx="971">
                  <c:v>85507.556840246078</c:v>
                </c:pt>
                <c:pt idx="972">
                  <c:v>86002.727544793568</c:v>
                </c:pt>
                <c:pt idx="973">
                  <c:v>85944.70933936756</c:v>
                </c:pt>
                <c:pt idx="974">
                  <c:v>84972.386953735157</c:v>
                </c:pt>
                <c:pt idx="975">
                  <c:v>85106.650666736285</c:v>
                </c:pt>
                <c:pt idx="976">
                  <c:v>85106.65066673627</c:v>
                </c:pt>
                <c:pt idx="977">
                  <c:v>85106.65066673627</c:v>
                </c:pt>
                <c:pt idx="978">
                  <c:v>85123.535834739203</c:v>
                </c:pt>
                <c:pt idx="979">
                  <c:v>84743.910504125277</c:v>
                </c:pt>
                <c:pt idx="980">
                  <c:v>84899.287726762574</c:v>
                </c:pt>
                <c:pt idx="981">
                  <c:v>85155.785454842669</c:v>
                </c:pt>
                <c:pt idx="982">
                  <c:v>85290.780111383312</c:v>
                </c:pt>
                <c:pt idx="983">
                  <c:v>85290.780111383312</c:v>
                </c:pt>
                <c:pt idx="984">
                  <c:v>85290.780111383312</c:v>
                </c:pt>
                <c:pt idx="985">
                  <c:v>85550.236540879298</c:v>
                </c:pt>
                <c:pt idx="986">
                  <c:v>85811.083489604265</c:v>
                </c:pt>
                <c:pt idx="987">
                  <c:v>86182.756391939663</c:v>
                </c:pt>
                <c:pt idx="988">
                  <c:v>85847.0446503766</c:v>
                </c:pt>
                <c:pt idx="989">
                  <c:v>85818.936259044305</c:v>
                </c:pt>
                <c:pt idx="990">
                  <c:v>85818.936259044305</c:v>
                </c:pt>
                <c:pt idx="991">
                  <c:v>85818.936259044305</c:v>
                </c:pt>
                <c:pt idx="992">
                  <c:v>85821.627686777574</c:v>
                </c:pt>
                <c:pt idx="993">
                  <c:v>85391.346452514845</c:v>
                </c:pt>
                <c:pt idx="994">
                  <c:v>85580.102640508325</c:v>
                </c:pt>
                <c:pt idx="995">
                  <c:v>85621.646311771721</c:v>
                </c:pt>
                <c:pt idx="996">
                  <c:v>85712.74672454987</c:v>
                </c:pt>
                <c:pt idx="997">
                  <c:v>85712.74672454987</c:v>
                </c:pt>
                <c:pt idx="998">
                  <c:v>85712.74672454987</c:v>
                </c:pt>
                <c:pt idx="999">
                  <c:v>85811.568610182891</c:v>
                </c:pt>
                <c:pt idx="1000">
                  <c:v>85988.097603361864</c:v>
                </c:pt>
                <c:pt idx="1001">
                  <c:v>86090.974047095238</c:v>
                </c:pt>
                <c:pt idx="1002">
                  <c:v>86322.709426486515</c:v>
                </c:pt>
                <c:pt idx="1003">
                  <c:v>86249.378785500434</c:v>
                </c:pt>
                <c:pt idx="1004">
                  <c:v>86250.791101828159</c:v>
                </c:pt>
                <c:pt idx="1005">
                  <c:v>85258.929865490645</c:v>
                </c:pt>
                <c:pt idx="1006">
                  <c:v>85297.573731228971</c:v>
                </c:pt>
                <c:pt idx="1007">
                  <c:v>85161.178756840891</c:v>
                </c:pt>
                <c:pt idx="1008">
                  <c:v>85174.597450487476</c:v>
                </c:pt>
                <c:pt idx="1009">
                  <c:v>85164.486782862194</c:v>
                </c:pt>
                <c:pt idx="1010">
                  <c:v>85514.70251040117</c:v>
                </c:pt>
                <c:pt idx="1011">
                  <c:v>85514.70251040117</c:v>
                </c:pt>
                <c:pt idx="1012">
                  <c:v>85514.70251040117</c:v>
                </c:pt>
                <c:pt idx="1013">
                  <c:v>85695.802400436645</c:v>
                </c:pt>
                <c:pt idx="1014">
                  <c:v>85784.56249620016</c:v>
                </c:pt>
                <c:pt idx="1015">
                  <c:v>85542.652989528287</c:v>
                </c:pt>
                <c:pt idx="1016">
                  <c:v>85449.116007783479</c:v>
                </c:pt>
                <c:pt idx="1017">
                  <c:v>85016.552963435039</c:v>
                </c:pt>
                <c:pt idx="1018">
                  <c:v>85016.552963435039</c:v>
                </c:pt>
                <c:pt idx="1019">
                  <c:v>85016.552963435039</c:v>
                </c:pt>
                <c:pt idx="1020">
                  <c:v>84850.682718528988</c:v>
                </c:pt>
                <c:pt idx="1021">
                  <c:v>84863.29326941997</c:v>
                </c:pt>
                <c:pt idx="1022">
                  <c:v>85138.606697553987</c:v>
                </c:pt>
                <c:pt idx="1023">
                  <c:v>85271.531986557355</c:v>
                </c:pt>
                <c:pt idx="1024">
                  <c:v>85375.92160919412</c:v>
                </c:pt>
                <c:pt idx="1025">
                  <c:v>85375.92160919412</c:v>
                </c:pt>
                <c:pt idx="1026">
                  <c:v>85375.92160919412</c:v>
                </c:pt>
                <c:pt idx="1027">
                  <c:v>85190.708203279704</c:v>
                </c:pt>
                <c:pt idx="1028">
                  <c:v>85147.409514691128</c:v>
                </c:pt>
                <c:pt idx="1029">
                  <c:v>84818.14019066839</c:v>
                </c:pt>
                <c:pt idx="1030">
                  <c:v>84722.25236714691</c:v>
                </c:pt>
                <c:pt idx="1031">
                  <c:v>84821.075435364604</c:v>
                </c:pt>
                <c:pt idx="1032">
                  <c:v>84821.075435364604</c:v>
                </c:pt>
                <c:pt idx="1033">
                  <c:v>84821.075435364604</c:v>
                </c:pt>
                <c:pt idx="1034">
                  <c:v>84656.75135387099</c:v>
                </c:pt>
                <c:pt idx="1035">
                  <c:v>83931.271745528938</c:v>
                </c:pt>
                <c:pt idx="1036">
                  <c:v>83889.166204619294</c:v>
                </c:pt>
                <c:pt idx="1037">
                  <c:v>84253.997478823105</c:v>
                </c:pt>
                <c:pt idx="1038">
                  <c:v>84231.23128199295</c:v>
                </c:pt>
                <c:pt idx="1039">
                  <c:v>84231.23128199295</c:v>
                </c:pt>
                <c:pt idx="1040">
                  <c:v>84231.23128199295</c:v>
                </c:pt>
                <c:pt idx="1041">
                  <c:v>83925.364239656381</c:v>
                </c:pt>
                <c:pt idx="1042">
                  <c:v>83421.217694788895</c:v>
                </c:pt>
                <c:pt idx="1043">
                  <c:v>83457.280086565588</c:v>
                </c:pt>
                <c:pt idx="1044">
                  <c:v>83067.617728703743</c:v>
                </c:pt>
                <c:pt idx="1045">
                  <c:v>83207.639246378632</c:v>
                </c:pt>
                <c:pt idx="1046">
                  <c:v>83207.639246378632</c:v>
                </c:pt>
                <c:pt idx="1047">
                  <c:v>83207.639246378632</c:v>
                </c:pt>
                <c:pt idx="1048">
                  <c:v>83595.878652339277</c:v>
                </c:pt>
                <c:pt idx="1049">
                  <c:v>83125.679087176308</c:v>
                </c:pt>
                <c:pt idx="1050">
                  <c:v>83570.605211332135</c:v>
                </c:pt>
                <c:pt idx="1051">
                  <c:v>83297.096337443742</c:v>
                </c:pt>
                <c:pt idx="1052">
                  <c:v>83549.677622885196</c:v>
                </c:pt>
                <c:pt idx="1053">
                  <c:v>83549.677622885196</c:v>
                </c:pt>
                <c:pt idx="1054">
                  <c:v>83549.677622885196</c:v>
                </c:pt>
                <c:pt idx="1055">
                  <c:v>83400.937607479776</c:v>
                </c:pt>
                <c:pt idx="1056">
                  <c:v>83774.698909367711</c:v>
                </c:pt>
                <c:pt idx="1057">
                  <c:v>83805.953875625739</c:v>
                </c:pt>
                <c:pt idx="1058">
                  <c:v>83959.9080779246</c:v>
                </c:pt>
                <c:pt idx="1059">
                  <c:v>83686.335867328482</c:v>
                </c:pt>
                <c:pt idx="1060">
                  <c:v>83686.335867328482</c:v>
                </c:pt>
                <c:pt idx="1061">
                  <c:v>83686.335867328482</c:v>
                </c:pt>
                <c:pt idx="1062">
                  <c:v>83537.451348286311</c:v>
                </c:pt>
                <c:pt idx="1063">
                  <c:v>83757.281922503302</c:v>
                </c:pt>
                <c:pt idx="1064">
                  <c:v>83559.437967422695</c:v>
                </c:pt>
                <c:pt idx="1065">
                  <c:v>82962.96902389302</c:v>
                </c:pt>
                <c:pt idx="1066">
                  <c:v>81845.458844450171</c:v>
                </c:pt>
                <c:pt idx="1067">
                  <c:v>81845.458844450171</c:v>
                </c:pt>
                <c:pt idx="1068">
                  <c:v>81845.458844450171</c:v>
                </c:pt>
                <c:pt idx="1069">
                  <c:v>81799.949962033425</c:v>
                </c:pt>
                <c:pt idx="1070">
                  <c:v>81733.599953080484</c:v>
                </c:pt>
                <c:pt idx="1071">
                  <c:v>81550.043451641846</c:v>
                </c:pt>
                <c:pt idx="1072">
                  <c:v>81351.51279850537</c:v>
                </c:pt>
                <c:pt idx="1073">
                  <c:v>81428.292868799123</c:v>
                </c:pt>
                <c:pt idx="1074">
                  <c:v>81428.292868799123</c:v>
                </c:pt>
                <c:pt idx="1075">
                  <c:v>81428.292868799123</c:v>
                </c:pt>
                <c:pt idx="1076">
                  <c:v>81886.182399537982</c:v>
                </c:pt>
                <c:pt idx="1077">
                  <c:v>81804.829025961473</c:v>
                </c:pt>
                <c:pt idx="1078">
                  <c:v>82565.918544364278</c:v>
                </c:pt>
                <c:pt idx="1079">
                  <c:v>82937.041565112231</c:v>
                </c:pt>
                <c:pt idx="1080">
                  <c:v>82864.13548503218</c:v>
                </c:pt>
                <c:pt idx="1081">
                  <c:v>82864.13548503218</c:v>
                </c:pt>
                <c:pt idx="1082">
                  <c:v>82864.13548503218</c:v>
                </c:pt>
                <c:pt idx="1083">
                  <c:v>83358.469108768593</c:v>
                </c:pt>
                <c:pt idx="1084">
                  <c:v>83894.696801983722</c:v>
                </c:pt>
                <c:pt idx="1085">
                  <c:v>83694.703447444364</c:v>
                </c:pt>
                <c:pt idx="1086">
                  <c:v>84105.131643923276</c:v>
                </c:pt>
                <c:pt idx="1087">
                  <c:v>83969.816562902968</c:v>
                </c:pt>
                <c:pt idx="1088">
                  <c:v>83969.816562902968</c:v>
                </c:pt>
                <c:pt idx="1089">
                  <c:v>83969.816562902968</c:v>
                </c:pt>
                <c:pt idx="1090">
                  <c:v>84173.546953233716</c:v>
                </c:pt>
                <c:pt idx="1091">
                  <c:v>84580.224458933852</c:v>
                </c:pt>
                <c:pt idx="1092">
                  <c:v>84655.527696007528</c:v>
                </c:pt>
                <c:pt idx="1093">
                  <c:v>84504.225470281162</c:v>
                </c:pt>
                <c:pt idx="1094">
                  <c:v>84606.03299221929</c:v>
                </c:pt>
                <c:pt idx="1095">
                  <c:v>84606.03299221929</c:v>
                </c:pt>
                <c:pt idx="1096">
                  <c:v>84608.835609365182</c:v>
                </c:pt>
                <c:pt idx="1097">
                  <c:v>83657.443388283253</c:v>
                </c:pt>
                <c:pt idx="1098">
                  <c:v>83781.629976811353</c:v>
                </c:pt>
                <c:pt idx="1099">
                  <c:v>84178.86551978749</c:v>
                </c:pt>
                <c:pt idx="1100">
                  <c:v>84129.473452593331</c:v>
                </c:pt>
                <c:pt idx="1101">
                  <c:v>84199.713932383005</c:v>
                </c:pt>
                <c:pt idx="1102">
                  <c:v>84199.713932383005</c:v>
                </c:pt>
                <c:pt idx="1103">
                  <c:v>84199.713932383005</c:v>
                </c:pt>
                <c:pt idx="1104">
                  <c:v>84491.581353706584</c:v>
                </c:pt>
                <c:pt idx="1105">
                  <c:v>84394.02230438072</c:v>
                </c:pt>
                <c:pt idx="1106">
                  <c:v>84290.755381898853</c:v>
                </c:pt>
                <c:pt idx="1107">
                  <c:v>84001.697954233416</c:v>
                </c:pt>
                <c:pt idx="1108">
                  <c:v>83983.711174660668</c:v>
                </c:pt>
                <c:pt idx="1109">
                  <c:v>83983.711174660668</c:v>
                </c:pt>
                <c:pt idx="1110">
                  <c:v>83983.711174660668</c:v>
                </c:pt>
                <c:pt idx="1111">
                  <c:v>83829.850445887132</c:v>
                </c:pt>
                <c:pt idx="1112">
                  <c:v>83970.089452995962</c:v>
                </c:pt>
                <c:pt idx="1113">
                  <c:v>83635.227568398957</c:v>
                </c:pt>
                <c:pt idx="1114">
                  <c:v>83767.272019850076</c:v>
                </c:pt>
                <c:pt idx="1115">
                  <c:v>83967.579520613726</c:v>
                </c:pt>
                <c:pt idx="1116">
                  <c:v>83967.579520613726</c:v>
                </c:pt>
                <c:pt idx="1117">
                  <c:v>83967.579520613726</c:v>
                </c:pt>
                <c:pt idx="1118">
                  <c:v>83483.028758307773</c:v>
                </c:pt>
                <c:pt idx="1119">
                  <c:v>82889.184254791689</c:v>
                </c:pt>
                <c:pt idx="1120">
                  <c:v>82966.47345404714</c:v>
                </c:pt>
                <c:pt idx="1121">
                  <c:v>82322.883852007566</c:v>
                </c:pt>
                <c:pt idx="1122">
                  <c:v>82590.811308835255</c:v>
                </c:pt>
                <c:pt idx="1123">
                  <c:v>82590.811308835255</c:v>
                </c:pt>
                <c:pt idx="1124">
                  <c:v>82590.811308835255</c:v>
                </c:pt>
                <c:pt idx="1125">
                  <c:v>82454.464673983413</c:v>
                </c:pt>
                <c:pt idx="1126">
                  <c:v>82490.787135471066</c:v>
                </c:pt>
                <c:pt idx="1127">
                  <c:v>81087.40658407443</c:v>
                </c:pt>
                <c:pt idx="1128">
                  <c:v>80755.351059315624</c:v>
                </c:pt>
                <c:pt idx="1129">
                  <c:v>81394.086639094196</c:v>
                </c:pt>
                <c:pt idx="1130">
                  <c:v>81394.086639094196</c:v>
                </c:pt>
                <c:pt idx="1131">
                  <c:v>81394.086639094196</c:v>
                </c:pt>
                <c:pt idx="1132">
                  <c:v>81539.133294471205</c:v>
                </c:pt>
                <c:pt idx="1133">
                  <c:v>80775.72352592781</c:v>
                </c:pt>
                <c:pt idx="1134">
                  <c:v>80832.658391585937</c:v>
                </c:pt>
                <c:pt idx="1135">
                  <c:v>80176.999592748078</c:v>
                </c:pt>
                <c:pt idx="1136">
                  <c:v>79566.036071212628</c:v>
                </c:pt>
                <c:pt idx="1137">
                  <c:v>79566.036071212628</c:v>
                </c:pt>
                <c:pt idx="1138">
                  <c:v>79566.036071212628</c:v>
                </c:pt>
                <c:pt idx="1139">
                  <c:v>79478.430738552997</c:v>
                </c:pt>
                <c:pt idx="1140">
                  <c:v>79932.140481691429</c:v>
                </c:pt>
                <c:pt idx="1141">
                  <c:v>79006.737315764316</c:v>
                </c:pt>
                <c:pt idx="1142">
                  <c:v>78687.569042824238</c:v>
                </c:pt>
                <c:pt idx="1143">
                  <c:v>79324.745213432907</c:v>
                </c:pt>
                <c:pt idx="1144">
                  <c:v>79324.745213432907</c:v>
                </c:pt>
                <c:pt idx="1145">
                  <c:v>79324.745213432907</c:v>
                </c:pt>
                <c:pt idx="1146">
                  <c:v>79303.266785335392</c:v>
                </c:pt>
                <c:pt idx="1147">
                  <c:v>80131.627313869758</c:v>
                </c:pt>
                <c:pt idx="1148">
                  <c:v>80458.07029374897</c:v>
                </c:pt>
                <c:pt idx="1149">
                  <c:v>80887.830269470287</c:v>
                </c:pt>
                <c:pt idx="1150">
                  <c:v>80786.812313587157</c:v>
                </c:pt>
                <c:pt idx="1151">
                  <c:v>80786.812313587172</c:v>
                </c:pt>
                <c:pt idx="1152">
                  <c:v>80786.812313587172</c:v>
                </c:pt>
                <c:pt idx="1153">
                  <c:v>80556.356031565214</c:v>
                </c:pt>
                <c:pt idx="1154">
                  <c:v>80880.232176261095</c:v>
                </c:pt>
                <c:pt idx="1155">
                  <c:v>81116.209231341112</c:v>
                </c:pt>
                <c:pt idx="1156">
                  <c:v>81432.727551275602</c:v>
                </c:pt>
                <c:pt idx="1157">
                  <c:v>81854.145743691639</c:v>
                </c:pt>
                <c:pt idx="1158">
                  <c:v>80862.284507354139</c:v>
                </c:pt>
                <c:pt idx="1159">
                  <c:v>80862.284507354139</c:v>
                </c:pt>
                <c:pt idx="1160">
                  <c:v>80511.71619683053</c:v>
                </c:pt>
                <c:pt idx="1161">
                  <c:v>80321.769010904871</c:v>
                </c:pt>
                <c:pt idx="1162">
                  <c:v>80788.221346987892</c:v>
                </c:pt>
                <c:pt idx="1163">
                  <c:v>81048.32973005384</c:v>
                </c:pt>
                <c:pt idx="1164">
                  <c:v>81146.255847636043</c:v>
                </c:pt>
                <c:pt idx="1165">
                  <c:v>81146.255847636043</c:v>
                </c:pt>
                <c:pt idx="1166">
                  <c:v>81146.255847636043</c:v>
                </c:pt>
                <c:pt idx="1167">
                  <c:v>81420.596935196503</c:v>
                </c:pt>
                <c:pt idx="1168">
                  <c:v>81684.171260065967</c:v>
                </c:pt>
                <c:pt idx="1169">
                  <c:v>81759.085896474935</c:v>
                </c:pt>
                <c:pt idx="1170">
                  <c:v>82357.682591093399</c:v>
                </c:pt>
                <c:pt idx="1171">
                  <c:v>82689.27876847767</c:v>
                </c:pt>
                <c:pt idx="1172">
                  <c:v>82689.27876847767</c:v>
                </c:pt>
                <c:pt idx="1173">
                  <c:v>82689.27876847767</c:v>
                </c:pt>
                <c:pt idx="1174">
                  <c:v>82819.090045966164</c:v>
                </c:pt>
                <c:pt idx="1175">
                  <c:v>83332.350341587065</c:v>
                </c:pt>
                <c:pt idx="1176">
                  <c:v>83135.889775710457</c:v>
                </c:pt>
                <c:pt idx="1177">
                  <c:v>83112.709220031204</c:v>
                </c:pt>
                <c:pt idx="1178">
                  <c:v>83571.624438373256</c:v>
                </c:pt>
                <c:pt idx="1179">
                  <c:v>83571.624438373256</c:v>
                </c:pt>
                <c:pt idx="1180">
                  <c:v>83571.624438373256</c:v>
                </c:pt>
                <c:pt idx="1181">
                  <c:v>83558.662880566655</c:v>
                </c:pt>
                <c:pt idx="1182">
                  <c:v>83784.649172752906</c:v>
                </c:pt>
                <c:pt idx="1183">
                  <c:v>83754.570919380072</c:v>
                </c:pt>
                <c:pt idx="1184">
                  <c:v>83924.304473741504</c:v>
                </c:pt>
                <c:pt idx="1185">
                  <c:v>84085.467874012946</c:v>
                </c:pt>
                <c:pt idx="1186">
                  <c:v>84085.467874012946</c:v>
                </c:pt>
                <c:pt idx="1187">
                  <c:v>84088.212137793758</c:v>
                </c:pt>
                <c:pt idx="1188">
                  <c:v>82668.868798412135</c:v>
                </c:pt>
                <c:pt idx="1189">
                  <c:v>83021.28982352998</c:v>
                </c:pt>
                <c:pt idx="1190">
                  <c:v>82743.083629956585</c:v>
                </c:pt>
                <c:pt idx="1191">
                  <c:v>82776.32708698597</c:v>
                </c:pt>
                <c:pt idx="1192">
                  <c:v>83268.60535404172</c:v>
                </c:pt>
                <c:pt idx="1193">
                  <c:v>83268.60535404172</c:v>
                </c:pt>
                <c:pt idx="1194">
                  <c:v>83268.60535404172</c:v>
                </c:pt>
                <c:pt idx="1195">
                  <c:v>82773.87322055691</c:v>
                </c:pt>
                <c:pt idx="1196">
                  <c:v>82138.280129022154</c:v>
                </c:pt>
                <c:pt idx="1197">
                  <c:v>81663.897252117444</c:v>
                </c:pt>
                <c:pt idx="1198">
                  <c:v>81628.315761269347</c:v>
                </c:pt>
                <c:pt idx="1199">
                  <c:v>80691.424808039796</c:v>
                </c:pt>
                <c:pt idx="1200">
                  <c:v>80691.424808039796</c:v>
                </c:pt>
                <c:pt idx="1201">
                  <c:v>80691.424808039796</c:v>
                </c:pt>
                <c:pt idx="1202">
                  <c:v>80080.465456875056</c:v>
                </c:pt>
                <c:pt idx="1203">
                  <c:v>80232.505595955809</c:v>
                </c:pt>
                <c:pt idx="1204">
                  <c:v>80644.944048411562</c:v>
                </c:pt>
                <c:pt idx="1205">
                  <c:v>81796.16780207571</c:v>
                </c:pt>
                <c:pt idx="1206">
                  <c:v>81972.622495090953</c:v>
                </c:pt>
                <c:pt idx="1207">
                  <c:v>81972.622495090953</c:v>
                </c:pt>
                <c:pt idx="1208">
                  <c:v>81972.622495090953</c:v>
                </c:pt>
                <c:pt idx="1209">
                  <c:v>82351.299451228653</c:v>
                </c:pt>
                <c:pt idx="1210">
                  <c:v>82677.636569021226</c:v>
                </c:pt>
                <c:pt idx="1211">
                  <c:v>82696.195755506502</c:v>
                </c:pt>
                <c:pt idx="1212">
                  <c:v>82675.636480617701</c:v>
                </c:pt>
                <c:pt idx="1213">
                  <c:v>82628.409255145118</c:v>
                </c:pt>
                <c:pt idx="1214">
                  <c:v>82628.409255145118</c:v>
                </c:pt>
                <c:pt idx="1215">
                  <c:v>82628.409255145118</c:v>
                </c:pt>
                <c:pt idx="1216">
                  <c:v>82968.171134711461</c:v>
                </c:pt>
                <c:pt idx="1217">
                  <c:v>82471.228793418879</c:v>
                </c:pt>
                <c:pt idx="1218">
                  <c:v>82267.937783494577</c:v>
                </c:pt>
                <c:pt idx="1219">
                  <c:v>81272.249228794724</c:v>
                </c:pt>
                <c:pt idx="1220">
                  <c:v>81684.597882811635</c:v>
                </c:pt>
                <c:pt idx="1221">
                  <c:v>81684.597882811635</c:v>
                </c:pt>
                <c:pt idx="1222">
                  <c:v>81684.597882811635</c:v>
                </c:pt>
                <c:pt idx="1223">
                  <c:v>81198.000911657189</c:v>
                </c:pt>
                <c:pt idx="1224">
                  <c:v>81145.720214643792</c:v>
                </c:pt>
                <c:pt idx="1225">
                  <c:v>81730.045596020514</c:v>
                </c:pt>
                <c:pt idx="1226">
                  <c:v>82801.190665026981</c:v>
                </c:pt>
                <c:pt idx="1227">
                  <c:v>82217.421951426353</c:v>
                </c:pt>
                <c:pt idx="1228">
                  <c:v>82217.421951426353</c:v>
                </c:pt>
                <c:pt idx="1229">
                  <c:v>82217.421951426353</c:v>
                </c:pt>
                <c:pt idx="1230">
                  <c:v>82234.549410771593</c:v>
                </c:pt>
                <c:pt idx="1231">
                  <c:v>82395.53734020055</c:v>
                </c:pt>
                <c:pt idx="1232">
                  <c:v>81624.650748917615</c:v>
                </c:pt>
                <c:pt idx="1233">
                  <c:v>82244.878889969434</c:v>
                </c:pt>
                <c:pt idx="1234">
                  <c:v>82815.615746618554</c:v>
                </c:pt>
                <c:pt idx="1235">
                  <c:v>82815.615746618554</c:v>
                </c:pt>
                <c:pt idx="1236">
                  <c:v>82815.615746618554</c:v>
                </c:pt>
                <c:pt idx="1237">
                  <c:v>83072.545132369356</c:v>
                </c:pt>
                <c:pt idx="1238">
                  <c:v>83077.977935597708</c:v>
                </c:pt>
                <c:pt idx="1239">
                  <c:v>83822.170606308078</c:v>
                </c:pt>
                <c:pt idx="1240">
                  <c:v>84341.222717175697</c:v>
                </c:pt>
                <c:pt idx="1241">
                  <c:v>84842.264654934144</c:v>
                </c:pt>
                <c:pt idx="1242">
                  <c:v>84842.264654934144</c:v>
                </c:pt>
                <c:pt idx="1243">
                  <c:v>84842.264654934144</c:v>
                </c:pt>
                <c:pt idx="1244">
                  <c:v>84793.713134479098</c:v>
                </c:pt>
                <c:pt idx="1245">
                  <c:v>84128.502512031453</c:v>
                </c:pt>
                <c:pt idx="1246">
                  <c:v>83828.767228637735</c:v>
                </c:pt>
                <c:pt idx="1247">
                  <c:v>84027.650827995894</c:v>
                </c:pt>
                <c:pt idx="1248">
                  <c:v>83747.468625742302</c:v>
                </c:pt>
                <c:pt idx="1249">
                  <c:v>83748.797848814851</c:v>
                </c:pt>
                <c:pt idx="1250">
                  <c:v>82756.936612477337</c:v>
                </c:pt>
                <c:pt idx="1251">
                  <c:v>83170.510099837484</c:v>
                </c:pt>
                <c:pt idx="1252">
                  <c:v>83531.485666556167</c:v>
                </c:pt>
                <c:pt idx="1253">
                  <c:v>83304.064430778628</c:v>
                </c:pt>
                <c:pt idx="1254">
                  <c:v>83246.579578095087</c:v>
                </c:pt>
                <c:pt idx="1255">
                  <c:v>83024.073350169754</c:v>
                </c:pt>
                <c:pt idx="1256">
                  <c:v>83024.073350169754</c:v>
                </c:pt>
                <c:pt idx="1257">
                  <c:v>83024.073350169754</c:v>
                </c:pt>
                <c:pt idx="1258">
                  <c:v>82842.177958561471</c:v>
                </c:pt>
                <c:pt idx="1259">
                  <c:v>83066.997960581648</c:v>
                </c:pt>
                <c:pt idx="1260">
                  <c:v>82822.015482657822</c:v>
                </c:pt>
                <c:pt idx="1261">
                  <c:v>82992.257667689701</c:v>
                </c:pt>
                <c:pt idx="1262">
                  <c:v>83244.39088522864</c:v>
                </c:pt>
                <c:pt idx="1263">
                  <c:v>83244.39088522864</c:v>
                </c:pt>
                <c:pt idx="1264">
                  <c:v>83244.39088522864</c:v>
                </c:pt>
                <c:pt idx="1265">
                  <c:v>83156.073572838417</c:v>
                </c:pt>
                <c:pt idx="1266">
                  <c:v>83423.250045736408</c:v>
                </c:pt>
                <c:pt idx="1267">
                  <c:v>83153.403528357463</c:v>
                </c:pt>
                <c:pt idx="1268">
                  <c:v>83237.190793650239</c:v>
                </c:pt>
                <c:pt idx="1269">
                  <c:v>83658.389624196832</c:v>
                </c:pt>
                <c:pt idx="1270">
                  <c:v>83658.389624196832</c:v>
                </c:pt>
                <c:pt idx="1271">
                  <c:v>83658.389624196832</c:v>
                </c:pt>
                <c:pt idx="1272">
                  <c:v>83558.120551776708</c:v>
                </c:pt>
                <c:pt idx="1273">
                  <c:v>83691.196509718327</c:v>
                </c:pt>
                <c:pt idx="1274">
                  <c:v>83795.534165393721</c:v>
                </c:pt>
                <c:pt idx="1275">
                  <c:v>83941.432522365038</c:v>
                </c:pt>
                <c:pt idx="1276">
                  <c:v>83884.67339065265</c:v>
                </c:pt>
                <c:pt idx="1277">
                  <c:v>83886.022918889677</c:v>
                </c:pt>
                <c:pt idx="1278">
                  <c:v>82894.161682552163</c:v>
                </c:pt>
                <c:pt idx="1279">
                  <c:v>83081.757536711404</c:v>
                </c:pt>
                <c:pt idx="1280">
                  <c:v>82612.449251121521</c:v>
                </c:pt>
                <c:pt idx="1281">
                  <c:v>82842.409198766996</c:v>
                </c:pt>
                <c:pt idx="1282">
                  <c:v>83149.289559020079</c:v>
                </c:pt>
                <c:pt idx="1283">
                  <c:v>82946.476551437212</c:v>
                </c:pt>
                <c:pt idx="1284">
                  <c:v>82946.476551437212</c:v>
                </c:pt>
                <c:pt idx="1285">
                  <c:v>82946.476551437212</c:v>
                </c:pt>
                <c:pt idx="1286">
                  <c:v>82550.499138430532</c:v>
                </c:pt>
                <c:pt idx="1287">
                  <c:v>81545.784608062604</c:v>
                </c:pt>
                <c:pt idx="1288">
                  <c:v>82131.834958008476</c:v>
                </c:pt>
                <c:pt idx="1289">
                  <c:v>82871.973873388721</c:v>
                </c:pt>
                <c:pt idx="1290">
                  <c:v>83092.713983413167</c:v>
                </c:pt>
                <c:pt idx="1291">
                  <c:v>83092.713983413167</c:v>
                </c:pt>
                <c:pt idx="1292">
                  <c:v>83092.713983413167</c:v>
                </c:pt>
                <c:pt idx="1293">
                  <c:v>83503.738466343289</c:v>
                </c:pt>
                <c:pt idx="1294">
                  <c:v>83643.36444115483</c:v>
                </c:pt>
                <c:pt idx="1295">
                  <c:v>84581.737683188738</c:v>
                </c:pt>
                <c:pt idx="1296">
                  <c:v>84726.376311554239</c:v>
                </c:pt>
                <c:pt idx="1297">
                  <c:v>84896.88456842817</c:v>
                </c:pt>
                <c:pt idx="1298">
                  <c:v>84896.88456842817</c:v>
                </c:pt>
                <c:pt idx="1299">
                  <c:v>84896.88456842817</c:v>
                </c:pt>
                <c:pt idx="1300">
                  <c:v>85075.79931925553</c:v>
                </c:pt>
                <c:pt idx="1301">
                  <c:v>85163.321711396449</c:v>
                </c:pt>
                <c:pt idx="1302">
                  <c:v>84632.117961957949</c:v>
                </c:pt>
                <c:pt idx="1303">
                  <c:v>84306.740237950289</c:v>
                </c:pt>
                <c:pt idx="1304">
                  <c:v>84016.908882378833</c:v>
                </c:pt>
                <c:pt idx="1305">
                  <c:v>84016.908882378833</c:v>
                </c:pt>
                <c:pt idx="1306">
                  <c:v>84016.908882378833</c:v>
                </c:pt>
                <c:pt idx="1307">
                  <c:v>84479.328496965187</c:v>
                </c:pt>
                <c:pt idx="1308">
                  <c:v>83811.373086999709</c:v>
                </c:pt>
                <c:pt idx="1309">
                  <c:v>83112.17335426202</c:v>
                </c:pt>
                <c:pt idx="1310">
                  <c:v>83486.162176818922</c:v>
                </c:pt>
                <c:pt idx="1311">
                  <c:v>83500.848786964736</c:v>
                </c:pt>
                <c:pt idx="1312">
                  <c:v>83500.848786964736</c:v>
                </c:pt>
                <c:pt idx="1313">
                  <c:v>83500.848786964736</c:v>
                </c:pt>
                <c:pt idx="1314">
                  <c:v>83491.204981685369</c:v>
                </c:pt>
                <c:pt idx="1315">
                  <c:v>84089.01478350861</c:v>
                </c:pt>
                <c:pt idx="1316">
                  <c:v>83734.136100732154</c:v>
                </c:pt>
                <c:pt idx="1317">
                  <c:v>84699.43100897604</c:v>
                </c:pt>
                <c:pt idx="1318">
                  <c:v>85302.597848441903</c:v>
                </c:pt>
                <c:pt idx="1319">
                  <c:v>85302.597848441903</c:v>
                </c:pt>
                <c:pt idx="1320">
                  <c:v>85302.597848441903</c:v>
                </c:pt>
                <c:pt idx="1321">
                  <c:v>85169.617112229331</c:v>
                </c:pt>
                <c:pt idx="1322">
                  <c:v>85034.857017120608</c:v>
                </c:pt>
                <c:pt idx="1323">
                  <c:v>85072.722664796951</c:v>
                </c:pt>
                <c:pt idx="1324">
                  <c:v>84592.533059102585</c:v>
                </c:pt>
                <c:pt idx="1325">
                  <c:v>83969.063309687845</c:v>
                </c:pt>
                <c:pt idx="1326">
                  <c:v>83969.063309687845</c:v>
                </c:pt>
                <c:pt idx="1327">
                  <c:v>83969.063309687845</c:v>
                </c:pt>
                <c:pt idx="1328">
                  <c:v>84268.355216083699</c:v>
                </c:pt>
                <c:pt idx="1329">
                  <c:v>84287.933021819146</c:v>
                </c:pt>
                <c:pt idx="1330">
                  <c:v>83776.98682060311</c:v>
                </c:pt>
                <c:pt idx="1331">
                  <c:v>83905.745900115537</c:v>
                </c:pt>
                <c:pt idx="1332">
                  <c:v>83876.571377222179</c:v>
                </c:pt>
                <c:pt idx="1333">
                  <c:v>83876.571377222179</c:v>
                </c:pt>
                <c:pt idx="1334">
                  <c:v>83876.571377222179</c:v>
                </c:pt>
                <c:pt idx="1335">
                  <c:v>84001.093444693368</c:v>
                </c:pt>
                <c:pt idx="1336">
                  <c:v>83485.87391406564</c:v>
                </c:pt>
                <c:pt idx="1337">
                  <c:v>82545.283738533646</c:v>
                </c:pt>
                <c:pt idx="1338">
                  <c:v>82527.75905286934</c:v>
                </c:pt>
                <c:pt idx="1339">
                  <c:v>82112.82110606019</c:v>
                </c:pt>
                <c:pt idx="1340">
                  <c:v>82112.82110606019</c:v>
                </c:pt>
                <c:pt idx="1341">
                  <c:v>82112.82110606019</c:v>
                </c:pt>
                <c:pt idx="1342">
                  <c:v>82280.870734139942</c:v>
                </c:pt>
                <c:pt idx="1343">
                  <c:v>81580.560306091851</c:v>
                </c:pt>
                <c:pt idx="1344">
                  <c:v>81332.200772065684</c:v>
                </c:pt>
                <c:pt idx="1345">
                  <c:v>81138.02933326106</c:v>
                </c:pt>
                <c:pt idx="1346">
                  <c:v>81630.507799347339</c:v>
                </c:pt>
                <c:pt idx="1347">
                  <c:v>81630.507799347339</c:v>
                </c:pt>
                <c:pt idx="1348">
                  <c:v>81630.507799347339</c:v>
                </c:pt>
                <c:pt idx="1349">
                  <c:v>81118.572387779932</c:v>
                </c:pt>
                <c:pt idx="1350">
                  <c:v>80420.48014956087</c:v>
                </c:pt>
                <c:pt idx="1351">
                  <c:v>80502.890224347298</c:v>
                </c:pt>
                <c:pt idx="1352">
                  <c:v>80774.802284716468</c:v>
                </c:pt>
                <c:pt idx="1353">
                  <c:v>80890.44891808668</c:v>
                </c:pt>
                <c:pt idx="1354">
                  <c:v>80890.44891808668</c:v>
                </c:pt>
                <c:pt idx="1355">
                  <c:v>80890.44891808668</c:v>
                </c:pt>
                <c:pt idx="1356">
                  <c:v>81260.913722049867</c:v>
                </c:pt>
                <c:pt idx="1357">
                  <c:v>81571.318207078846</c:v>
                </c:pt>
                <c:pt idx="1358">
                  <c:v>81411.093988501845</c:v>
                </c:pt>
                <c:pt idx="1359">
                  <c:v>81380.791558152909</c:v>
                </c:pt>
                <c:pt idx="1360">
                  <c:v>81827.642172668682</c:v>
                </c:pt>
                <c:pt idx="1361">
                  <c:v>81827.642172668682</c:v>
                </c:pt>
                <c:pt idx="1362">
                  <c:v>81827.642172668682</c:v>
                </c:pt>
                <c:pt idx="1363">
                  <c:v>81878.921592154889</c:v>
                </c:pt>
                <c:pt idx="1364">
                  <c:v>81460.245025884578</c:v>
                </c:pt>
                <c:pt idx="1365">
                  <c:v>82131.94662332513</c:v>
                </c:pt>
                <c:pt idx="1366">
                  <c:v>82217.791968798352</c:v>
                </c:pt>
                <c:pt idx="1367">
                  <c:v>81961.434903769084</c:v>
                </c:pt>
                <c:pt idx="1368">
                  <c:v>81961.434903769084</c:v>
                </c:pt>
                <c:pt idx="1369">
                  <c:v>81964.04730976063</c:v>
                </c:pt>
                <c:pt idx="1370">
                  <c:v>80983.485391093098</c:v>
                </c:pt>
                <c:pt idx="1371">
                  <c:v>80683.576253255305</c:v>
                </c:pt>
                <c:pt idx="1372">
                  <c:v>80847.814369455635</c:v>
                </c:pt>
                <c:pt idx="1373">
                  <c:v>80153.831146073528</c:v>
                </c:pt>
                <c:pt idx="1374">
                  <c:v>79702.95738964768</c:v>
                </c:pt>
                <c:pt idx="1375">
                  <c:v>79702.95738964768</c:v>
                </c:pt>
                <c:pt idx="1376">
                  <c:v>79702.95738964768</c:v>
                </c:pt>
                <c:pt idx="1377">
                  <c:v>79527.166890096021</c:v>
                </c:pt>
                <c:pt idx="1378">
                  <c:v>79282.830859298585</c:v>
                </c:pt>
                <c:pt idx="1379">
                  <c:v>79424.270660508118</c:v>
                </c:pt>
                <c:pt idx="1380">
                  <c:v>79684.910570241409</c:v>
                </c:pt>
                <c:pt idx="1381">
                  <c:v>79202.685859298464</c:v>
                </c:pt>
                <c:pt idx="1382">
                  <c:v>79202.685859298464</c:v>
                </c:pt>
                <c:pt idx="1383">
                  <c:v>79202.685859298464</c:v>
                </c:pt>
                <c:pt idx="1384">
                  <c:v>78736.891695652492</c:v>
                </c:pt>
                <c:pt idx="1385">
                  <c:v>78832.509895033028</c:v>
                </c:pt>
                <c:pt idx="1386">
                  <c:v>78478.8551154374</c:v>
                </c:pt>
                <c:pt idx="1387">
                  <c:v>78644.283252545894</c:v>
                </c:pt>
                <c:pt idx="1388">
                  <c:v>78594.225623610095</c:v>
                </c:pt>
                <c:pt idx="1389">
                  <c:v>78594.225623610095</c:v>
                </c:pt>
                <c:pt idx="1390">
                  <c:v>78594.225623610095</c:v>
                </c:pt>
                <c:pt idx="1391">
                  <c:v>79574.841847004587</c:v>
                </c:pt>
                <c:pt idx="1392">
                  <c:v>79675.375031122414</c:v>
                </c:pt>
                <c:pt idx="1393">
                  <c:v>79483.09099861607</c:v>
                </c:pt>
                <c:pt idx="1394">
                  <c:v>79305.146567446311</c:v>
                </c:pt>
                <c:pt idx="1395">
                  <c:v>78978.489247662568</c:v>
                </c:pt>
                <c:pt idx="1396">
                  <c:v>78978.489247662568</c:v>
                </c:pt>
                <c:pt idx="1397">
                  <c:v>78978.489247662568</c:v>
                </c:pt>
                <c:pt idx="1398">
                  <c:v>77975.057432524394</c:v>
                </c:pt>
                <c:pt idx="1399">
                  <c:v>77558.367926661769</c:v>
                </c:pt>
                <c:pt idx="1400">
                  <c:v>77242.33882979874</c:v>
                </c:pt>
                <c:pt idx="1401">
                  <c:v>77276.808594264759</c:v>
                </c:pt>
                <c:pt idx="1402">
                  <c:v>77052.008225224126</c:v>
                </c:pt>
                <c:pt idx="1403">
                  <c:v>77052.008225224126</c:v>
                </c:pt>
                <c:pt idx="1404">
                  <c:v>77052.008225224126</c:v>
                </c:pt>
                <c:pt idx="1405">
                  <c:v>76804.087794783671</c:v>
                </c:pt>
                <c:pt idx="1406">
                  <c:v>76791.705278460795</c:v>
                </c:pt>
                <c:pt idx="1407">
                  <c:v>76984.126808125147</c:v>
                </c:pt>
                <c:pt idx="1408">
                  <c:v>77544.266740574705</c:v>
                </c:pt>
                <c:pt idx="1409">
                  <c:v>77960.939458897963</c:v>
                </c:pt>
                <c:pt idx="1410">
                  <c:v>77960.939458897963</c:v>
                </c:pt>
                <c:pt idx="1411">
                  <c:v>77960.939458897963</c:v>
                </c:pt>
                <c:pt idx="1412">
                  <c:v>78362.769514162588</c:v>
                </c:pt>
                <c:pt idx="1413">
                  <c:v>78440.774878921278</c:v>
                </c:pt>
                <c:pt idx="1414">
                  <c:v>78275.175743050553</c:v>
                </c:pt>
                <c:pt idx="1415">
                  <c:v>78761.180180292911</c:v>
                </c:pt>
                <c:pt idx="1416">
                  <c:v>78445.791485869529</c:v>
                </c:pt>
                <c:pt idx="1417">
                  <c:v>78445.791485869529</c:v>
                </c:pt>
                <c:pt idx="1418">
                  <c:v>78445.791485869529</c:v>
                </c:pt>
                <c:pt idx="1419">
                  <c:v>78409.077827814268</c:v>
                </c:pt>
                <c:pt idx="1420">
                  <c:v>78302.222838254922</c:v>
                </c:pt>
                <c:pt idx="1421">
                  <c:v>77679.554377394379</c:v>
                </c:pt>
                <c:pt idx="1422">
                  <c:v>78087.749599349743</c:v>
                </c:pt>
                <c:pt idx="1423">
                  <c:v>77635.59649423699</c:v>
                </c:pt>
                <c:pt idx="1424">
                  <c:v>77635.59649423699</c:v>
                </c:pt>
                <c:pt idx="1425">
                  <c:v>77635.59649423699</c:v>
                </c:pt>
                <c:pt idx="1426">
                  <c:v>77127.413599027219</c:v>
                </c:pt>
                <c:pt idx="1427">
                  <c:v>77310.605698565909</c:v>
                </c:pt>
                <c:pt idx="1428">
                  <c:v>77895.721122037954</c:v>
                </c:pt>
                <c:pt idx="1429">
                  <c:v>78013.397292136229</c:v>
                </c:pt>
                <c:pt idx="1430">
                  <c:v>78414.702397126428</c:v>
                </c:pt>
                <c:pt idx="1431">
                  <c:v>77422.841160788914</c:v>
                </c:pt>
                <c:pt idx="1432">
                  <c:v>77422.841160788914</c:v>
                </c:pt>
                <c:pt idx="1433">
                  <c:v>77264.735767812774</c:v>
                </c:pt>
                <c:pt idx="1434">
                  <c:v>77361.135764417268</c:v>
                </c:pt>
                <c:pt idx="1435">
                  <c:v>77360.50606024437</c:v>
                </c:pt>
                <c:pt idx="1436">
                  <c:v>77489.813519503965</c:v>
                </c:pt>
                <c:pt idx="1437">
                  <c:v>77470.560129222547</c:v>
                </c:pt>
                <c:pt idx="1438">
                  <c:v>77470.560129222547</c:v>
                </c:pt>
                <c:pt idx="1439">
                  <c:v>77470.560129222547</c:v>
                </c:pt>
                <c:pt idx="1440">
                  <c:v>77721.72823016427</c:v>
                </c:pt>
                <c:pt idx="1441">
                  <c:v>77318.47374540662</c:v>
                </c:pt>
                <c:pt idx="1442">
                  <c:v>76810.078182975602</c:v>
                </c:pt>
                <c:pt idx="1443">
                  <c:v>77050.941914494513</c:v>
                </c:pt>
                <c:pt idx="1444">
                  <c:v>76970.491022717091</c:v>
                </c:pt>
                <c:pt idx="1445">
                  <c:v>76970.491022717091</c:v>
                </c:pt>
                <c:pt idx="1446">
                  <c:v>76970.491022717091</c:v>
                </c:pt>
                <c:pt idx="1447">
                  <c:v>77196.684643417364</c:v>
                </c:pt>
                <c:pt idx="1448">
                  <c:v>76921.85834754871</c:v>
                </c:pt>
                <c:pt idx="1449">
                  <c:v>76373.821721706205</c:v>
                </c:pt>
                <c:pt idx="1450">
                  <c:v>75974.026279498648</c:v>
                </c:pt>
                <c:pt idx="1451">
                  <c:v>74688.360758095543</c:v>
                </c:pt>
                <c:pt idx="1452">
                  <c:v>74688.360758095543</c:v>
                </c:pt>
                <c:pt idx="1453">
                  <c:v>74688.360758095543</c:v>
                </c:pt>
                <c:pt idx="1454">
                  <c:v>72718.429400927955</c:v>
                </c:pt>
                <c:pt idx="1455">
                  <c:v>73082.196144881585</c:v>
                </c:pt>
                <c:pt idx="1456">
                  <c:v>73418.98382574608</c:v>
                </c:pt>
                <c:pt idx="1457">
                  <c:v>74825.142822362264</c:v>
                </c:pt>
                <c:pt idx="1458">
                  <c:v>75186.418642599354</c:v>
                </c:pt>
                <c:pt idx="1459">
                  <c:v>75186.418642599354</c:v>
                </c:pt>
                <c:pt idx="1460">
                  <c:v>75186.418642599354</c:v>
                </c:pt>
                <c:pt idx="1461">
                  <c:v>74919.826368622787</c:v>
                </c:pt>
                <c:pt idx="1462">
                  <c:v>72871.038102059683</c:v>
                </c:pt>
                <c:pt idx="1463">
                  <c:v>73197.762513603593</c:v>
                </c:pt>
                <c:pt idx="1464">
                  <c:v>73827.24431300009</c:v>
                </c:pt>
                <c:pt idx="1465">
                  <c:v>73098.261330540263</c:v>
                </c:pt>
                <c:pt idx="1466">
                  <c:v>73098.261330540263</c:v>
                </c:pt>
                <c:pt idx="1467">
                  <c:v>73098.261330540263</c:v>
                </c:pt>
                <c:pt idx="1468">
                  <c:v>73039.667043477268</c:v>
                </c:pt>
                <c:pt idx="1469">
                  <c:v>73408.516704689828</c:v>
                </c:pt>
                <c:pt idx="1470">
                  <c:v>73562.418115094013</c:v>
                </c:pt>
                <c:pt idx="1471">
                  <c:v>73019.100586692293</c:v>
                </c:pt>
                <c:pt idx="1472">
                  <c:v>72966.145360582683</c:v>
                </c:pt>
                <c:pt idx="1473">
                  <c:v>72966.145360582683</c:v>
                </c:pt>
                <c:pt idx="1474">
                  <c:v>72966.145360582683</c:v>
                </c:pt>
                <c:pt idx="1475">
                  <c:v>72781.387783915154</c:v>
                </c:pt>
                <c:pt idx="1476">
                  <c:v>73152.472350516589</c:v>
                </c:pt>
                <c:pt idx="1477">
                  <c:v>73206.918631084744</c:v>
                </c:pt>
                <c:pt idx="1478">
                  <c:v>73090.85422268293</c:v>
                </c:pt>
                <c:pt idx="1479">
                  <c:v>72477.677504803825</c:v>
                </c:pt>
                <c:pt idx="1480">
                  <c:v>72477.677504803825</c:v>
                </c:pt>
                <c:pt idx="1481">
                  <c:v>72477.677504803825</c:v>
                </c:pt>
                <c:pt idx="1482">
                  <c:v>72647.942753336043</c:v>
                </c:pt>
                <c:pt idx="1483">
                  <c:v>71976.247793264454</c:v>
                </c:pt>
                <c:pt idx="1484">
                  <c:v>72437.895673175706</c:v>
                </c:pt>
                <c:pt idx="1485">
                  <c:v>71987.250375286647</c:v>
                </c:pt>
                <c:pt idx="1486">
                  <c:v>72716.613318192729</c:v>
                </c:pt>
                <c:pt idx="1487">
                  <c:v>72716.613318192729</c:v>
                </c:pt>
                <c:pt idx="1488">
                  <c:v>72716.613318192729</c:v>
                </c:pt>
                <c:pt idx="1489">
                  <c:v>71851.416218743761</c:v>
                </c:pt>
                <c:pt idx="1490">
                  <c:v>71556.251772095246</c:v>
                </c:pt>
                <c:pt idx="1491">
                  <c:v>72472.889003089571</c:v>
                </c:pt>
                <c:pt idx="1492">
                  <c:v>71550.159496131761</c:v>
                </c:pt>
                <c:pt idx="1493">
                  <c:v>72059.65971751984</c:v>
                </c:pt>
                <c:pt idx="1494">
                  <c:v>72059.65971751984</c:v>
                </c:pt>
                <c:pt idx="1495">
                  <c:v>72059.65971751984</c:v>
                </c:pt>
                <c:pt idx="1496">
                  <c:v>73138.305775422166</c:v>
                </c:pt>
                <c:pt idx="1497">
                  <c:v>73248.733485492907</c:v>
                </c:pt>
                <c:pt idx="1498">
                  <c:v>73099.328578518296</c:v>
                </c:pt>
                <c:pt idx="1499">
                  <c:v>73420.472949409028</c:v>
                </c:pt>
                <c:pt idx="1500">
                  <c:v>73633.246698796269</c:v>
                </c:pt>
                <c:pt idx="1501">
                  <c:v>73633.246698796269</c:v>
                </c:pt>
                <c:pt idx="1502">
                  <c:v>73633.246698796269</c:v>
                </c:pt>
                <c:pt idx="1503">
                  <c:v>73528.513242768982</c:v>
                </c:pt>
                <c:pt idx="1504">
                  <c:v>73466.379178520801</c:v>
                </c:pt>
                <c:pt idx="1505">
                  <c:v>72823.924905288586</c:v>
                </c:pt>
                <c:pt idx="1506">
                  <c:v>73523.040337469414</c:v>
                </c:pt>
                <c:pt idx="1507">
                  <c:v>73935.461773943927</c:v>
                </c:pt>
                <c:pt idx="1508">
                  <c:v>73935.461773943927</c:v>
                </c:pt>
                <c:pt idx="1509">
                  <c:v>73935.461773943927</c:v>
                </c:pt>
                <c:pt idx="1510">
                  <c:v>73642.194287979597</c:v>
                </c:pt>
                <c:pt idx="1511">
                  <c:v>73630.333292062089</c:v>
                </c:pt>
                <c:pt idx="1512">
                  <c:v>73534.713259732351</c:v>
                </c:pt>
                <c:pt idx="1513">
                  <c:v>73676.694400293505</c:v>
                </c:pt>
                <c:pt idx="1514">
                  <c:v>74516.787456117483</c:v>
                </c:pt>
                <c:pt idx="1515">
                  <c:v>74516.787456117483</c:v>
                </c:pt>
                <c:pt idx="1516">
                  <c:v>74516.787456117483</c:v>
                </c:pt>
                <c:pt idx="1517">
                  <c:v>74440.630889494991</c:v>
                </c:pt>
                <c:pt idx="1518">
                  <c:v>74221.666021840589</c:v>
                </c:pt>
                <c:pt idx="1519">
                  <c:v>74900.79827391039</c:v>
                </c:pt>
                <c:pt idx="1520">
                  <c:v>74394.681565885548</c:v>
                </c:pt>
                <c:pt idx="1521">
                  <c:v>74022.182165339051</c:v>
                </c:pt>
                <c:pt idx="1522">
                  <c:v>74023.34207812915</c:v>
                </c:pt>
                <c:pt idx="1523">
                  <c:v>73031.480841791636</c:v>
                </c:pt>
                <c:pt idx="1524">
                  <c:v>73287.23911067161</c:v>
                </c:pt>
                <c:pt idx="1525">
                  <c:v>73287.218854078717</c:v>
                </c:pt>
                <c:pt idx="1526">
                  <c:v>73398.303780167465</c:v>
                </c:pt>
                <c:pt idx="1527">
                  <c:v>73533.520058426846</c:v>
                </c:pt>
                <c:pt idx="1528">
                  <c:v>73737.287509024158</c:v>
                </c:pt>
                <c:pt idx="1529">
                  <c:v>73737.287509024158</c:v>
                </c:pt>
                <c:pt idx="1530">
                  <c:v>73737.287509024158</c:v>
                </c:pt>
                <c:pt idx="1531">
                  <c:v>73157.294781206772</c:v>
                </c:pt>
                <c:pt idx="1532">
                  <c:v>72902.911357906021</c:v>
                </c:pt>
                <c:pt idx="1533">
                  <c:v>72637.773267448589</c:v>
                </c:pt>
                <c:pt idx="1534">
                  <c:v>72161.426517679938</c:v>
                </c:pt>
                <c:pt idx="1535">
                  <c:v>71609.461890049119</c:v>
                </c:pt>
                <c:pt idx="1536">
                  <c:v>71609.461890049119</c:v>
                </c:pt>
                <c:pt idx="1537">
                  <c:v>71609.461890049119</c:v>
                </c:pt>
                <c:pt idx="1538">
                  <c:v>71925.584100938882</c:v>
                </c:pt>
                <c:pt idx="1539">
                  <c:v>72498.84726140539</c:v>
                </c:pt>
                <c:pt idx="1540">
                  <c:v>72703.813247426631</c:v>
                </c:pt>
                <c:pt idx="1541">
                  <c:v>73037.915732841459</c:v>
                </c:pt>
                <c:pt idx="1542">
                  <c:v>73233.320985492144</c:v>
                </c:pt>
                <c:pt idx="1543">
                  <c:v>73233.320985492144</c:v>
                </c:pt>
                <c:pt idx="1544">
                  <c:v>73233.320985492144</c:v>
                </c:pt>
                <c:pt idx="1545">
                  <c:v>73292.66327833313</c:v>
                </c:pt>
                <c:pt idx="1546">
                  <c:v>73349.684193461449</c:v>
                </c:pt>
                <c:pt idx="1547">
                  <c:v>73620.72968732701</c:v>
                </c:pt>
                <c:pt idx="1548">
                  <c:v>73841.927859313073</c:v>
                </c:pt>
                <c:pt idx="1549">
                  <c:v>73922.70868359656</c:v>
                </c:pt>
                <c:pt idx="1550">
                  <c:v>73922.70868359656</c:v>
                </c:pt>
                <c:pt idx="1551">
                  <c:v>73922.70868359656</c:v>
                </c:pt>
                <c:pt idx="1552">
                  <c:v>73856.656355684288</c:v>
                </c:pt>
                <c:pt idx="1553">
                  <c:v>73325.143289128479</c:v>
                </c:pt>
                <c:pt idx="1554">
                  <c:v>73646.917533254615</c:v>
                </c:pt>
                <c:pt idx="1555">
                  <c:v>72781.746613539901</c:v>
                </c:pt>
                <c:pt idx="1556">
                  <c:v>72861.971822161344</c:v>
                </c:pt>
                <c:pt idx="1557">
                  <c:v>72861.971822161344</c:v>
                </c:pt>
                <c:pt idx="1558">
                  <c:v>72861.971822161344</c:v>
                </c:pt>
                <c:pt idx="1559">
                  <c:v>72911.284899411155</c:v>
                </c:pt>
                <c:pt idx="1560">
                  <c:v>72742.030195656029</c:v>
                </c:pt>
                <c:pt idx="1561">
                  <c:v>72133.653426358156</c:v>
                </c:pt>
                <c:pt idx="1562">
                  <c:v>72048.873170972511</c:v>
                </c:pt>
                <c:pt idx="1563">
                  <c:v>71186.399598175456</c:v>
                </c:pt>
                <c:pt idx="1564">
                  <c:v>71186.399598175456</c:v>
                </c:pt>
                <c:pt idx="1565">
                  <c:v>71186.399598175456</c:v>
                </c:pt>
                <c:pt idx="1566">
                  <c:v>70949.630942266027</c:v>
                </c:pt>
                <c:pt idx="1567">
                  <c:v>71633.918528541559</c:v>
                </c:pt>
                <c:pt idx="1568">
                  <c:v>72228.165865961768</c:v>
                </c:pt>
                <c:pt idx="1569">
                  <c:v>72443.966218581292</c:v>
                </c:pt>
                <c:pt idx="1570">
                  <c:v>71963.079280581369</c:v>
                </c:pt>
                <c:pt idx="1571">
                  <c:v>71963.079280581369</c:v>
                </c:pt>
                <c:pt idx="1572">
                  <c:v>71963.079280581369</c:v>
                </c:pt>
                <c:pt idx="1573">
                  <c:v>72067.004955824726</c:v>
                </c:pt>
                <c:pt idx="1574">
                  <c:v>72451.66273891044</c:v>
                </c:pt>
                <c:pt idx="1575">
                  <c:v>73053.221316187686</c:v>
                </c:pt>
                <c:pt idx="1576">
                  <c:v>73059.704716526292</c:v>
                </c:pt>
                <c:pt idx="1577">
                  <c:v>73047.731334124808</c:v>
                </c:pt>
                <c:pt idx="1578">
                  <c:v>73047.731334124808</c:v>
                </c:pt>
                <c:pt idx="1579">
                  <c:v>73047.731334124808</c:v>
                </c:pt>
                <c:pt idx="1580">
                  <c:v>73083.503041911856</c:v>
                </c:pt>
                <c:pt idx="1581">
                  <c:v>73810.097109732946</c:v>
                </c:pt>
                <c:pt idx="1582">
                  <c:v>73370.583814978483</c:v>
                </c:pt>
                <c:pt idx="1583">
                  <c:v>73226.517291273864</c:v>
                </c:pt>
                <c:pt idx="1584">
                  <c:v>72235.323880774056</c:v>
                </c:pt>
                <c:pt idx="1585">
                  <c:v>72235.323880774056</c:v>
                </c:pt>
                <c:pt idx="1586">
                  <c:v>72235.323880774056</c:v>
                </c:pt>
                <c:pt idx="1587">
                  <c:v>71496.100082073957</c:v>
                </c:pt>
                <c:pt idx="1588">
                  <c:v>71709.593156607021</c:v>
                </c:pt>
                <c:pt idx="1589">
                  <c:v>71432.796995406243</c:v>
                </c:pt>
                <c:pt idx="1590">
                  <c:v>70812.593164741134</c:v>
                </c:pt>
                <c:pt idx="1591">
                  <c:v>70470.270218738224</c:v>
                </c:pt>
                <c:pt idx="1592">
                  <c:v>70470.270218738224</c:v>
                </c:pt>
                <c:pt idx="1593">
                  <c:v>70470.270218738224</c:v>
                </c:pt>
                <c:pt idx="1594">
                  <c:v>70169.941430525418</c:v>
                </c:pt>
                <c:pt idx="1595">
                  <c:v>70833.748374758783</c:v>
                </c:pt>
                <c:pt idx="1596">
                  <c:v>70379.449754519912</c:v>
                </c:pt>
                <c:pt idx="1597">
                  <c:v>70316.326426035084</c:v>
                </c:pt>
                <c:pt idx="1598">
                  <c:v>69649.79515518964</c:v>
                </c:pt>
                <c:pt idx="1599">
                  <c:v>69649.79515518964</c:v>
                </c:pt>
                <c:pt idx="1600">
                  <c:v>69649.79515518964</c:v>
                </c:pt>
                <c:pt idx="1601">
                  <c:v>69331.797174943436</c:v>
                </c:pt>
                <c:pt idx="1602">
                  <c:v>69998.906340724789</c:v>
                </c:pt>
                <c:pt idx="1603">
                  <c:v>68751.840124822542</c:v>
                </c:pt>
                <c:pt idx="1604">
                  <c:v>69132.701943488413</c:v>
                </c:pt>
                <c:pt idx="1605">
                  <c:v>69821.576134658331</c:v>
                </c:pt>
                <c:pt idx="1606">
                  <c:v>69821.576134658331</c:v>
                </c:pt>
                <c:pt idx="1607">
                  <c:v>69821.576134658331</c:v>
                </c:pt>
                <c:pt idx="1608">
                  <c:v>69824.554024880461</c:v>
                </c:pt>
                <c:pt idx="1609">
                  <c:v>70024.058835376971</c:v>
                </c:pt>
                <c:pt idx="1610">
                  <c:v>70526.455548619037</c:v>
                </c:pt>
                <c:pt idx="1611">
                  <c:v>69814.936707054803</c:v>
                </c:pt>
                <c:pt idx="1612">
                  <c:v>71298.09499655063</c:v>
                </c:pt>
                <c:pt idx="1613">
                  <c:v>71298.09499655063</c:v>
                </c:pt>
                <c:pt idx="1614">
                  <c:v>71300.63106978967</c:v>
                </c:pt>
                <c:pt idx="1615">
                  <c:v>69994.879500262075</c:v>
                </c:pt>
                <c:pt idx="1616">
                  <c:v>69050.778766279414</c:v>
                </c:pt>
                <c:pt idx="1617">
                  <c:v>68268.414108639408</c:v>
                </c:pt>
                <c:pt idx="1618">
                  <c:v>68521.078239992043</c:v>
                </c:pt>
                <c:pt idx="1619">
                  <c:v>68262.11789942121</c:v>
                </c:pt>
                <c:pt idx="1620">
                  <c:v>68262.11789942121</c:v>
                </c:pt>
                <c:pt idx="1621">
                  <c:v>68262.11789942121</c:v>
                </c:pt>
                <c:pt idx="1622">
                  <c:v>67588.557833956962</c:v>
                </c:pt>
                <c:pt idx="1623">
                  <c:v>67272.780712328822</c:v>
                </c:pt>
                <c:pt idx="1624">
                  <c:v>67567.067509738321</c:v>
                </c:pt>
                <c:pt idx="1625">
                  <c:v>67004.139919158348</c:v>
                </c:pt>
                <c:pt idx="1626">
                  <c:v>67654.092807160763</c:v>
                </c:pt>
                <c:pt idx="1627">
                  <c:v>67654.092807160763</c:v>
                </c:pt>
                <c:pt idx="1628">
                  <c:v>67654.092807160763</c:v>
                </c:pt>
                <c:pt idx="1629">
                  <c:v>68215.608923182561</c:v>
                </c:pt>
                <c:pt idx="1630">
                  <c:v>68828.423163787898</c:v>
                </c:pt>
                <c:pt idx="1631">
                  <c:v>69835.515145246594</c:v>
                </c:pt>
                <c:pt idx="1632">
                  <c:v>69758.946788086192</c:v>
                </c:pt>
                <c:pt idx="1633">
                  <c:v>69883.950635193614</c:v>
                </c:pt>
                <c:pt idx="1634">
                  <c:v>69883.950635193614</c:v>
                </c:pt>
                <c:pt idx="1635">
                  <c:v>69883.950635193614</c:v>
                </c:pt>
                <c:pt idx="1636">
                  <c:v>70679.275417990037</c:v>
                </c:pt>
                <c:pt idx="1637">
                  <c:v>70341.465234715259</c:v>
                </c:pt>
                <c:pt idx="1638">
                  <c:v>70667.008349480122</c:v>
                </c:pt>
                <c:pt idx="1639">
                  <c:v>71458.951605280177</c:v>
                </c:pt>
                <c:pt idx="1640">
                  <c:v>71868.445698275202</c:v>
                </c:pt>
                <c:pt idx="1641">
                  <c:v>71868.445698275202</c:v>
                </c:pt>
                <c:pt idx="1642">
                  <c:v>71868.445698275202</c:v>
                </c:pt>
                <c:pt idx="1643">
                  <c:v>71635.420168627563</c:v>
                </c:pt>
                <c:pt idx="1644">
                  <c:v>71412.971340632619</c:v>
                </c:pt>
                <c:pt idx="1645">
                  <c:v>71072.49785956103</c:v>
                </c:pt>
                <c:pt idx="1646">
                  <c:v>71026.317793351802</c:v>
                </c:pt>
                <c:pt idx="1647">
                  <c:v>71119.294794659174</c:v>
                </c:pt>
                <c:pt idx="1648">
                  <c:v>71119.294794659174</c:v>
                </c:pt>
                <c:pt idx="1649">
                  <c:v>71119.294794659174</c:v>
                </c:pt>
                <c:pt idx="1650">
                  <c:v>70950.130440060602</c:v>
                </c:pt>
                <c:pt idx="1651">
                  <c:v>70828.059321635868</c:v>
                </c:pt>
                <c:pt idx="1652">
                  <c:v>70923.329435948806</c:v>
                </c:pt>
                <c:pt idx="1653">
                  <c:v>70425.563268335434</c:v>
                </c:pt>
                <c:pt idx="1654">
                  <c:v>71035.115533324948</c:v>
                </c:pt>
                <c:pt idx="1655">
                  <c:v>71035.115533324948</c:v>
                </c:pt>
                <c:pt idx="1656">
                  <c:v>71035.115533324948</c:v>
                </c:pt>
                <c:pt idx="1657">
                  <c:v>71360.935849497429</c:v>
                </c:pt>
                <c:pt idx="1658">
                  <c:v>71542.680021747001</c:v>
                </c:pt>
                <c:pt idx="1659">
                  <c:v>71767.661718464995</c:v>
                </c:pt>
                <c:pt idx="1660">
                  <c:v>71260.743758095734</c:v>
                </c:pt>
                <c:pt idx="1661">
                  <c:v>71145.774524546185</c:v>
                </c:pt>
                <c:pt idx="1662">
                  <c:v>71145.774524546185</c:v>
                </c:pt>
                <c:pt idx="1663">
                  <c:v>71145.774524546185</c:v>
                </c:pt>
                <c:pt idx="1664">
                  <c:v>71397.03792206131</c:v>
                </c:pt>
                <c:pt idx="1665">
                  <c:v>71786.192475048156</c:v>
                </c:pt>
                <c:pt idx="1666">
                  <c:v>71800.355890823485</c:v>
                </c:pt>
                <c:pt idx="1667">
                  <c:v>71469.446718615203</c:v>
                </c:pt>
                <c:pt idx="1668">
                  <c:v>71459.796913919257</c:v>
                </c:pt>
                <c:pt idx="1669">
                  <c:v>71459.796913919257</c:v>
                </c:pt>
                <c:pt idx="1670">
                  <c:v>71459.796913919257</c:v>
                </c:pt>
                <c:pt idx="1671">
                  <c:v>71284.990529512492</c:v>
                </c:pt>
                <c:pt idx="1672">
                  <c:v>71562.290568372104</c:v>
                </c:pt>
                <c:pt idx="1673">
                  <c:v>71767.732307758677</c:v>
                </c:pt>
                <c:pt idx="1674">
                  <c:v>71813.989481940313</c:v>
                </c:pt>
                <c:pt idx="1675">
                  <c:v>71105.210374461865</c:v>
                </c:pt>
                <c:pt idx="1676">
                  <c:v>71105.210374461865</c:v>
                </c:pt>
                <c:pt idx="1677">
                  <c:v>71105.210374461865</c:v>
                </c:pt>
                <c:pt idx="1678">
                  <c:v>70982.63068019312</c:v>
                </c:pt>
                <c:pt idx="1679">
                  <c:v>70956.897347092628</c:v>
                </c:pt>
                <c:pt idx="1680">
                  <c:v>71500.515876893027</c:v>
                </c:pt>
                <c:pt idx="1681">
                  <c:v>71368.352893335861</c:v>
                </c:pt>
                <c:pt idx="1682">
                  <c:v>71828.688047383737</c:v>
                </c:pt>
                <c:pt idx="1683">
                  <c:v>71828.688047383737</c:v>
                </c:pt>
                <c:pt idx="1684">
                  <c:v>71828.688047383737</c:v>
                </c:pt>
                <c:pt idx="1685">
                  <c:v>71541.514797709664</c:v>
                </c:pt>
                <c:pt idx="1686">
                  <c:v>71740.352276032398</c:v>
                </c:pt>
                <c:pt idx="1687">
                  <c:v>72398.757967887941</c:v>
                </c:pt>
                <c:pt idx="1688">
                  <c:v>72639.801668678643</c:v>
                </c:pt>
                <c:pt idx="1689">
                  <c:v>72474.920941259013</c:v>
                </c:pt>
                <c:pt idx="1690">
                  <c:v>72474.920941259013</c:v>
                </c:pt>
                <c:pt idx="1691">
                  <c:v>72474.920941259013</c:v>
                </c:pt>
                <c:pt idx="1692">
                  <c:v>72342.685374757217</c:v>
                </c:pt>
                <c:pt idx="1693">
                  <c:v>72583.171270041101</c:v>
                </c:pt>
                <c:pt idx="1694">
                  <c:v>72507.970023783346</c:v>
                </c:pt>
                <c:pt idx="1695">
                  <c:v>72476.571897523958</c:v>
                </c:pt>
                <c:pt idx="1696">
                  <c:v>71814.67235701262</c:v>
                </c:pt>
                <c:pt idx="1697">
                  <c:v>71814.67235701262</c:v>
                </c:pt>
                <c:pt idx="1698">
                  <c:v>71814.67235701262</c:v>
                </c:pt>
                <c:pt idx="1699">
                  <c:v>71516.326200319381</c:v>
                </c:pt>
                <c:pt idx="1700">
                  <c:v>71101.027318257824</c:v>
                </c:pt>
                <c:pt idx="1701">
                  <c:v>71431.13943395266</c:v>
                </c:pt>
                <c:pt idx="1702">
                  <c:v>71163.123369993918</c:v>
                </c:pt>
                <c:pt idx="1703">
                  <c:v>70654.780272668882</c:v>
                </c:pt>
                <c:pt idx="1704">
                  <c:v>70656.035808114335</c:v>
                </c:pt>
                <c:pt idx="1705">
                  <c:v>69664.174571776821</c:v>
                </c:pt>
                <c:pt idx="1706">
                  <c:v>69687.464001977904</c:v>
                </c:pt>
                <c:pt idx="1707">
                  <c:v>69698.898321071349</c:v>
                </c:pt>
                <c:pt idx="1708">
                  <c:v>69499.841752411274</c:v>
                </c:pt>
                <c:pt idx="1709">
                  <c:v>69335.940275606554</c:v>
                </c:pt>
                <c:pt idx="1710">
                  <c:v>69613.777015244341</c:v>
                </c:pt>
                <c:pt idx="1711">
                  <c:v>69613.777015244341</c:v>
                </c:pt>
                <c:pt idx="1712">
                  <c:v>69613.777015244341</c:v>
                </c:pt>
                <c:pt idx="1713">
                  <c:v>69883.622987501847</c:v>
                </c:pt>
                <c:pt idx="1714">
                  <c:v>70163.256015360283</c:v>
                </c:pt>
                <c:pt idx="1715">
                  <c:v>70102.29396873877</c:v>
                </c:pt>
                <c:pt idx="1716">
                  <c:v>69770.83279728108</c:v>
                </c:pt>
                <c:pt idx="1717">
                  <c:v>70040.696610624378</c:v>
                </c:pt>
                <c:pt idx="1718">
                  <c:v>70040.696610624378</c:v>
                </c:pt>
                <c:pt idx="1719">
                  <c:v>70040.696610624378</c:v>
                </c:pt>
                <c:pt idx="1720">
                  <c:v>70166.308296332849</c:v>
                </c:pt>
                <c:pt idx="1721">
                  <c:v>70001.315730689443</c:v>
                </c:pt>
                <c:pt idx="1722">
                  <c:v>69529.046954020261</c:v>
                </c:pt>
                <c:pt idx="1723">
                  <c:v>68967.473357001087</c:v>
                </c:pt>
                <c:pt idx="1724">
                  <c:v>69646.062258903679</c:v>
                </c:pt>
                <c:pt idx="1725">
                  <c:v>69646.062258903679</c:v>
                </c:pt>
                <c:pt idx="1726">
                  <c:v>69646.062258903679</c:v>
                </c:pt>
                <c:pt idx="1727">
                  <c:v>69651.579619955824</c:v>
                </c:pt>
                <c:pt idx="1728">
                  <c:v>69775.114358085571</c:v>
                </c:pt>
                <c:pt idx="1729">
                  <c:v>69813.289718653177</c:v>
                </c:pt>
                <c:pt idx="1730">
                  <c:v>70048.593317251201</c:v>
                </c:pt>
                <c:pt idx="1731">
                  <c:v>70275.031699522617</c:v>
                </c:pt>
                <c:pt idx="1732">
                  <c:v>70275.031699522617</c:v>
                </c:pt>
                <c:pt idx="1733">
                  <c:v>70275.031699522617</c:v>
                </c:pt>
                <c:pt idx="1734">
                  <c:v>70286.81260583672</c:v>
                </c:pt>
                <c:pt idx="1735">
                  <c:v>70320.710529820251</c:v>
                </c:pt>
                <c:pt idx="1736">
                  <c:v>69647.203104572021</c:v>
                </c:pt>
                <c:pt idx="1737">
                  <c:v>69692.335885127846</c:v>
                </c:pt>
                <c:pt idx="1738">
                  <c:v>69851.842825038228</c:v>
                </c:pt>
                <c:pt idx="1739">
                  <c:v>69851.842825038228</c:v>
                </c:pt>
                <c:pt idx="1740">
                  <c:v>69851.842825038228</c:v>
                </c:pt>
                <c:pt idx="1741">
                  <c:v>70345.39708644239</c:v>
                </c:pt>
                <c:pt idx="1742">
                  <c:v>70251.338959452085</c:v>
                </c:pt>
                <c:pt idx="1743">
                  <c:v>70444.635518599025</c:v>
                </c:pt>
                <c:pt idx="1744">
                  <c:v>70373.535043523734</c:v>
                </c:pt>
                <c:pt idx="1745">
                  <c:v>70091.848783598965</c:v>
                </c:pt>
                <c:pt idx="1746">
                  <c:v>70091.848783598965</c:v>
                </c:pt>
                <c:pt idx="1747">
                  <c:v>70091.848783598965</c:v>
                </c:pt>
                <c:pt idx="1748">
                  <c:v>69826.510482680751</c:v>
                </c:pt>
                <c:pt idx="1749">
                  <c:v>69773.227967326733</c:v>
                </c:pt>
                <c:pt idx="1750">
                  <c:v>69678.564535746613</c:v>
                </c:pt>
                <c:pt idx="1751">
                  <c:v>69878.169932429577</c:v>
                </c:pt>
                <c:pt idx="1752">
                  <c:v>69572.420795017024</c:v>
                </c:pt>
                <c:pt idx="1753">
                  <c:v>69572.420795017024</c:v>
                </c:pt>
                <c:pt idx="1754">
                  <c:v>69572.420795017024</c:v>
                </c:pt>
                <c:pt idx="1755">
                  <c:v>69454.589464537537</c:v>
                </c:pt>
                <c:pt idx="1756">
                  <c:v>69549.47346284274</c:v>
                </c:pt>
                <c:pt idx="1757">
                  <c:v>69607.125107880289</c:v>
                </c:pt>
                <c:pt idx="1758">
                  <c:v>69890.027258242495</c:v>
                </c:pt>
                <c:pt idx="1759">
                  <c:v>71745.7996795238</c:v>
                </c:pt>
                <c:pt idx="1760">
                  <c:v>71745.7996795238</c:v>
                </c:pt>
                <c:pt idx="1761">
                  <c:v>71745.7996795238</c:v>
                </c:pt>
                <c:pt idx="1762">
                  <c:v>72004.284011693191</c:v>
                </c:pt>
                <c:pt idx="1763">
                  <c:v>72478.208288586917</c:v>
                </c:pt>
                <c:pt idx="1764">
                  <c:v>73137.268581760858</c:v>
                </c:pt>
                <c:pt idx="1765">
                  <c:v>74149.384524011053</c:v>
                </c:pt>
                <c:pt idx="1766">
                  <c:v>73835.976809179017</c:v>
                </c:pt>
                <c:pt idx="1767">
                  <c:v>73835.976809179017</c:v>
                </c:pt>
                <c:pt idx="1768">
                  <c:v>73835.976809179017</c:v>
                </c:pt>
                <c:pt idx="1769">
                  <c:v>73639.679434673206</c:v>
                </c:pt>
                <c:pt idx="1770">
                  <c:v>74214.203694877011</c:v>
                </c:pt>
                <c:pt idx="1771">
                  <c:v>74448.102374236041</c:v>
                </c:pt>
                <c:pt idx="1772">
                  <c:v>74549.295212907193</c:v>
                </c:pt>
                <c:pt idx="1773">
                  <c:v>74871.357859635333</c:v>
                </c:pt>
                <c:pt idx="1774">
                  <c:v>74871.357859635333</c:v>
                </c:pt>
                <c:pt idx="1775">
                  <c:v>74871.357859635333</c:v>
                </c:pt>
                <c:pt idx="1776">
                  <c:v>75309.56045063473</c:v>
                </c:pt>
                <c:pt idx="1777">
                  <c:v>74713.208140485498</c:v>
                </c:pt>
                <c:pt idx="1778">
                  <c:v>74828.489126382105</c:v>
                </c:pt>
                <c:pt idx="1779">
                  <c:v>74565.596440389054</c:v>
                </c:pt>
                <c:pt idx="1780">
                  <c:v>74670.243289745413</c:v>
                </c:pt>
                <c:pt idx="1781">
                  <c:v>74670.243289745413</c:v>
                </c:pt>
                <c:pt idx="1782">
                  <c:v>74670.243289745413</c:v>
                </c:pt>
                <c:pt idx="1783">
                  <c:v>74514.885874961634</c:v>
                </c:pt>
                <c:pt idx="1784">
                  <c:v>74825.869280267638</c:v>
                </c:pt>
                <c:pt idx="1785">
                  <c:v>75061.257248108188</c:v>
                </c:pt>
                <c:pt idx="1786">
                  <c:v>74758.244710561004</c:v>
                </c:pt>
                <c:pt idx="1787">
                  <c:v>75362.560457503292</c:v>
                </c:pt>
                <c:pt idx="1788">
                  <c:v>75362.560457503292</c:v>
                </c:pt>
                <c:pt idx="1789">
                  <c:v>75362.560457503292</c:v>
                </c:pt>
                <c:pt idx="1790">
                  <c:v>75157.018870988308</c:v>
                </c:pt>
                <c:pt idx="1791">
                  <c:v>75255.703794616857</c:v>
                </c:pt>
                <c:pt idx="1792">
                  <c:v>75503.267215490749</c:v>
                </c:pt>
                <c:pt idx="1793">
                  <c:v>75464.329425555043</c:v>
                </c:pt>
                <c:pt idx="1794">
                  <c:v>75293.576287363845</c:v>
                </c:pt>
                <c:pt idx="1795">
                  <c:v>75293.576287363845</c:v>
                </c:pt>
                <c:pt idx="1796">
                  <c:v>75296.267279780353</c:v>
                </c:pt>
                <c:pt idx="1797">
                  <c:v>74464.403834748329</c:v>
                </c:pt>
                <c:pt idx="1798">
                  <c:v>73851.894647073481</c:v>
                </c:pt>
                <c:pt idx="1799">
                  <c:v>73715.886043815655</c:v>
                </c:pt>
                <c:pt idx="1800">
                  <c:v>74609.141241587044</c:v>
                </c:pt>
                <c:pt idx="1801">
                  <c:v>74928.136355422525</c:v>
                </c:pt>
                <c:pt idx="1802">
                  <c:v>74928.136355422525</c:v>
                </c:pt>
                <c:pt idx="1803">
                  <c:v>74928.136355422525</c:v>
                </c:pt>
                <c:pt idx="1804">
                  <c:v>74884.606854606856</c:v>
                </c:pt>
                <c:pt idx="1805">
                  <c:v>75418.658409927579</c:v>
                </c:pt>
                <c:pt idx="1806">
                  <c:v>75579.040712155795</c:v>
                </c:pt>
                <c:pt idx="1807">
                  <c:v>76093.608518198002</c:v>
                </c:pt>
                <c:pt idx="1808">
                  <c:v>76343.886484103044</c:v>
                </c:pt>
                <c:pt idx="1809">
                  <c:v>76343.886484103044</c:v>
                </c:pt>
                <c:pt idx="1810">
                  <c:v>76343.886484103044</c:v>
                </c:pt>
                <c:pt idx="1811">
                  <c:v>76650.769058358652</c:v>
                </c:pt>
                <c:pt idx="1812">
                  <c:v>76018.835589995448</c:v>
                </c:pt>
                <c:pt idx="1813">
                  <c:v>75659.247492945869</c:v>
                </c:pt>
                <c:pt idx="1814">
                  <c:v>75455.177857422954</c:v>
                </c:pt>
                <c:pt idx="1815">
                  <c:v>75645.604089781729</c:v>
                </c:pt>
                <c:pt idx="1816">
                  <c:v>75645.604089781729</c:v>
                </c:pt>
                <c:pt idx="1817">
                  <c:v>75645.604089781729</c:v>
                </c:pt>
                <c:pt idx="1818">
                  <c:v>75377.247526993015</c:v>
                </c:pt>
                <c:pt idx="1819">
                  <c:v>75526.412315896669</c:v>
                </c:pt>
                <c:pt idx="1820">
                  <c:v>74977.591332897864</c:v>
                </c:pt>
                <c:pt idx="1821">
                  <c:v>74695.5091392334</c:v>
                </c:pt>
                <c:pt idx="1822">
                  <c:v>74729.610626975831</c:v>
                </c:pt>
                <c:pt idx="1823">
                  <c:v>74729.610626975831</c:v>
                </c:pt>
                <c:pt idx="1824">
                  <c:v>74729.610626975831</c:v>
                </c:pt>
                <c:pt idx="1825">
                  <c:v>75008.501533835704</c:v>
                </c:pt>
                <c:pt idx="1826">
                  <c:v>74899.505930171872</c:v>
                </c:pt>
                <c:pt idx="1827">
                  <c:v>74645.929907869984</c:v>
                </c:pt>
                <c:pt idx="1828">
                  <c:v>73073.360659814192</c:v>
                </c:pt>
                <c:pt idx="1829">
                  <c:v>73643.093923071385</c:v>
                </c:pt>
                <c:pt idx="1830">
                  <c:v>73643.093923071385</c:v>
                </c:pt>
                <c:pt idx="1831">
                  <c:v>73643.093923071385</c:v>
                </c:pt>
                <c:pt idx="1832">
                  <c:v>73747.765061757076</c:v>
                </c:pt>
                <c:pt idx="1833">
                  <c:v>73459.853049478334</c:v>
                </c:pt>
                <c:pt idx="1834">
                  <c:v>73860.398775018853</c:v>
                </c:pt>
                <c:pt idx="1835">
                  <c:v>73759.358488098616</c:v>
                </c:pt>
                <c:pt idx="1836">
                  <c:v>73029.078881205307</c:v>
                </c:pt>
                <c:pt idx="1837">
                  <c:v>73029.078881205307</c:v>
                </c:pt>
                <c:pt idx="1838">
                  <c:v>73029.078881205307</c:v>
                </c:pt>
                <c:pt idx="1839">
                  <c:v>72643.491917329637</c:v>
                </c:pt>
                <c:pt idx="1840">
                  <c:v>72658.286490893515</c:v>
                </c:pt>
                <c:pt idx="1841">
                  <c:v>72545.835440640163</c:v>
                </c:pt>
                <c:pt idx="1842">
                  <c:v>72729.753642649273</c:v>
                </c:pt>
                <c:pt idx="1843">
                  <c:v>72744.879976811877</c:v>
                </c:pt>
                <c:pt idx="1844">
                  <c:v>72744.879976811877</c:v>
                </c:pt>
                <c:pt idx="1845">
                  <c:v>72744.879976811877</c:v>
                </c:pt>
                <c:pt idx="1846">
                  <c:v>73088.40166862878</c:v>
                </c:pt>
                <c:pt idx="1847">
                  <c:v>73401.733108350221</c:v>
                </c:pt>
                <c:pt idx="1848">
                  <c:v>73678.964848144489</c:v>
                </c:pt>
                <c:pt idx="1849">
                  <c:v>74090.239356347534</c:v>
                </c:pt>
                <c:pt idx="1850">
                  <c:v>74405.900080222855</c:v>
                </c:pt>
                <c:pt idx="1851">
                  <c:v>74405.900080222855</c:v>
                </c:pt>
                <c:pt idx="1852">
                  <c:v>74405.900080222855</c:v>
                </c:pt>
                <c:pt idx="1853">
                  <c:v>73857.786785104894</c:v>
                </c:pt>
                <c:pt idx="1854">
                  <c:v>73740.945243566603</c:v>
                </c:pt>
                <c:pt idx="1855">
                  <c:v>73923.951834424835</c:v>
                </c:pt>
                <c:pt idx="1856">
                  <c:v>73975.949202905656</c:v>
                </c:pt>
                <c:pt idx="1857">
                  <c:v>73909.839856140985</c:v>
                </c:pt>
                <c:pt idx="1858">
                  <c:v>72917.978619803471</c:v>
                </c:pt>
                <c:pt idx="1859">
                  <c:v>72917.978619803471</c:v>
                </c:pt>
                <c:pt idx="1860">
                  <c:v>73559.871939694669</c:v>
                </c:pt>
                <c:pt idx="1861">
                  <c:v>73805.331669574094</c:v>
                </c:pt>
                <c:pt idx="1862">
                  <c:v>73593.173815370013</c:v>
                </c:pt>
                <c:pt idx="1863">
                  <c:v>73590.456019461009</c:v>
                </c:pt>
                <c:pt idx="1864">
                  <c:v>73841.737990585054</c:v>
                </c:pt>
                <c:pt idx="1865">
                  <c:v>73841.737990585054</c:v>
                </c:pt>
                <c:pt idx="1866">
                  <c:v>73841.737990585054</c:v>
                </c:pt>
                <c:pt idx="1867">
                  <c:v>74243.692537667273</c:v>
                </c:pt>
                <c:pt idx="1868">
                  <c:v>74189.853239149728</c:v>
                </c:pt>
                <c:pt idx="1869">
                  <c:v>73951.088034470173</c:v>
                </c:pt>
                <c:pt idx="1870">
                  <c:v>73787.22277653811</c:v>
                </c:pt>
                <c:pt idx="1871">
                  <c:v>73860.98786314782</c:v>
                </c:pt>
                <c:pt idx="1872">
                  <c:v>73860.98786314782</c:v>
                </c:pt>
                <c:pt idx="1873">
                  <c:v>73860.98786314782</c:v>
                </c:pt>
                <c:pt idx="1874">
                  <c:v>73555.602222728849</c:v>
                </c:pt>
                <c:pt idx="1875">
                  <c:v>73627.250528185934</c:v>
                </c:pt>
                <c:pt idx="1876">
                  <c:v>73766.075445329319</c:v>
                </c:pt>
                <c:pt idx="1877">
                  <c:v>74027.861657494985</c:v>
                </c:pt>
                <c:pt idx="1878">
                  <c:v>74002.848383319535</c:v>
                </c:pt>
                <c:pt idx="1879">
                  <c:v>74002.848383319535</c:v>
                </c:pt>
                <c:pt idx="1880">
                  <c:v>74002.848383319535</c:v>
                </c:pt>
                <c:pt idx="1881">
                  <c:v>73777.89230471848</c:v>
                </c:pt>
                <c:pt idx="1882">
                  <c:v>74001.620812016845</c:v>
                </c:pt>
                <c:pt idx="1883">
                  <c:v>73366.083052223912</c:v>
                </c:pt>
                <c:pt idx="1884">
                  <c:v>73425.113402647723</c:v>
                </c:pt>
                <c:pt idx="1885">
                  <c:v>73363.567004091354</c:v>
                </c:pt>
                <c:pt idx="1886">
                  <c:v>73363.567004091354</c:v>
                </c:pt>
                <c:pt idx="1887">
                  <c:v>73363.567004091354</c:v>
                </c:pt>
                <c:pt idx="1888">
                  <c:v>73153.144887574541</c:v>
                </c:pt>
                <c:pt idx="1889">
                  <c:v>72121.787536780772</c:v>
                </c:pt>
                <c:pt idx="1890">
                  <c:v>71523.939027519751</c:v>
                </c:pt>
                <c:pt idx="1891">
                  <c:v>70711.216799786387</c:v>
                </c:pt>
                <c:pt idx="1892">
                  <c:v>70223.947219043403</c:v>
                </c:pt>
                <c:pt idx="1893">
                  <c:v>70223.947219043403</c:v>
                </c:pt>
                <c:pt idx="1894">
                  <c:v>70223.947219043403</c:v>
                </c:pt>
                <c:pt idx="1895">
                  <c:v>71087.189135022927</c:v>
                </c:pt>
                <c:pt idx="1896">
                  <c:v>71119.884976793677</c:v>
                </c:pt>
                <c:pt idx="1897">
                  <c:v>71257.545337353615</c:v>
                </c:pt>
                <c:pt idx="1898">
                  <c:v>70625.991138179568</c:v>
                </c:pt>
                <c:pt idx="1899">
                  <c:v>69724.944743238666</c:v>
                </c:pt>
                <c:pt idx="1900">
                  <c:v>69724.944743238666</c:v>
                </c:pt>
                <c:pt idx="1901">
                  <c:v>69724.944743238666</c:v>
                </c:pt>
                <c:pt idx="1902">
                  <c:v>69740.632158556444</c:v>
                </c:pt>
                <c:pt idx="1903">
                  <c:v>70084.289584612561</c:v>
                </c:pt>
                <c:pt idx="1904">
                  <c:v>69987.449916636135</c:v>
                </c:pt>
                <c:pt idx="1905">
                  <c:v>70370.034911856419</c:v>
                </c:pt>
                <c:pt idx="1906">
                  <c:v>70283.071622712348</c:v>
                </c:pt>
                <c:pt idx="1907">
                  <c:v>70283.071622712348</c:v>
                </c:pt>
                <c:pt idx="1908">
                  <c:v>70283.071622712348</c:v>
                </c:pt>
                <c:pt idx="1909">
                  <c:v>70021.556044342113</c:v>
                </c:pt>
                <c:pt idx="1910">
                  <c:v>70204.785651336715</c:v>
                </c:pt>
                <c:pt idx="1911">
                  <c:v>70122.410866092716</c:v>
                </c:pt>
                <c:pt idx="1912">
                  <c:v>70094.9551373422</c:v>
                </c:pt>
                <c:pt idx="1913">
                  <c:v>70306.501711946694</c:v>
                </c:pt>
                <c:pt idx="1914">
                  <c:v>70306.501711946694</c:v>
                </c:pt>
                <c:pt idx="1915">
                  <c:v>70306.501711946694</c:v>
                </c:pt>
                <c:pt idx="1916">
                  <c:v>70202.891723438806</c:v>
                </c:pt>
                <c:pt idx="1917">
                  <c:v>69888.611629944819</c:v>
                </c:pt>
                <c:pt idx="1918">
                  <c:v>69741.732325971083</c:v>
                </c:pt>
                <c:pt idx="1919">
                  <c:v>67920.795324088889</c:v>
                </c:pt>
                <c:pt idx="1920">
                  <c:v>67759.158094584578</c:v>
                </c:pt>
                <c:pt idx="1921">
                  <c:v>67759.158094584578</c:v>
                </c:pt>
                <c:pt idx="1922">
                  <c:v>67759.158094584578</c:v>
                </c:pt>
                <c:pt idx="1923">
                  <c:v>67948.225795824328</c:v>
                </c:pt>
                <c:pt idx="1924">
                  <c:v>68073.217236658005</c:v>
                </c:pt>
                <c:pt idx="1925">
                  <c:v>69026.85357546201</c:v>
                </c:pt>
                <c:pt idx="1926">
                  <c:v>69245.61969223019</c:v>
                </c:pt>
                <c:pt idx="1927">
                  <c:v>69333.369818872787</c:v>
                </c:pt>
                <c:pt idx="1928">
                  <c:v>69333.369818872787</c:v>
                </c:pt>
                <c:pt idx="1929">
                  <c:v>69333.369818872787</c:v>
                </c:pt>
                <c:pt idx="1930">
                  <c:v>68967.208506186449</c:v>
                </c:pt>
                <c:pt idx="1931">
                  <c:v>69534.197582725013</c:v>
                </c:pt>
                <c:pt idx="1932">
                  <c:v>69155.970487025639</c:v>
                </c:pt>
                <c:pt idx="1933">
                  <c:v>69805.914895095615</c:v>
                </c:pt>
                <c:pt idx="1934">
                  <c:v>69799.708451202285</c:v>
                </c:pt>
                <c:pt idx="1935">
                  <c:v>69799.708451202285</c:v>
                </c:pt>
                <c:pt idx="1936">
                  <c:v>69799.708451202285</c:v>
                </c:pt>
                <c:pt idx="1937">
                  <c:v>70139.649085292607</c:v>
                </c:pt>
                <c:pt idx="1938">
                  <c:v>70353.586237346593</c:v>
                </c:pt>
                <c:pt idx="1939">
                  <c:v>70225.935986941695</c:v>
                </c:pt>
                <c:pt idx="1940">
                  <c:v>70427.663499360991</c:v>
                </c:pt>
                <c:pt idx="1941">
                  <c:v>70656.225917098636</c:v>
                </c:pt>
                <c:pt idx="1942">
                  <c:v>70656.225917098636</c:v>
                </c:pt>
                <c:pt idx="1943">
                  <c:v>70656.225917098636</c:v>
                </c:pt>
                <c:pt idx="1944">
                  <c:v>70658.611977847846</c:v>
                </c:pt>
                <c:pt idx="1945">
                  <c:v>70667.705034623272</c:v>
                </c:pt>
                <c:pt idx="1946">
                  <c:v>70673.815671077624</c:v>
                </c:pt>
                <c:pt idx="1947">
                  <c:v>70962.913274723571</c:v>
                </c:pt>
                <c:pt idx="1948">
                  <c:v>70777.165010710451</c:v>
                </c:pt>
                <c:pt idx="1949">
                  <c:v>70778.257810138224</c:v>
                </c:pt>
                <c:pt idx="1950">
                  <c:v>69786.39657380071</c:v>
                </c:pt>
                <c:pt idx="1951">
                  <c:v>69855.262487803688</c:v>
                </c:pt>
                <c:pt idx="1952">
                  <c:v>70148.129278678549</c:v>
                </c:pt>
                <c:pt idx="1953">
                  <c:v>70207.149108728452</c:v>
                </c:pt>
                <c:pt idx="1954">
                  <c:v>70333.114775659327</c:v>
                </c:pt>
                <c:pt idx="1955">
                  <c:v>70569.528991010491</c:v>
                </c:pt>
                <c:pt idx="1956">
                  <c:v>70569.528991010491</c:v>
                </c:pt>
                <c:pt idx="1957">
                  <c:v>70569.528991010491</c:v>
                </c:pt>
                <c:pt idx="1958">
                  <c:v>71009.066362463971</c:v>
                </c:pt>
                <c:pt idx="1959">
                  <c:v>71005.327025029314</c:v>
                </c:pt>
                <c:pt idx="1960">
                  <c:v>71150.72037285885</c:v>
                </c:pt>
                <c:pt idx="1961">
                  <c:v>70832.311649596653</c:v>
                </c:pt>
                <c:pt idx="1962">
                  <c:v>71210.631984378968</c:v>
                </c:pt>
                <c:pt idx="1963">
                  <c:v>71210.631984378968</c:v>
                </c:pt>
                <c:pt idx="1964">
                  <c:v>71210.631984378968</c:v>
                </c:pt>
                <c:pt idx="1965">
                  <c:v>71356.706353768517</c:v>
                </c:pt>
                <c:pt idx="1966">
                  <c:v>70263.974013947067</c:v>
                </c:pt>
                <c:pt idx="1967">
                  <c:v>70392.788957506826</c:v>
                </c:pt>
                <c:pt idx="1968">
                  <c:v>70066.109398584929</c:v>
                </c:pt>
                <c:pt idx="1969">
                  <c:v>70103.531707614733</c:v>
                </c:pt>
                <c:pt idx="1970">
                  <c:v>70103.531707614733</c:v>
                </c:pt>
                <c:pt idx="1971">
                  <c:v>70103.531707614733</c:v>
                </c:pt>
                <c:pt idx="1972">
                  <c:v>69573.611400048394</c:v>
                </c:pt>
                <c:pt idx="1973">
                  <c:v>69548.683175083759</c:v>
                </c:pt>
                <c:pt idx="1974">
                  <c:v>69494.415728575914</c:v>
                </c:pt>
                <c:pt idx="1975">
                  <c:v>69452.601633576181</c:v>
                </c:pt>
                <c:pt idx="1976">
                  <c:v>69594.157148121667</c:v>
                </c:pt>
                <c:pt idx="1977">
                  <c:v>69594.157148121667</c:v>
                </c:pt>
                <c:pt idx="1978">
                  <c:v>69594.157148121667</c:v>
                </c:pt>
                <c:pt idx="1979">
                  <c:v>69590.93563458728</c:v>
                </c:pt>
                <c:pt idx="1980">
                  <c:v>69405.482750214665</c:v>
                </c:pt>
                <c:pt idx="1981">
                  <c:v>68180.475310277456</c:v>
                </c:pt>
                <c:pt idx="1982">
                  <c:v>68628.882614883812</c:v>
                </c:pt>
                <c:pt idx="1983">
                  <c:v>68932.640912225557</c:v>
                </c:pt>
                <c:pt idx="1984">
                  <c:v>68932.640912225557</c:v>
                </c:pt>
                <c:pt idx="1985">
                  <c:v>68932.640912225557</c:v>
                </c:pt>
                <c:pt idx="1986">
                  <c:v>69075.512771759473</c:v>
                </c:pt>
                <c:pt idx="1987">
                  <c:v>69226.238994403102</c:v>
                </c:pt>
                <c:pt idx="1988">
                  <c:v>69164.147211599469</c:v>
                </c:pt>
                <c:pt idx="1989">
                  <c:v>69358.473566171058</c:v>
                </c:pt>
                <c:pt idx="1990">
                  <c:v>69482.863827003574</c:v>
                </c:pt>
                <c:pt idx="1991">
                  <c:v>69482.863827003574</c:v>
                </c:pt>
                <c:pt idx="1992">
                  <c:v>69482.863827003574</c:v>
                </c:pt>
                <c:pt idx="1993">
                  <c:v>69641.917745418599</c:v>
                </c:pt>
                <c:pt idx="1994">
                  <c:v>69652.189231866869</c:v>
                </c:pt>
                <c:pt idx="1995">
                  <c:v>69920.956830977768</c:v>
                </c:pt>
                <c:pt idx="1996">
                  <c:v>69727.613498777457</c:v>
                </c:pt>
                <c:pt idx="1997">
                  <c:v>70098.6090282636</c:v>
                </c:pt>
                <c:pt idx="1998">
                  <c:v>70098.6090282636</c:v>
                </c:pt>
                <c:pt idx="1999">
                  <c:v>70098.6090282636</c:v>
                </c:pt>
                <c:pt idx="2000">
                  <c:v>69984.011121238116</c:v>
                </c:pt>
                <c:pt idx="2001">
                  <c:v>70086.55379385328</c:v>
                </c:pt>
                <c:pt idx="2002">
                  <c:v>70213.417464875529</c:v>
                </c:pt>
                <c:pt idx="2003">
                  <c:v>70066.139204669555</c:v>
                </c:pt>
                <c:pt idx="2004">
                  <c:v>70190.252261672533</c:v>
                </c:pt>
                <c:pt idx="2005">
                  <c:v>70190.252261672533</c:v>
                </c:pt>
                <c:pt idx="2006">
                  <c:v>70190.252261672533</c:v>
                </c:pt>
                <c:pt idx="2007">
                  <c:v>70354.242661349141</c:v>
                </c:pt>
                <c:pt idx="2008">
                  <c:v>70319.452488353112</c:v>
                </c:pt>
                <c:pt idx="2009">
                  <c:v>70064.084147235946</c:v>
                </c:pt>
                <c:pt idx="2010">
                  <c:v>70100.067659572276</c:v>
                </c:pt>
                <c:pt idx="2011">
                  <c:v>69948.411771196203</c:v>
                </c:pt>
                <c:pt idx="2012">
                  <c:v>69948.411771196203</c:v>
                </c:pt>
                <c:pt idx="2013">
                  <c:v>69948.411771196203</c:v>
                </c:pt>
                <c:pt idx="2014">
                  <c:v>69840.199479733812</c:v>
                </c:pt>
                <c:pt idx="2015">
                  <c:v>69861.347790538261</c:v>
                </c:pt>
                <c:pt idx="2016">
                  <c:v>69878.027187323256</c:v>
                </c:pt>
                <c:pt idx="2017">
                  <c:v>69920.819093612226</c:v>
                </c:pt>
                <c:pt idx="2018">
                  <c:v>70048.87487853301</c:v>
                </c:pt>
                <c:pt idx="2019">
                  <c:v>70048.87487853301</c:v>
                </c:pt>
                <c:pt idx="2020">
                  <c:v>70048.87487853301</c:v>
                </c:pt>
                <c:pt idx="2021">
                  <c:v>69944.334638153028</c:v>
                </c:pt>
                <c:pt idx="2022">
                  <c:v>70108.681442365603</c:v>
                </c:pt>
                <c:pt idx="2023">
                  <c:v>70188.097752356247</c:v>
                </c:pt>
                <c:pt idx="2024">
                  <c:v>70142.983650644936</c:v>
                </c:pt>
                <c:pt idx="2025">
                  <c:v>70175.309746090163</c:v>
                </c:pt>
                <c:pt idx="2026">
                  <c:v>70175.309746090163</c:v>
                </c:pt>
                <c:pt idx="2027">
                  <c:v>70175.309746090163</c:v>
                </c:pt>
                <c:pt idx="2028">
                  <c:v>70232.778412500542</c:v>
                </c:pt>
                <c:pt idx="2029">
                  <c:v>69759.864594404411</c:v>
                </c:pt>
                <c:pt idx="2030">
                  <c:v>69670.338969775825</c:v>
                </c:pt>
                <c:pt idx="2031">
                  <c:v>69639.833115154528</c:v>
                </c:pt>
                <c:pt idx="2032">
                  <c:v>69802.759683117431</c:v>
                </c:pt>
                <c:pt idx="2033">
                  <c:v>69802.759683117431</c:v>
                </c:pt>
                <c:pt idx="2034">
                  <c:v>69802.759683117431</c:v>
                </c:pt>
                <c:pt idx="2035">
                  <c:v>69616.31790805902</c:v>
                </c:pt>
                <c:pt idx="2036">
                  <c:v>69928.651518353538</c:v>
                </c:pt>
                <c:pt idx="2037">
                  <c:v>70287.197392570102</c:v>
                </c:pt>
                <c:pt idx="2038">
                  <c:v>70064.49170475977</c:v>
                </c:pt>
                <c:pt idx="2039">
                  <c:v>69827.881113693118</c:v>
                </c:pt>
                <c:pt idx="2040">
                  <c:v>68836.019877355604</c:v>
                </c:pt>
                <c:pt idx="2041">
                  <c:v>68836.019877355604</c:v>
                </c:pt>
                <c:pt idx="2042">
                  <c:v>68802.482280111159</c:v>
                </c:pt>
                <c:pt idx="2043">
                  <c:v>68984.726295174711</c:v>
                </c:pt>
                <c:pt idx="2044">
                  <c:v>68954.902818302784</c:v>
                </c:pt>
                <c:pt idx="2045">
                  <c:v>68861.297916825002</c:v>
                </c:pt>
                <c:pt idx="2046">
                  <c:v>69332.055096386772</c:v>
                </c:pt>
                <c:pt idx="2047">
                  <c:v>69332.055096386772</c:v>
                </c:pt>
                <c:pt idx="2048">
                  <c:v>69332.055096386772</c:v>
                </c:pt>
                <c:pt idx="2049">
                  <c:v>69247.051916876953</c:v>
                </c:pt>
                <c:pt idx="2050">
                  <c:v>69197.529887698591</c:v>
                </c:pt>
                <c:pt idx="2051">
                  <c:v>69267.780603991181</c:v>
                </c:pt>
                <c:pt idx="2052">
                  <c:v>69200.149621042874</c:v>
                </c:pt>
                <c:pt idx="2053">
                  <c:v>69173.394767194899</c:v>
                </c:pt>
                <c:pt idx="2054">
                  <c:v>69173.394767194899</c:v>
                </c:pt>
                <c:pt idx="2055">
                  <c:v>69173.394767194899</c:v>
                </c:pt>
                <c:pt idx="2056">
                  <c:v>69138.038169927531</c:v>
                </c:pt>
                <c:pt idx="2057">
                  <c:v>68140.533913862499</c:v>
                </c:pt>
                <c:pt idx="2058">
                  <c:v>68044.047599245809</c:v>
                </c:pt>
                <c:pt idx="2059">
                  <c:v>68144.999109144992</c:v>
                </c:pt>
                <c:pt idx="2060">
                  <c:v>68244.665259042056</c:v>
                </c:pt>
                <c:pt idx="2061">
                  <c:v>68244.665259042056</c:v>
                </c:pt>
                <c:pt idx="2062">
                  <c:v>68244.665259042056</c:v>
                </c:pt>
                <c:pt idx="2063">
                  <c:v>68938.164817617828</c:v>
                </c:pt>
                <c:pt idx="2064">
                  <c:v>68697.944956639301</c:v>
                </c:pt>
                <c:pt idx="2065">
                  <c:v>68691.229732519787</c:v>
                </c:pt>
                <c:pt idx="2066">
                  <c:v>68705.696792413757</c:v>
                </c:pt>
                <c:pt idx="2067">
                  <c:v>68590.054798857615</c:v>
                </c:pt>
                <c:pt idx="2068">
                  <c:v>68590.054798857615</c:v>
                </c:pt>
                <c:pt idx="2069">
                  <c:v>68592.234590799111</c:v>
                </c:pt>
                <c:pt idx="2070">
                  <c:v>67639.784394690432</c:v>
                </c:pt>
                <c:pt idx="2071">
                  <c:v>68022.515997913666</c:v>
                </c:pt>
                <c:pt idx="2072">
                  <c:v>68072.676481435672</c:v>
                </c:pt>
                <c:pt idx="2073">
                  <c:v>67973.750545065792</c:v>
                </c:pt>
                <c:pt idx="2074">
                  <c:v>68044.27127204377</c:v>
                </c:pt>
                <c:pt idx="2075">
                  <c:v>68044.27127204377</c:v>
                </c:pt>
                <c:pt idx="2076">
                  <c:v>68044.27127204377</c:v>
                </c:pt>
                <c:pt idx="2077">
                  <c:v>68083.012277892514</c:v>
                </c:pt>
                <c:pt idx="2078">
                  <c:v>68085.60487900005</c:v>
                </c:pt>
                <c:pt idx="2079">
                  <c:v>68239.677836848903</c:v>
                </c:pt>
                <c:pt idx="2080">
                  <c:v>68437.998718165458</c:v>
                </c:pt>
                <c:pt idx="2081">
                  <c:v>68719.901678685463</c:v>
                </c:pt>
                <c:pt idx="2082">
                  <c:v>68719.901678685463</c:v>
                </c:pt>
                <c:pt idx="2083">
                  <c:v>68719.901678685463</c:v>
                </c:pt>
                <c:pt idx="2084">
                  <c:v>68716.415518073307</c:v>
                </c:pt>
                <c:pt idx="2085">
                  <c:v>69146.537675038824</c:v>
                </c:pt>
                <c:pt idx="2086">
                  <c:v>68779.45530169108</c:v>
                </c:pt>
                <c:pt idx="2087">
                  <c:v>68501.299491943631</c:v>
                </c:pt>
                <c:pt idx="2088">
                  <c:v>68734.252546138872</c:v>
                </c:pt>
                <c:pt idx="2089">
                  <c:v>68734.252546138872</c:v>
                </c:pt>
                <c:pt idx="2090">
                  <c:v>68734.252546138872</c:v>
                </c:pt>
                <c:pt idx="2091">
                  <c:v>69039.6127111854</c:v>
                </c:pt>
                <c:pt idx="2092">
                  <c:v>69115.034345695618</c:v>
                </c:pt>
                <c:pt idx="2093">
                  <c:v>69165.753031349523</c:v>
                </c:pt>
                <c:pt idx="2094">
                  <c:v>69319.565216255694</c:v>
                </c:pt>
                <c:pt idx="2095">
                  <c:v>69915.420948550294</c:v>
                </c:pt>
                <c:pt idx="2096">
                  <c:v>69915.420948550294</c:v>
                </c:pt>
                <c:pt idx="2097">
                  <c:v>69915.420948550294</c:v>
                </c:pt>
                <c:pt idx="2098">
                  <c:v>69800.68205207742</c:v>
                </c:pt>
                <c:pt idx="2099">
                  <c:v>69754.059384507564</c:v>
                </c:pt>
                <c:pt idx="2100">
                  <c:v>69778.241721814993</c:v>
                </c:pt>
                <c:pt idx="2101">
                  <c:v>69045.182401764352</c:v>
                </c:pt>
                <c:pt idx="2102">
                  <c:v>69290.530314718082</c:v>
                </c:pt>
                <c:pt idx="2103">
                  <c:v>69290.530314718082</c:v>
                </c:pt>
                <c:pt idx="2104">
                  <c:v>69290.530314718082</c:v>
                </c:pt>
                <c:pt idx="2105">
                  <c:v>69137.014373184604</c:v>
                </c:pt>
                <c:pt idx="2106">
                  <c:v>69067.78886343303</c:v>
                </c:pt>
                <c:pt idx="2107">
                  <c:v>68762.629414609284</c:v>
                </c:pt>
                <c:pt idx="2108">
                  <c:v>68541.161488295897</c:v>
                </c:pt>
                <c:pt idx="2109">
                  <c:v>69247.15464315057</c:v>
                </c:pt>
                <c:pt idx="2110">
                  <c:v>69247.15464315057</c:v>
                </c:pt>
                <c:pt idx="2111">
                  <c:v>69247.15464315057</c:v>
                </c:pt>
                <c:pt idx="2112">
                  <c:v>69322.272571564376</c:v>
                </c:pt>
                <c:pt idx="2113">
                  <c:v>69291.110823598021</c:v>
                </c:pt>
                <c:pt idx="2114">
                  <c:v>69395.513126098158</c:v>
                </c:pt>
                <c:pt idx="2115">
                  <c:v>68934.248783855423</c:v>
                </c:pt>
                <c:pt idx="2116">
                  <c:v>69125.202167726602</c:v>
                </c:pt>
                <c:pt idx="2117">
                  <c:v>69125.202167726602</c:v>
                </c:pt>
                <c:pt idx="2118">
                  <c:v>69125.202167726602</c:v>
                </c:pt>
                <c:pt idx="2119">
                  <c:v>69585.2200193725</c:v>
                </c:pt>
                <c:pt idx="2120">
                  <c:v>69724.510841841868</c:v>
                </c:pt>
                <c:pt idx="2121">
                  <c:v>69522.417833392334</c:v>
                </c:pt>
                <c:pt idx="2122">
                  <c:v>69589.913672745883</c:v>
                </c:pt>
                <c:pt idx="2123">
                  <c:v>69428.907664876082</c:v>
                </c:pt>
                <c:pt idx="2124">
                  <c:v>69428.907664876082</c:v>
                </c:pt>
                <c:pt idx="2125">
                  <c:v>69428.907664876082</c:v>
                </c:pt>
                <c:pt idx="2126">
                  <c:v>69552.847290815887</c:v>
                </c:pt>
                <c:pt idx="2127">
                  <c:v>69148.874616352201</c:v>
                </c:pt>
                <c:pt idx="2128">
                  <c:v>68583.344002746089</c:v>
                </c:pt>
                <c:pt idx="2129">
                  <c:v>67966.821576001239</c:v>
                </c:pt>
                <c:pt idx="2130">
                  <c:v>67790.754884045047</c:v>
                </c:pt>
                <c:pt idx="2131">
                  <c:v>66798.893647707533</c:v>
                </c:pt>
                <c:pt idx="2132">
                  <c:v>66798.893647707533</c:v>
                </c:pt>
                <c:pt idx="2133">
                  <c:v>66926.371320366932</c:v>
                </c:pt>
                <c:pt idx="2134">
                  <c:v>66817.505538458659</c:v>
                </c:pt>
                <c:pt idx="2135">
                  <c:v>66873.193252099576</c:v>
                </c:pt>
                <c:pt idx="2136">
                  <c:v>66518.731222534901</c:v>
                </c:pt>
                <c:pt idx="2137">
                  <c:v>66617.343246010365</c:v>
                </c:pt>
                <c:pt idx="2138">
                  <c:v>66617.343246010365</c:v>
                </c:pt>
                <c:pt idx="2139">
                  <c:v>66617.343246010365</c:v>
                </c:pt>
                <c:pt idx="2140">
                  <c:v>66685.752595789701</c:v>
                </c:pt>
                <c:pt idx="2141">
                  <c:v>66504.154621178372</c:v>
                </c:pt>
                <c:pt idx="2142">
                  <c:v>66968.370246472856</c:v>
                </c:pt>
                <c:pt idx="2143">
                  <c:v>67015.627816304681</c:v>
                </c:pt>
                <c:pt idx="2144">
                  <c:v>66607.589763219556</c:v>
                </c:pt>
                <c:pt idx="2145">
                  <c:v>66607.589763219556</c:v>
                </c:pt>
                <c:pt idx="2146">
                  <c:v>66607.589763219556</c:v>
                </c:pt>
                <c:pt idx="2147">
                  <c:v>66721.799133082954</c:v>
                </c:pt>
                <c:pt idx="2148">
                  <c:v>66929.388665071747</c:v>
                </c:pt>
                <c:pt idx="2149">
                  <c:v>67049.520224786684</c:v>
                </c:pt>
                <c:pt idx="2150">
                  <c:v>67492.682687722016</c:v>
                </c:pt>
                <c:pt idx="2151">
                  <c:v>67350.329146177552</c:v>
                </c:pt>
                <c:pt idx="2152">
                  <c:v>67350.329146177552</c:v>
                </c:pt>
                <c:pt idx="2153">
                  <c:v>67350.329146177552</c:v>
                </c:pt>
                <c:pt idx="2154">
                  <c:v>66935.097529409075</c:v>
                </c:pt>
                <c:pt idx="2155">
                  <c:v>67137.683964942553</c:v>
                </c:pt>
                <c:pt idx="2156">
                  <c:v>67106.660312559194</c:v>
                </c:pt>
                <c:pt idx="2157">
                  <c:v>67243.734390113445</c:v>
                </c:pt>
                <c:pt idx="2158">
                  <c:v>66908.798056177708</c:v>
                </c:pt>
                <c:pt idx="2159">
                  <c:v>66908.798056177708</c:v>
                </c:pt>
                <c:pt idx="2160">
                  <c:v>66908.798056177708</c:v>
                </c:pt>
                <c:pt idx="2161">
                  <c:v>66835.995262100769</c:v>
                </c:pt>
                <c:pt idx="2162">
                  <c:v>66025.158650570709</c:v>
                </c:pt>
                <c:pt idx="2163">
                  <c:v>65958.349773286958</c:v>
                </c:pt>
                <c:pt idx="2164">
                  <c:v>66240.677234073024</c:v>
                </c:pt>
                <c:pt idx="2165">
                  <c:v>66512.966161911405</c:v>
                </c:pt>
                <c:pt idx="2166">
                  <c:v>66512.966161911405</c:v>
                </c:pt>
                <c:pt idx="2167">
                  <c:v>66512.966161911405</c:v>
                </c:pt>
                <c:pt idx="2168">
                  <c:v>66477.106361334867</c:v>
                </c:pt>
                <c:pt idx="2169">
                  <c:v>66574.745276074143</c:v>
                </c:pt>
                <c:pt idx="2170">
                  <c:v>66327.170442078743</c:v>
                </c:pt>
                <c:pt idx="2171">
                  <c:v>66122.88607347566</c:v>
                </c:pt>
                <c:pt idx="2172">
                  <c:v>66038.125790733524</c:v>
                </c:pt>
                <c:pt idx="2173">
                  <c:v>66038.125790733524</c:v>
                </c:pt>
                <c:pt idx="2174">
                  <c:v>66038.125790733524</c:v>
                </c:pt>
                <c:pt idx="2175">
                  <c:v>66288.214154246802</c:v>
                </c:pt>
                <c:pt idx="2176">
                  <c:v>66658.483546458883</c:v>
                </c:pt>
                <c:pt idx="2177">
                  <c:v>66835.369831567441</c:v>
                </c:pt>
                <c:pt idx="2178">
                  <c:v>66639.227403369034</c:v>
                </c:pt>
                <c:pt idx="2179">
                  <c:v>66376.271011212171</c:v>
                </c:pt>
                <c:pt idx="2180">
                  <c:v>66376.271011212171</c:v>
                </c:pt>
                <c:pt idx="2181">
                  <c:v>66376.271011212171</c:v>
                </c:pt>
                <c:pt idx="2182">
                  <c:v>66237.749043713455</c:v>
                </c:pt>
                <c:pt idx="2183">
                  <c:v>66721.700584796563</c:v>
                </c:pt>
                <c:pt idx="2184">
                  <c:v>66762.241357288891</c:v>
                </c:pt>
                <c:pt idx="2185">
                  <c:v>66746.446078606168</c:v>
                </c:pt>
                <c:pt idx="2186">
                  <c:v>66606.41870937786</c:v>
                </c:pt>
                <c:pt idx="2187">
                  <c:v>66606.41870937786</c:v>
                </c:pt>
                <c:pt idx="2188">
                  <c:v>66606.41870937786</c:v>
                </c:pt>
                <c:pt idx="2189">
                  <c:v>66532.510895049563</c:v>
                </c:pt>
                <c:pt idx="2190">
                  <c:v>66315.630877334319</c:v>
                </c:pt>
                <c:pt idx="2191">
                  <c:v>66462.310442334041</c:v>
                </c:pt>
                <c:pt idx="2192">
                  <c:v>66940.903545959969</c:v>
                </c:pt>
                <c:pt idx="2193">
                  <c:v>65797.549689625666</c:v>
                </c:pt>
                <c:pt idx="2194">
                  <c:v>65797.549689625666</c:v>
                </c:pt>
                <c:pt idx="2195">
                  <c:v>65797.549689625666</c:v>
                </c:pt>
                <c:pt idx="2196">
                  <c:v>65736.467850322297</c:v>
                </c:pt>
                <c:pt idx="2197">
                  <c:v>65471.768787323439</c:v>
                </c:pt>
                <c:pt idx="2198">
                  <c:v>65367.330185906969</c:v>
                </c:pt>
                <c:pt idx="2199">
                  <c:v>65506.900548300007</c:v>
                </c:pt>
                <c:pt idx="2200">
                  <c:v>65379.962586555514</c:v>
                </c:pt>
                <c:pt idx="2201">
                  <c:v>65379.962586555521</c:v>
                </c:pt>
                <c:pt idx="2202">
                  <c:v>65379.962586555521</c:v>
                </c:pt>
                <c:pt idx="2203">
                  <c:v>65539.35174354566</c:v>
                </c:pt>
                <c:pt idx="2204">
                  <c:v>65337.187092976965</c:v>
                </c:pt>
                <c:pt idx="2205">
                  <c:v>65372.058203100365</c:v>
                </c:pt>
                <c:pt idx="2206">
                  <c:v>64808.805358696045</c:v>
                </c:pt>
                <c:pt idx="2207">
                  <c:v>64122.987562893417</c:v>
                </c:pt>
                <c:pt idx="2208">
                  <c:v>64122.987562893424</c:v>
                </c:pt>
                <c:pt idx="2209">
                  <c:v>64122.987562893424</c:v>
                </c:pt>
                <c:pt idx="2210">
                  <c:v>64427.684610275275</c:v>
                </c:pt>
                <c:pt idx="2211">
                  <c:v>64575.644720813318</c:v>
                </c:pt>
                <c:pt idx="2212">
                  <c:v>64453.055608388211</c:v>
                </c:pt>
                <c:pt idx="2213">
                  <c:v>64329.327655659006</c:v>
                </c:pt>
                <c:pt idx="2214">
                  <c:v>64527.062499713691</c:v>
                </c:pt>
                <c:pt idx="2215">
                  <c:v>64527.062499713691</c:v>
                </c:pt>
                <c:pt idx="2216">
                  <c:v>64527.062499713691</c:v>
                </c:pt>
                <c:pt idx="2217">
                  <c:v>64584.656129347808</c:v>
                </c:pt>
                <c:pt idx="2218">
                  <c:v>64575.492858336176</c:v>
                </c:pt>
                <c:pt idx="2219">
                  <c:v>64715.991695412849</c:v>
                </c:pt>
                <c:pt idx="2220">
                  <c:v>64680.407607379122</c:v>
                </c:pt>
                <c:pt idx="2221">
                  <c:v>65019.615596623036</c:v>
                </c:pt>
                <c:pt idx="2222">
                  <c:v>65020.54147594914</c:v>
                </c:pt>
                <c:pt idx="2223">
                  <c:v>64028.680239611625</c:v>
                </c:pt>
                <c:pt idx="2224">
                  <c:v>64558.631539645248</c:v>
                </c:pt>
                <c:pt idx="2225">
                  <c:v>64729.376208341295</c:v>
                </c:pt>
                <c:pt idx="2226">
                  <c:v>64587.89721076272</c:v>
                </c:pt>
                <c:pt idx="2227">
                  <c:v>65043.236073187851</c:v>
                </c:pt>
                <c:pt idx="2228">
                  <c:v>65225.85601581345</c:v>
                </c:pt>
                <c:pt idx="2229">
                  <c:v>65225.85601581345</c:v>
                </c:pt>
                <c:pt idx="2230">
                  <c:v>65225.85601581345</c:v>
                </c:pt>
                <c:pt idx="2231">
                  <c:v>65039.184833964668</c:v>
                </c:pt>
                <c:pt idx="2232">
                  <c:v>65129.046874082364</c:v>
                </c:pt>
                <c:pt idx="2233">
                  <c:v>65283.181276414565</c:v>
                </c:pt>
                <c:pt idx="2234">
                  <c:v>65429.856263947353</c:v>
                </c:pt>
                <c:pt idx="2235">
                  <c:v>65108.106908665082</c:v>
                </c:pt>
                <c:pt idx="2236">
                  <c:v>65108.106908665075</c:v>
                </c:pt>
                <c:pt idx="2237">
                  <c:v>65108.106908665075</c:v>
                </c:pt>
                <c:pt idx="2238">
                  <c:v>65031.604231966325</c:v>
                </c:pt>
                <c:pt idx="2239">
                  <c:v>65197.957676855869</c:v>
                </c:pt>
                <c:pt idx="2240">
                  <c:v>65401.701946575617</c:v>
                </c:pt>
                <c:pt idx="2241">
                  <c:v>65269.37860712922</c:v>
                </c:pt>
                <c:pt idx="2242">
                  <c:v>65286.324495896981</c:v>
                </c:pt>
                <c:pt idx="2243">
                  <c:v>65286.324495896974</c:v>
                </c:pt>
                <c:pt idx="2244">
                  <c:v>65286.324495896974</c:v>
                </c:pt>
                <c:pt idx="2245">
                  <c:v>65278.162399608496</c:v>
                </c:pt>
                <c:pt idx="2246">
                  <c:v>65288.627794604407</c:v>
                </c:pt>
                <c:pt idx="2247">
                  <c:v>64648.016431570024</c:v>
                </c:pt>
                <c:pt idx="2248">
                  <c:v>65063.060575941687</c:v>
                </c:pt>
                <c:pt idx="2249">
                  <c:v>65358.217848983237</c:v>
                </c:pt>
                <c:pt idx="2250">
                  <c:v>65358.217848983229</c:v>
                </c:pt>
                <c:pt idx="2251">
                  <c:v>65358.217848983229</c:v>
                </c:pt>
                <c:pt idx="2252">
                  <c:v>65234.009784618662</c:v>
                </c:pt>
                <c:pt idx="2253">
                  <c:v>65041.236762304143</c:v>
                </c:pt>
                <c:pt idx="2254">
                  <c:v>64130.880650990577</c:v>
                </c:pt>
                <c:pt idx="2255">
                  <c:v>64619.822180779411</c:v>
                </c:pt>
                <c:pt idx="2256">
                  <c:v>64806.488814914803</c:v>
                </c:pt>
                <c:pt idx="2257">
                  <c:v>64806.488814914803</c:v>
                </c:pt>
                <c:pt idx="2258">
                  <c:v>64806.488814914803</c:v>
                </c:pt>
                <c:pt idx="2259">
                  <c:v>64589.799246653703</c:v>
                </c:pt>
                <c:pt idx="2260">
                  <c:v>64287.136614567818</c:v>
                </c:pt>
                <c:pt idx="2261">
                  <c:v>64438.460819702115</c:v>
                </c:pt>
                <c:pt idx="2262">
                  <c:v>64330.525753444505</c:v>
                </c:pt>
                <c:pt idx="2263">
                  <c:v>63809.944483195162</c:v>
                </c:pt>
                <c:pt idx="2264">
                  <c:v>63809.944483195162</c:v>
                </c:pt>
                <c:pt idx="2265">
                  <c:v>63809.944483195162</c:v>
                </c:pt>
                <c:pt idx="2266">
                  <c:v>63973.049720388095</c:v>
                </c:pt>
                <c:pt idx="2267">
                  <c:v>64024.327958121961</c:v>
                </c:pt>
                <c:pt idx="2268">
                  <c:v>63804.898659397651</c:v>
                </c:pt>
                <c:pt idx="2269">
                  <c:v>64036.280105847109</c:v>
                </c:pt>
                <c:pt idx="2270">
                  <c:v>63966.600308375528</c:v>
                </c:pt>
                <c:pt idx="2271">
                  <c:v>63966.600308375528</c:v>
                </c:pt>
                <c:pt idx="2272">
                  <c:v>63966.600308375528</c:v>
                </c:pt>
                <c:pt idx="2273">
                  <c:v>63969.49287804147</c:v>
                </c:pt>
                <c:pt idx="2274">
                  <c:v>64310.641543865146</c:v>
                </c:pt>
                <c:pt idx="2275">
                  <c:v>64185.983725615777</c:v>
                </c:pt>
                <c:pt idx="2276">
                  <c:v>64176.632469646785</c:v>
                </c:pt>
                <c:pt idx="2277">
                  <c:v>64156.553526646007</c:v>
                </c:pt>
                <c:pt idx="2278">
                  <c:v>64156.553526646007</c:v>
                </c:pt>
                <c:pt idx="2279">
                  <c:v>64156.553526646007</c:v>
                </c:pt>
                <c:pt idx="2280">
                  <c:v>64034.967875795519</c:v>
                </c:pt>
                <c:pt idx="2281">
                  <c:v>64632.667064199806</c:v>
                </c:pt>
                <c:pt idx="2282">
                  <c:v>63957.395299939773</c:v>
                </c:pt>
                <c:pt idx="2283">
                  <c:v>63428.881445156869</c:v>
                </c:pt>
                <c:pt idx="2284">
                  <c:v>62329.226630536199</c:v>
                </c:pt>
                <c:pt idx="2285">
                  <c:v>62329.226630536199</c:v>
                </c:pt>
                <c:pt idx="2286">
                  <c:v>62329.226630536199</c:v>
                </c:pt>
                <c:pt idx="2287">
                  <c:v>62445.944340324546</c:v>
                </c:pt>
                <c:pt idx="2288">
                  <c:v>62355.710575212222</c:v>
                </c:pt>
                <c:pt idx="2289">
                  <c:v>62569.612486983904</c:v>
                </c:pt>
                <c:pt idx="2290">
                  <c:v>62369.660027751503</c:v>
                </c:pt>
                <c:pt idx="2291">
                  <c:v>62637.361211432828</c:v>
                </c:pt>
                <c:pt idx="2292">
                  <c:v>62637.361211432828</c:v>
                </c:pt>
                <c:pt idx="2293">
                  <c:v>62637.361211432828</c:v>
                </c:pt>
                <c:pt idx="2294">
                  <c:v>62848.75980002695</c:v>
                </c:pt>
                <c:pt idx="2295">
                  <c:v>63026.414389353689</c:v>
                </c:pt>
                <c:pt idx="2296">
                  <c:v>62975.977501238602</c:v>
                </c:pt>
                <c:pt idx="2297">
                  <c:v>62572.974068895375</c:v>
                </c:pt>
                <c:pt idx="2298">
                  <c:v>62982.276406874837</c:v>
                </c:pt>
                <c:pt idx="2299">
                  <c:v>62982.276406874844</c:v>
                </c:pt>
                <c:pt idx="2300">
                  <c:v>62982.276406874844</c:v>
                </c:pt>
                <c:pt idx="2301">
                  <c:v>63104.045080434371</c:v>
                </c:pt>
                <c:pt idx="2302">
                  <c:v>63051.068603548891</c:v>
                </c:pt>
                <c:pt idx="2303">
                  <c:v>62715.912451747798</c:v>
                </c:pt>
                <c:pt idx="2304">
                  <c:v>63011.017787675628</c:v>
                </c:pt>
                <c:pt idx="2305">
                  <c:v>62983.545614030372</c:v>
                </c:pt>
                <c:pt idx="2306">
                  <c:v>62983.545614030372</c:v>
                </c:pt>
                <c:pt idx="2307">
                  <c:v>62983.545614030372</c:v>
                </c:pt>
                <c:pt idx="2308">
                  <c:v>62985.389772245944</c:v>
                </c:pt>
                <c:pt idx="2309">
                  <c:v>62955.450926925507</c:v>
                </c:pt>
                <c:pt idx="2310">
                  <c:v>63035.659948733468</c:v>
                </c:pt>
                <c:pt idx="2311">
                  <c:v>63034.429492651252</c:v>
                </c:pt>
                <c:pt idx="2312">
                  <c:v>62976.425840976415</c:v>
                </c:pt>
                <c:pt idx="2313">
                  <c:v>62976.425840976422</c:v>
                </c:pt>
                <c:pt idx="2314">
                  <c:v>62978.194219014033</c:v>
                </c:pt>
                <c:pt idx="2315">
                  <c:v>61988.2701919307</c:v>
                </c:pt>
                <c:pt idx="2316">
                  <c:v>61931.371158721529</c:v>
                </c:pt>
                <c:pt idx="2317">
                  <c:v>62206.740949500534</c:v>
                </c:pt>
                <c:pt idx="2318">
                  <c:v>62474.3164029533</c:v>
                </c:pt>
                <c:pt idx="2319">
                  <c:v>62699.077752103563</c:v>
                </c:pt>
                <c:pt idx="2320">
                  <c:v>62699.077752103563</c:v>
                </c:pt>
                <c:pt idx="2321">
                  <c:v>62699.077752103563</c:v>
                </c:pt>
                <c:pt idx="2322">
                  <c:v>62617.387750691123</c:v>
                </c:pt>
                <c:pt idx="2323">
                  <c:v>62685.636320122227</c:v>
                </c:pt>
                <c:pt idx="2324">
                  <c:v>62610.656776806994</c:v>
                </c:pt>
                <c:pt idx="2325">
                  <c:v>62612.601463806473</c:v>
                </c:pt>
                <c:pt idx="2326">
                  <c:v>62482.553838314117</c:v>
                </c:pt>
                <c:pt idx="2327">
                  <c:v>62482.553838314117</c:v>
                </c:pt>
                <c:pt idx="2328">
                  <c:v>62482.553838314117</c:v>
                </c:pt>
                <c:pt idx="2329">
                  <c:v>62398.206764411159</c:v>
                </c:pt>
                <c:pt idx="2330">
                  <c:v>62453.862220952615</c:v>
                </c:pt>
                <c:pt idx="2331">
                  <c:v>62285.69270615025</c:v>
                </c:pt>
                <c:pt idx="2332">
                  <c:v>61952.057524598975</c:v>
                </c:pt>
                <c:pt idx="2333">
                  <c:v>62133.139671619916</c:v>
                </c:pt>
                <c:pt idx="2334">
                  <c:v>62133.139671619916</c:v>
                </c:pt>
                <c:pt idx="2335">
                  <c:v>62133.139671619916</c:v>
                </c:pt>
                <c:pt idx="2336">
                  <c:v>61821.751986178831</c:v>
                </c:pt>
                <c:pt idx="2337">
                  <c:v>62002.579992520885</c:v>
                </c:pt>
                <c:pt idx="2338">
                  <c:v>61430.925505376843</c:v>
                </c:pt>
                <c:pt idx="2339">
                  <c:v>61276.410755690187</c:v>
                </c:pt>
                <c:pt idx="2340">
                  <c:v>61647.187576767683</c:v>
                </c:pt>
                <c:pt idx="2341">
                  <c:v>61647.187576767683</c:v>
                </c:pt>
                <c:pt idx="2342">
                  <c:v>61647.187576767683</c:v>
                </c:pt>
                <c:pt idx="2343">
                  <c:v>61717.497427142742</c:v>
                </c:pt>
                <c:pt idx="2344">
                  <c:v>61212.759389684084</c:v>
                </c:pt>
                <c:pt idx="2345">
                  <c:v>61009.261855986231</c:v>
                </c:pt>
                <c:pt idx="2346">
                  <c:v>59601.240582120954</c:v>
                </c:pt>
                <c:pt idx="2347">
                  <c:v>59209.271235395419</c:v>
                </c:pt>
                <c:pt idx="2348">
                  <c:v>59209.271235395412</c:v>
                </c:pt>
                <c:pt idx="2349">
                  <c:v>59209.271235395412</c:v>
                </c:pt>
                <c:pt idx="2350">
                  <c:v>58478.02489378403</c:v>
                </c:pt>
                <c:pt idx="2351">
                  <c:v>58050.084461952065</c:v>
                </c:pt>
                <c:pt idx="2352">
                  <c:v>58564.336808681073</c:v>
                </c:pt>
                <c:pt idx="2353">
                  <c:v>57564.439775464802</c:v>
                </c:pt>
                <c:pt idx="2354">
                  <c:v>57706.565225981627</c:v>
                </c:pt>
                <c:pt idx="2355">
                  <c:v>57706.565225981627</c:v>
                </c:pt>
                <c:pt idx="2356">
                  <c:v>57706.565225981627</c:v>
                </c:pt>
                <c:pt idx="2357">
                  <c:v>58189.272565177831</c:v>
                </c:pt>
                <c:pt idx="2358">
                  <c:v>58093.657698176903</c:v>
                </c:pt>
                <c:pt idx="2359">
                  <c:v>58313.336541016251</c:v>
                </c:pt>
                <c:pt idx="2360">
                  <c:v>58522.857525474858</c:v>
                </c:pt>
                <c:pt idx="2361">
                  <c:v>58821.386133083754</c:v>
                </c:pt>
                <c:pt idx="2362">
                  <c:v>58821.386133083754</c:v>
                </c:pt>
                <c:pt idx="2363">
                  <c:v>58821.386133083754</c:v>
                </c:pt>
                <c:pt idx="2364">
                  <c:v>58766.014621247377</c:v>
                </c:pt>
                <c:pt idx="2365">
                  <c:v>58724.102111959364</c:v>
                </c:pt>
                <c:pt idx="2366">
                  <c:v>58815.587216157546</c:v>
                </c:pt>
                <c:pt idx="2367">
                  <c:v>58783.700933704189</c:v>
                </c:pt>
                <c:pt idx="2368">
                  <c:v>58913.93034475272</c:v>
                </c:pt>
                <c:pt idx="2369">
                  <c:v>58913.930344752713</c:v>
                </c:pt>
                <c:pt idx="2370">
                  <c:v>58913.930344752713</c:v>
                </c:pt>
                <c:pt idx="2371">
                  <c:v>59160.920517190752</c:v>
                </c:pt>
                <c:pt idx="2372">
                  <c:v>58980.293944322897</c:v>
                </c:pt>
                <c:pt idx="2373">
                  <c:v>58866.598811292315</c:v>
                </c:pt>
                <c:pt idx="2374">
                  <c:v>57626.588959661734</c:v>
                </c:pt>
                <c:pt idx="2375">
                  <c:v>57308.69361046343</c:v>
                </c:pt>
                <c:pt idx="2376">
                  <c:v>57308.69361046343</c:v>
                </c:pt>
                <c:pt idx="2377">
                  <c:v>57308.69361046343</c:v>
                </c:pt>
                <c:pt idx="2378">
                  <c:v>57492.878593945024</c:v>
                </c:pt>
                <c:pt idx="2379">
                  <c:v>57731.981127299099</c:v>
                </c:pt>
                <c:pt idx="2380">
                  <c:v>57805.385032023209</c:v>
                </c:pt>
                <c:pt idx="2381">
                  <c:v>58269.742626631654</c:v>
                </c:pt>
                <c:pt idx="2382">
                  <c:v>58521.501128531985</c:v>
                </c:pt>
                <c:pt idx="2383">
                  <c:v>58521.501128531978</c:v>
                </c:pt>
                <c:pt idx="2384">
                  <c:v>58521.501128531978</c:v>
                </c:pt>
                <c:pt idx="2385">
                  <c:v>58543.080932073135</c:v>
                </c:pt>
                <c:pt idx="2386">
                  <c:v>58046.757960808303</c:v>
                </c:pt>
                <c:pt idx="2387">
                  <c:v>58129.850733894033</c:v>
                </c:pt>
                <c:pt idx="2388">
                  <c:v>58248.18160194347</c:v>
                </c:pt>
                <c:pt idx="2389">
                  <c:v>58317.551691340494</c:v>
                </c:pt>
                <c:pt idx="2390">
                  <c:v>58317.551691340494</c:v>
                </c:pt>
                <c:pt idx="2391">
                  <c:v>58317.551691340494</c:v>
                </c:pt>
                <c:pt idx="2392">
                  <c:v>57559.808415194224</c:v>
                </c:pt>
                <c:pt idx="2393">
                  <c:v>57581.181523254956</c:v>
                </c:pt>
                <c:pt idx="2394">
                  <c:v>57394.996803482209</c:v>
                </c:pt>
                <c:pt idx="2395">
                  <c:v>56893.131507732753</c:v>
                </c:pt>
                <c:pt idx="2396">
                  <c:v>56448.66700324884</c:v>
                </c:pt>
                <c:pt idx="2397">
                  <c:v>56448.66700324884</c:v>
                </c:pt>
                <c:pt idx="2398">
                  <c:v>56448.66700324884</c:v>
                </c:pt>
                <c:pt idx="2399">
                  <c:v>56550.406129248804</c:v>
                </c:pt>
                <c:pt idx="2400">
                  <c:v>57011.597876899352</c:v>
                </c:pt>
                <c:pt idx="2401">
                  <c:v>57130.794305044503</c:v>
                </c:pt>
                <c:pt idx="2402">
                  <c:v>57427.209432985022</c:v>
                </c:pt>
                <c:pt idx="2403">
                  <c:v>57464.410204983607</c:v>
                </c:pt>
                <c:pt idx="2404">
                  <c:v>57465.287686527437</c:v>
                </c:pt>
                <c:pt idx="2405">
                  <c:v>56473.426450189923</c:v>
                </c:pt>
                <c:pt idx="2406">
                  <c:v>56272.440913859282</c:v>
                </c:pt>
                <c:pt idx="2407">
                  <c:v>56129.817849638697</c:v>
                </c:pt>
                <c:pt idx="2408">
                  <c:v>56106.315733606876</c:v>
                </c:pt>
                <c:pt idx="2409">
                  <c:v>56870.98029479284</c:v>
                </c:pt>
                <c:pt idx="2410">
                  <c:v>56531.230783672538</c:v>
                </c:pt>
                <c:pt idx="2411">
                  <c:v>56531.230783672545</c:v>
                </c:pt>
                <c:pt idx="2412">
                  <c:v>56531.230783672545</c:v>
                </c:pt>
                <c:pt idx="2413">
                  <c:v>56650.491894695318</c:v>
                </c:pt>
                <c:pt idx="2414">
                  <c:v>56906.420688918144</c:v>
                </c:pt>
                <c:pt idx="2415">
                  <c:v>56783.288283024085</c:v>
                </c:pt>
                <c:pt idx="2416">
                  <c:v>56768.386076847091</c:v>
                </c:pt>
                <c:pt idx="2417">
                  <c:v>56732.113348879429</c:v>
                </c:pt>
                <c:pt idx="2418">
                  <c:v>56732.113348879422</c:v>
                </c:pt>
                <c:pt idx="2419">
                  <c:v>56732.113348879422</c:v>
                </c:pt>
                <c:pt idx="2420">
                  <c:v>56510.311776567236</c:v>
                </c:pt>
                <c:pt idx="2421">
                  <c:v>56843.638415684429</c:v>
                </c:pt>
                <c:pt idx="2422">
                  <c:v>57202.565633296203</c:v>
                </c:pt>
                <c:pt idx="2423">
                  <c:v>57137.041238414575</c:v>
                </c:pt>
                <c:pt idx="2424">
                  <c:v>57451.102984767298</c:v>
                </c:pt>
                <c:pt idx="2425">
                  <c:v>57451.102984767298</c:v>
                </c:pt>
                <c:pt idx="2426">
                  <c:v>57451.102984767298</c:v>
                </c:pt>
                <c:pt idx="2427">
                  <c:v>57595.676961895377</c:v>
                </c:pt>
                <c:pt idx="2428">
                  <c:v>57542.119893802053</c:v>
                </c:pt>
                <c:pt idx="2429">
                  <c:v>57345.369000355167</c:v>
                </c:pt>
                <c:pt idx="2430">
                  <c:v>57669.80157238205</c:v>
                </c:pt>
                <c:pt idx="2431">
                  <c:v>58206.531532126137</c:v>
                </c:pt>
                <c:pt idx="2432">
                  <c:v>58206.531532126137</c:v>
                </c:pt>
                <c:pt idx="2433">
                  <c:v>58206.531532126137</c:v>
                </c:pt>
                <c:pt idx="2434">
                  <c:v>58239.422296898992</c:v>
                </c:pt>
                <c:pt idx="2435">
                  <c:v>57555.107725067377</c:v>
                </c:pt>
                <c:pt idx="2436">
                  <c:v>57575.756771065899</c:v>
                </c:pt>
                <c:pt idx="2437">
                  <c:v>57627.268649133839</c:v>
                </c:pt>
                <c:pt idx="2438">
                  <c:v>58001.163012219724</c:v>
                </c:pt>
                <c:pt idx="2439">
                  <c:v>58001.163012219724</c:v>
                </c:pt>
                <c:pt idx="2440">
                  <c:v>58001.163012219724</c:v>
                </c:pt>
                <c:pt idx="2441">
                  <c:v>58086.5500043598</c:v>
                </c:pt>
                <c:pt idx="2442">
                  <c:v>58131.884233176206</c:v>
                </c:pt>
                <c:pt idx="2443">
                  <c:v>58282.234794600365</c:v>
                </c:pt>
                <c:pt idx="2444">
                  <c:v>58819.560864421008</c:v>
                </c:pt>
                <c:pt idx="2445">
                  <c:v>58856.210156404413</c:v>
                </c:pt>
                <c:pt idx="2446">
                  <c:v>58856.210156404413</c:v>
                </c:pt>
                <c:pt idx="2447">
                  <c:v>58856.210156404413</c:v>
                </c:pt>
                <c:pt idx="2448">
                  <c:v>58832.195056974298</c:v>
                </c:pt>
                <c:pt idx="2449">
                  <c:v>58768.267993825386</c:v>
                </c:pt>
                <c:pt idx="2450">
                  <c:v>58710.354804130875</c:v>
                </c:pt>
                <c:pt idx="2451">
                  <c:v>58770.834689028794</c:v>
                </c:pt>
                <c:pt idx="2452">
                  <c:v>58766.926428521976</c:v>
                </c:pt>
                <c:pt idx="2453">
                  <c:v>58766.926428521976</c:v>
                </c:pt>
                <c:pt idx="2454">
                  <c:v>58766.926428521976</c:v>
                </c:pt>
                <c:pt idx="2455">
                  <c:v>59210.356973242502</c:v>
                </c:pt>
                <c:pt idx="2456">
                  <c:v>59186.989605863011</c:v>
                </c:pt>
                <c:pt idx="2457">
                  <c:v>59068.580114457516</c:v>
                </c:pt>
                <c:pt idx="2458">
                  <c:v>58866.732143861998</c:v>
                </c:pt>
                <c:pt idx="2459">
                  <c:v>58966.738480431923</c:v>
                </c:pt>
                <c:pt idx="2460">
                  <c:v>58966.738480431923</c:v>
                </c:pt>
                <c:pt idx="2461">
                  <c:v>58966.738480431923</c:v>
                </c:pt>
                <c:pt idx="2462">
                  <c:v>59038.289310571476</c:v>
                </c:pt>
                <c:pt idx="2463">
                  <c:v>58638.528655608839</c:v>
                </c:pt>
                <c:pt idx="2464">
                  <c:v>58859.790588555625</c:v>
                </c:pt>
                <c:pt idx="2465">
                  <c:v>58880.754680169557</c:v>
                </c:pt>
                <c:pt idx="2466">
                  <c:v>58105.976776609525</c:v>
                </c:pt>
                <c:pt idx="2467">
                  <c:v>58105.976776609525</c:v>
                </c:pt>
                <c:pt idx="2468">
                  <c:v>58105.976776609525</c:v>
                </c:pt>
                <c:pt idx="2469">
                  <c:v>58338.033453942735</c:v>
                </c:pt>
                <c:pt idx="2470">
                  <c:v>58152.693521659559</c:v>
                </c:pt>
                <c:pt idx="2471">
                  <c:v>58174.826436813899</c:v>
                </c:pt>
                <c:pt idx="2472">
                  <c:v>58123.230601498828</c:v>
                </c:pt>
                <c:pt idx="2473">
                  <c:v>58144.736196821374</c:v>
                </c:pt>
                <c:pt idx="2474">
                  <c:v>58144.736196821374</c:v>
                </c:pt>
                <c:pt idx="2475">
                  <c:v>58144.736196821374</c:v>
                </c:pt>
                <c:pt idx="2476">
                  <c:v>58453.921994442702</c:v>
                </c:pt>
                <c:pt idx="2477">
                  <c:v>58399.461059859699</c:v>
                </c:pt>
                <c:pt idx="2478">
                  <c:v>58280.161472817403</c:v>
                </c:pt>
                <c:pt idx="2479">
                  <c:v>58467.474494592658</c:v>
                </c:pt>
                <c:pt idx="2480">
                  <c:v>58172.83174960038</c:v>
                </c:pt>
                <c:pt idx="2481">
                  <c:v>58172.83174960038</c:v>
                </c:pt>
                <c:pt idx="2482">
                  <c:v>58172.83174960038</c:v>
                </c:pt>
                <c:pt idx="2483">
                  <c:v>58141.998403588143</c:v>
                </c:pt>
                <c:pt idx="2484">
                  <c:v>58070.927368999539</c:v>
                </c:pt>
                <c:pt idx="2485">
                  <c:v>58257.08998654053</c:v>
                </c:pt>
                <c:pt idx="2486">
                  <c:v>57808.122401424851</c:v>
                </c:pt>
                <c:pt idx="2487">
                  <c:v>58215.181185720619</c:v>
                </c:pt>
                <c:pt idx="2488">
                  <c:v>58215.181185720619</c:v>
                </c:pt>
                <c:pt idx="2489">
                  <c:v>58215.181185720619</c:v>
                </c:pt>
                <c:pt idx="2490">
                  <c:v>57454.831539950297</c:v>
                </c:pt>
                <c:pt idx="2491">
                  <c:v>57582.13421019337</c:v>
                </c:pt>
                <c:pt idx="2492">
                  <c:v>57843.633683746149</c:v>
                </c:pt>
                <c:pt idx="2493">
                  <c:v>58067.971540443497</c:v>
                </c:pt>
                <c:pt idx="2494">
                  <c:v>58064.867226684939</c:v>
                </c:pt>
                <c:pt idx="2495">
                  <c:v>58065.624392553582</c:v>
                </c:pt>
                <c:pt idx="2496">
                  <c:v>57073.763156216068</c:v>
                </c:pt>
                <c:pt idx="2497">
                  <c:v>56913.110215471053</c:v>
                </c:pt>
                <c:pt idx="2498">
                  <c:v>57033.661858136154</c:v>
                </c:pt>
                <c:pt idx="2499">
                  <c:v>56955.816042729362</c:v>
                </c:pt>
                <c:pt idx="2500">
                  <c:v>57079.45629775308</c:v>
                </c:pt>
                <c:pt idx="2501">
                  <c:v>57241.764014913999</c:v>
                </c:pt>
                <c:pt idx="2502">
                  <c:v>57241.764014913999</c:v>
                </c:pt>
                <c:pt idx="2503">
                  <c:v>57241.764014913999</c:v>
                </c:pt>
                <c:pt idx="2504">
                  <c:v>57644.317292766515</c:v>
                </c:pt>
                <c:pt idx="2505">
                  <c:v>57624.658851240165</c:v>
                </c:pt>
                <c:pt idx="2506">
                  <c:v>57299.398193094108</c:v>
                </c:pt>
                <c:pt idx="2507">
                  <c:v>57654.275139875252</c:v>
                </c:pt>
                <c:pt idx="2508">
                  <c:v>57771.944056179236</c:v>
                </c:pt>
                <c:pt idx="2509">
                  <c:v>57771.944056179229</c:v>
                </c:pt>
                <c:pt idx="2510">
                  <c:v>57771.944056179229</c:v>
                </c:pt>
                <c:pt idx="2511">
                  <c:v>57558.57493519655</c:v>
                </c:pt>
                <c:pt idx="2512">
                  <c:v>57816.995669083102</c:v>
                </c:pt>
                <c:pt idx="2513">
                  <c:v>58279.792967256195</c:v>
                </c:pt>
                <c:pt idx="2514">
                  <c:v>58295.625255813677</c:v>
                </c:pt>
                <c:pt idx="2515">
                  <c:v>58173.923227835869</c:v>
                </c:pt>
                <c:pt idx="2516">
                  <c:v>58173.923227835876</c:v>
                </c:pt>
                <c:pt idx="2517">
                  <c:v>58173.923227835876</c:v>
                </c:pt>
                <c:pt idx="2518">
                  <c:v>58000.372962670277</c:v>
                </c:pt>
                <c:pt idx="2519">
                  <c:v>58117.376535044146</c:v>
                </c:pt>
                <c:pt idx="2520">
                  <c:v>58141.502220391376</c:v>
                </c:pt>
                <c:pt idx="2521">
                  <c:v>58121.166067159749</c:v>
                </c:pt>
                <c:pt idx="2522">
                  <c:v>58206.354841476044</c:v>
                </c:pt>
                <c:pt idx="2523">
                  <c:v>58206.354841476037</c:v>
                </c:pt>
                <c:pt idx="2524">
                  <c:v>58206.354841476037</c:v>
                </c:pt>
                <c:pt idx="2525">
                  <c:v>58092.472944101595</c:v>
                </c:pt>
                <c:pt idx="2526">
                  <c:v>58249.347600814028</c:v>
                </c:pt>
                <c:pt idx="2527">
                  <c:v>56938.67487020079</c:v>
                </c:pt>
                <c:pt idx="2528">
                  <c:v>56903.198659436159</c:v>
                </c:pt>
                <c:pt idx="2529">
                  <c:v>57327.47118476886</c:v>
                </c:pt>
                <c:pt idx="2530">
                  <c:v>57327.471184768867</c:v>
                </c:pt>
                <c:pt idx="2531">
                  <c:v>57327.471184768867</c:v>
                </c:pt>
                <c:pt idx="2532">
                  <c:v>57586.819517859338</c:v>
                </c:pt>
                <c:pt idx="2533">
                  <c:v>57768.344114475331</c:v>
                </c:pt>
                <c:pt idx="2534">
                  <c:v>58145.40733944557</c:v>
                </c:pt>
                <c:pt idx="2535">
                  <c:v>58207.183346019294</c:v>
                </c:pt>
                <c:pt idx="2536">
                  <c:v>57925.397132794707</c:v>
                </c:pt>
                <c:pt idx="2537">
                  <c:v>57925.3971327947</c:v>
                </c:pt>
                <c:pt idx="2538">
                  <c:v>57925.3971327947</c:v>
                </c:pt>
                <c:pt idx="2539">
                  <c:v>57769.124258647927</c:v>
                </c:pt>
                <c:pt idx="2540">
                  <c:v>57818.124607535356</c:v>
                </c:pt>
                <c:pt idx="2541">
                  <c:v>57447.827850305148</c:v>
                </c:pt>
                <c:pt idx="2542">
                  <c:v>57674.106801511596</c:v>
                </c:pt>
                <c:pt idx="2543">
                  <c:v>57675.103986818191</c:v>
                </c:pt>
                <c:pt idx="2544">
                  <c:v>57675.103986818198</c:v>
                </c:pt>
                <c:pt idx="2545">
                  <c:v>57675.103986818198</c:v>
                </c:pt>
                <c:pt idx="2546">
                  <c:v>57816.572365632266</c:v>
                </c:pt>
                <c:pt idx="2547">
                  <c:v>57692.356350733324</c:v>
                </c:pt>
                <c:pt idx="2548">
                  <c:v>57715.115985313685</c:v>
                </c:pt>
                <c:pt idx="2549">
                  <c:v>57850.100098580137</c:v>
                </c:pt>
                <c:pt idx="2550">
                  <c:v>57935.56841496678</c:v>
                </c:pt>
                <c:pt idx="2551">
                  <c:v>57935.56841496678</c:v>
                </c:pt>
                <c:pt idx="2552">
                  <c:v>57935.56841496678</c:v>
                </c:pt>
                <c:pt idx="2553">
                  <c:v>58134.951356244143</c:v>
                </c:pt>
                <c:pt idx="2554">
                  <c:v>58259.88162266017</c:v>
                </c:pt>
                <c:pt idx="2555">
                  <c:v>58022.375893644341</c:v>
                </c:pt>
                <c:pt idx="2556">
                  <c:v>57794.82432008841</c:v>
                </c:pt>
                <c:pt idx="2557">
                  <c:v>57542.403113077446</c:v>
                </c:pt>
                <c:pt idx="2558">
                  <c:v>56550.541876739924</c:v>
                </c:pt>
                <c:pt idx="2559">
                  <c:v>56550.541876739924</c:v>
                </c:pt>
                <c:pt idx="2560">
                  <c:v>57029.417520406336</c:v>
                </c:pt>
                <c:pt idx="2561">
                  <c:v>56843.316843977038</c:v>
                </c:pt>
                <c:pt idx="2562">
                  <c:v>56258.090454442041</c:v>
                </c:pt>
                <c:pt idx="2563">
                  <c:v>56123.414211703159</c:v>
                </c:pt>
                <c:pt idx="2564">
                  <c:v>55955.722501145872</c:v>
                </c:pt>
                <c:pt idx="2565">
                  <c:v>55955.722501145872</c:v>
                </c:pt>
                <c:pt idx="2566">
                  <c:v>55955.722501145872</c:v>
                </c:pt>
                <c:pt idx="2567">
                  <c:v>55913.468656413577</c:v>
                </c:pt>
                <c:pt idx="2568">
                  <c:v>55999.918147707322</c:v>
                </c:pt>
                <c:pt idx="2569">
                  <c:v>56112.642622943567</c:v>
                </c:pt>
                <c:pt idx="2570">
                  <c:v>56032.284829696102</c:v>
                </c:pt>
                <c:pt idx="2571">
                  <c:v>56148.999518673503</c:v>
                </c:pt>
                <c:pt idx="2572">
                  <c:v>56148.999518673496</c:v>
                </c:pt>
                <c:pt idx="2573">
                  <c:v>56148.999518673496</c:v>
                </c:pt>
                <c:pt idx="2574">
                  <c:v>55979.544084086119</c:v>
                </c:pt>
                <c:pt idx="2575">
                  <c:v>56116.646944275104</c:v>
                </c:pt>
                <c:pt idx="2576">
                  <c:v>56143.723787592193</c:v>
                </c:pt>
                <c:pt idx="2577">
                  <c:v>56184.502097053606</c:v>
                </c:pt>
                <c:pt idx="2578">
                  <c:v>56852.676850087839</c:v>
                </c:pt>
                <c:pt idx="2579">
                  <c:v>56852.676850087839</c:v>
                </c:pt>
                <c:pt idx="2580">
                  <c:v>56852.676850087839</c:v>
                </c:pt>
                <c:pt idx="2581">
                  <c:v>56670.222396906684</c:v>
                </c:pt>
                <c:pt idx="2582">
                  <c:v>56718.883416772231</c:v>
                </c:pt>
                <c:pt idx="2583">
                  <c:v>56635.995574924629</c:v>
                </c:pt>
                <c:pt idx="2584">
                  <c:v>56874.574139924043</c:v>
                </c:pt>
                <c:pt idx="2585">
                  <c:v>56966.356052688083</c:v>
                </c:pt>
                <c:pt idx="2586">
                  <c:v>56966.356052688076</c:v>
                </c:pt>
                <c:pt idx="2587">
                  <c:v>56967.666848540845</c:v>
                </c:pt>
                <c:pt idx="2588">
                  <c:v>55990.204189999298</c:v>
                </c:pt>
                <c:pt idx="2589">
                  <c:v>55911.809505602665</c:v>
                </c:pt>
                <c:pt idx="2590">
                  <c:v>55860.425993548924</c:v>
                </c:pt>
                <c:pt idx="2591">
                  <c:v>55330.92445695182</c:v>
                </c:pt>
                <c:pt idx="2592">
                  <c:v>54909.328264815107</c:v>
                </c:pt>
                <c:pt idx="2593">
                  <c:v>54909.328264815114</c:v>
                </c:pt>
                <c:pt idx="2594">
                  <c:v>54909.328264815114</c:v>
                </c:pt>
                <c:pt idx="2595">
                  <c:v>54549.853914557127</c:v>
                </c:pt>
                <c:pt idx="2596">
                  <c:v>54464.675408666619</c:v>
                </c:pt>
                <c:pt idx="2597">
                  <c:v>53660.291519376806</c:v>
                </c:pt>
                <c:pt idx="2598">
                  <c:v>52919.789155261875</c:v>
                </c:pt>
                <c:pt idx="2599">
                  <c:v>53230.943227151751</c:v>
                </c:pt>
                <c:pt idx="2600">
                  <c:v>53230.943227151751</c:v>
                </c:pt>
                <c:pt idx="2601">
                  <c:v>53230.943227151751</c:v>
                </c:pt>
                <c:pt idx="2602">
                  <c:v>53233.900738357457</c:v>
                </c:pt>
                <c:pt idx="2603">
                  <c:v>53558.515741669886</c:v>
                </c:pt>
                <c:pt idx="2604">
                  <c:v>53631.31140509565</c:v>
                </c:pt>
                <c:pt idx="2605">
                  <c:v>53396.651892547568</c:v>
                </c:pt>
                <c:pt idx="2606">
                  <c:v>53602.900198248164</c:v>
                </c:pt>
                <c:pt idx="2607">
                  <c:v>53602.900198248157</c:v>
                </c:pt>
                <c:pt idx="2608">
                  <c:v>53602.900198248157</c:v>
                </c:pt>
                <c:pt idx="2609">
                  <c:v>53636.787951753497</c:v>
                </c:pt>
                <c:pt idx="2610">
                  <c:v>53206.470193006287</c:v>
                </c:pt>
                <c:pt idx="2611">
                  <c:v>52971.92755936028</c:v>
                </c:pt>
                <c:pt idx="2612">
                  <c:v>53390.202374877394</c:v>
                </c:pt>
                <c:pt idx="2613">
                  <c:v>53068.356624725209</c:v>
                </c:pt>
                <c:pt idx="2614">
                  <c:v>53068.356624725217</c:v>
                </c:pt>
                <c:pt idx="2615">
                  <c:v>53068.356624725217</c:v>
                </c:pt>
                <c:pt idx="2616">
                  <c:v>53188.879108088498</c:v>
                </c:pt>
                <c:pt idx="2617">
                  <c:v>53459.57646186604</c:v>
                </c:pt>
                <c:pt idx="2618">
                  <c:v>53803.412419795823</c:v>
                </c:pt>
                <c:pt idx="2619">
                  <c:v>52495.914002531696</c:v>
                </c:pt>
                <c:pt idx="2620">
                  <c:v>52555.66957648164</c:v>
                </c:pt>
                <c:pt idx="2621">
                  <c:v>52555.66957648164</c:v>
                </c:pt>
                <c:pt idx="2622">
                  <c:v>52555.66957648164</c:v>
                </c:pt>
                <c:pt idx="2623">
                  <c:v>52388.949853667647</c:v>
                </c:pt>
                <c:pt idx="2624">
                  <c:v>52245.964692832029</c:v>
                </c:pt>
                <c:pt idx="2625">
                  <c:v>52596.157900055849</c:v>
                </c:pt>
                <c:pt idx="2626">
                  <c:v>52582.798475949239</c:v>
                </c:pt>
                <c:pt idx="2627">
                  <c:v>52549.486747286734</c:v>
                </c:pt>
                <c:pt idx="2628">
                  <c:v>52549.486747286726</c:v>
                </c:pt>
                <c:pt idx="2629">
                  <c:v>52549.486747286726</c:v>
                </c:pt>
                <c:pt idx="2630">
                  <c:v>52424.719026397514</c:v>
                </c:pt>
                <c:pt idx="2631">
                  <c:v>52226.868136791891</c:v>
                </c:pt>
                <c:pt idx="2632">
                  <c:v>52063.857113694656</c:v>
                </c:pt>
                <c:pt idx="2633">
                  <c:v>52666.379116107164</c:v>
                </c:pt>
                <c:pt idx="2634">
                  <c:v>52618.939348454536</c:v>
                </c:pt>
                <c:pt idx="2635">
                  <c:v>52618.939348454536</c:v>
                </c:pt>
                <c:pt idx="2636">
                  <c:v>52618.939348454536</c:v>
                </c:pt>
                <c:pt idx="2637">
                  <c:v>52418.133899734181</c:v>
                </c:pt>
                <c:pt idx="2638">
                  <c:v>51976.161492675812</c:v>
                </c:pt>
                <c:pt idx="2639">
                  <c:v>52366.042476456591</c:v>
                </c:pt>
                <c:pt idx="2640">
                  <c:v>51947.372301234347</c:v>
                </c:pt>
                <c:pt idx="2641">
                  <c:v>51979.109548341788</c:v>
                </c:pt>
                <c:pt idx="2642">
                  <c:v>51979.109548341788</c:v>
                </c:pt>
                <c:pt idx="2643">
                  <c:v>51979.109548341788</c:v>
                </c:pt>
                <c:pt idx="2644">
                  <c:v>52416.90099955722</c:v>
                </c:pt>
                <c:pt idx="2645">
                  <c:v>52559.681492865959</c:v>
                </c:pt>
                <c:pt idx="2646">
                  <c:v>52739.277398930273</c:v>
                </c:pt>
                <c:pt idx="2647">
                  <c:v>52892.177529786932</c:v>
                </c:pt>
                <c:pt idx="2648">
                  <c:v>52892.631344670139</c:v>
                </c:pt>
                <c:pt idx="2649">
                  <c:v>51900.770108332625</c:v>
                </c:pt>
                <c:pt idx="2650">
                  <c:v>51900.770108332625</c:v>
                </c:pt>
                <c:pt idx="2651">
                  <c:v>52517.698992379344</c:v>
                </c:pt>
                <c:pt idx="2652">
                  <c:v>52046.646217860107</c:v>
                </c:pt>
                <c:pt idx="2653">
                  <c:v>51665.69703646603</c:v>
                </c:pt>
                <c:pt idx="2654">
                  <c:v>50839.755253902884</c:v>
                </c:pt>
                <c:pt idx="2655">
                  <c:v>50946.951386253284</c:v>
                </c:pt>
                <c:pt idx="2656">
                  <c:v>50946.951386253284</c:v>
                </c:pt>
                <c:pt idx="2657">
                  <c:v>50946.951386253284</c:v>
                </c:pt>
                <c:pt idx="2658">
                  <c:v>51095.875948258996</c:v>
                </c:pt>
                <c:pt idx="2659">
                  <c:v>51349.463247713931</c:v>
                </c:pt>
                <c:pt idx="2660">
                  <c:v>51479.443630538233</c:v>
                </c:pt>
                <c:pt idx="2661">
                  <c:v>51486.440716516488</c:v>
                </c:pt>
                <c:pt idx="2662">
                  <c:v>51170.861271381887</c:v>
                </c:pt>
                <c:pt idx="2663">
                  <c:v>51170.861271381887</c:v>
                </c:pt>
                <c:pt idx="2664">
                  <c:v>51170.861271381887</c:v>
                </c:pt>
                <c:pt idx="2665">
                  <c:v>50754.279801480174</c:v>
                </c:pt>
                <c:pt idx="2666">
                  <c:v>50553.201495762667</c:v>
                </c:pt>
                <c:pt idx="2667">
                  <c:v>50681.703689708775</c:v>
                </c:pt>
                <c:pt idx="2668">
                  <c:v>50330.538273915372</c:v>
                </c:pt>
                <c:pt idx="2669">
                  <c:v>49984.371374637354</c:v>
                </c:pt>
                <c:pt idx="2670">
                  <c:v>49984.371374637354</c:v>
                </c:pt>
                <c:pt idx="2671">
                  <c:v>49984.371374637354</c:v>
                </c:pt>
                <c:pt idx="2672">
                  <c:v>49642.404797408904</c:v>
                </c:pt>
                <c:pt idx="2673">
                  <c:v>49570.777757222917</c:v>
                </c:pt>
                <c:pt idx="2674">
                  <c:v>49927.733457898234</c:v>
                </c:pt>
                <c:pt idx="2675">
                  <c:v>49933.760733881274</c:v>
                </c:pt>
                <c:pt idx="2676">
                  <c:v>50388.593378953185</c:v>
                </c:pt>
                <c:pt idx="2677">
                  <c:v>50388.593378953185</c:v>
                </c:pt>
                <c:pt idx="2678">
                  <c:v>50388.593378953185</c:v>
                </c:pt>
                <c:pt idx="2679">
                  <c:v>50452.065370602984</c:v>
                </c:pt>
                <c:pt idx="2680">
                  <c:v>49460.574956945944</c:v>
                </c:pt>
                <c:pt idx="2681">
                  <c:v>49583.210474128697</c:v>
                </c:pt>
                <c:pt idx="2682">
                  <c:v>49226.967998506807</c:v>
                </c:pt>
                <c:pt idx="2683">
                  <c:v>49794.247270979598</c:v>
                </c:pt>
                <c:pt idx="2684">
                  <c:v>49794.247270979598</c:v>
                </c:pt>
                <c:pt idx="2685">
                  <c:v>49794.247270979598</c:v>
                </c:pt>
                <c:pt idx="2686">
                  <c:v>49663.251054971472</c:v>
                </c:pt>
                <c:pt idx="2687">
                  <c:v>49947.377990684538</c:v>
                </c:pt>
                <c:pt idx="2688">
                  <c:v>50224.008047369498</c:v>
                </c:pt>
                <c:pt idx="2689">
                  <c:v>50287.633829724233</c:v>
                </c:pt>
                <c:pt idx="2690">
                  <c:v>50212.066602368308</c:v>
                </c:pt>
                <c:pt idx="2691">
                  <c:v>50212.066602368308</c:v>
                </c:pt>
                <c:pt idx="2692">
                  <c:v>50212.066602368308</c:v>
                </c:pt>
                <c:pt idx="2693">
                  <c:v>49874.09822023975</c:v>
                </c:pt>
                <c:pt idx="2694">
                  <c:v>50394.930435507813</c:v>
                </c:pt>
                <c:pt idx="2695">
                  <c:v>50233.234773560354</c:v>
                </c:pt>
                <c:pt idx="2696">
                  <c:v>50149.952591296918</c:v>
                </c:pt>
                <c:pt idx="2697">
                  <c:v>50691.236074600565</c:v>
                </c:pt>
                <c:pt idx="2698">
                  <c:v>50691.236074600565</c:v>
                </c:pt>
                <c:pt idx="2699">
                  <c:v>50691.236074600565</c:v>
                </c:pt>
                <c:pt idx="2700">
                  <c:v>50715.201877191917</c:v>
                </c:pt>
                <c:pt idx="2701">
                  <c:v>50293.066287086833</c:v>
                </c:pt>
                <c:pt idx="2702">
                  <c:v>50007.963947057266</c:v>
                </c:pt>
                <c:pt idx="2703">
                  <c:v>50099.837078181874</c:v>
                </c:pt>
                <c:pt idx="2704">
                  <c:v>50038.368085075541</c:v>
                </c:pt>
                <c:pt idx="2705">
                  <c:v>50038.368085075541</c:v>
                </c:pt>
                <c:pt idx="2706">
                  <c:v>50038.368085075541</c:v>
                </c:pt>
                <c:pt idx="2707">
                  <c:v>49832.933563367536</c:v>
                </c:pt>
                <c:pt idx="2708">
                  <c:v>50004.60253787064</c:v>
                </c:pt>
                <c:pt idx="2709">
                  <c:v>50521.881149375942</c:v>
                </c:pt>
                <c:pt idx="2710">
                  <c:v>50634.339825501585</c:v>
                </c:pt>
                <c:pt idx="2711">
                  <c:v>49923.403982636737</c:v>
                </c:pt>
                <c:pt idx="2712">
                  <c:v>49923.403982636737</c:v>
                </c:pt>
                <c:pt idx="2713">
                  <c:v>49923.403982636737</c:v>
                </c:pt>
                <c:pt idx="2714">
                  <c:v>50013.305050060582</c:v>
                </c:pt>
                <c:pt idx="2715">
                  <c:v>50711.106186243596</c:v>
                </c:pt>
                <c:pt idx="2716">
                  <c:v>50649.490670894127</c:v>
                </c:pt>
                <c:pt idx="2717">
                  <c:v>50334.674203175025</c:v>
                </c:pt>
                <c:pt idx="2718">
                  <c:v>50349.082503665682</c:v>
                </c:pt>
                <c:pt idx="2719">
                  <c:v>50349.082503665682</c:v>
                </c:pt>
                <c:pt idx="2720">
                  <c:v>50349.082503665682</c:v>
                </c:pt>
                <c:pt idx="2721">
                  <c:v>50676.895310030544</c:v>
                </c:pt>
                <c:pt idx="2722">
                  <c:v>50768.147675108456</c:v>
                </c:pt>
                <c:pt idx="2723">
                  <c:v>51003.523022811605</c:v>
                </c:pt>
                <c:pt idx="2724">
                  <c:v>51228.025740136341</c:v>
                </c:pt>
                <c:pt idx="2725">
                  <c:v>51277.079136183813</c:v>
                </c:pt>
                <c:pt idx="2726">
                  <c:v>51277.079136183813</c:v>
                </c:pt>
                <c:pt idx="2727">
                  <c:v>51277.079136183813</c:v>
                </c:pt>
                <c:pt idx="2728">
                  <c:v>51168.970644699417</c:v>
                </c:pt>
                <c:pt idx="2729">
                  <c:v>51017.569335907348</c:v>
                </c:pt>
                <c:pt idx="2730">
                  <c:v>51160.82922148105</c:v>
                </c:pt>
                <c:pt idx="2731">
                  <c:v>51056.675493743671</c:v>
                </c:pt>
                <c:pt idx="2732">
                  <c:v>51189.721531579038</c:v>
                </c:pt>
                <c:pt idx="2733">
                  <c:v>51189.721531579038</c:v>
                </c:pt>
                <c:pt idx="2734">
                  <c:v>51189.721531579038</c:v>
                </c:pt>
                <c:pt idx="2735">
                  <c:v>51236.708065075654</c:v>
                </c:pt>
                <c:pt idx="2736">
                  <c:v>50802.571239766978</c:v>
                </c:pt>
                <c:pt idx="2737">
                  <c:v>50474.038123919381</c:v>
                </c:pt>
                <c:pt idx="2738">
                  <c:v>50477.578372953394</c:v>
                </c:pt>
                <c:pt idx="2739">
                  <c:v>49634.66587010301</c:v>
                </c:pt>
                <c:pt idx="2740">
                  <c:v>49634.66587010301</c:v>
                </c:pt>
                <c:pt idx="2741">
                  <c:v>49634.66587010301</c:v>
                </c:pt>
                <c:pt idx="2742">
                  <c:v>49740.59170688306</c:v>
                </c:pt>
                <c:pt idx="2743">
                  <c:v>49893.889723494081</c:v>
                </c:pt>
                <c:pt idx="2744">
                  <c:v>49830.835821417124</c:v>
                </c:pt>
                <c:pt idx="2745">
                  <c:v>49671.070188839934</c:v>
                </c:pt>
                <c:pt idx="2746">
                  <c:v>49676.59609539844</c:v>
                </c:pt>
                <c:pt idx="2747">
                  <c:v>49676.59609539844</c:v>
                </c:pt>
                <c:pt idx="2748">
                  <c:v>49676.59609539844</c:v>
                </c:pt>
                <c:pt idx="2749">
                  <c:v>49783.216476832036</c:v>
                </c:pt>
                <c:pt idx="2750">
                  <c:v>49982.057115258649</c:v>
                </c:pt>
                <c:pt idx="2751">
                  <c:v>49929.618939856744</c:v>
                </c:pt>
                <c:pt idx="2752">
                  <c:v>49982.493907017866</c:v>
                </c:pt>
                <c:pt idx="2753">
                  <c:v>50352.34886735669</c:v>
                </c:pt>
                <c:pt idx="2754">
                  <c:v>50352.348867356697</c:v>
                </c:pt>
                <c:pt idx="2755">
                  <c:v>50352.348867356697</c:v>
                </c:pt>
                <c:pt idx="2756">
                  <c:v>50592.124235045601</c:v>
                </c:pt>
                <c:pt idx="2757">
                  <c:v>50572.076599896223</c:v>
                </c:pt>
                <c:pt idx="2758">
                  <c:v>50477.176580994215</c:v>
                </c:pt>
                <c:pt idx="2759">
                  <c:v>51003.419823406424</c:v>
                </c:pt>
                <c:pt idx="2760">
                  <c:v>50130.561577506196</c:v>
                </c:pt>
                <c:pt idx="2761">
                  <c:v>50130.561577506196</c:v>
                </c:pt>
                <c:pt idx="2762">
                  <c:v>50130.561577506196</c:v>
                </c:pt>
                <c:pt idx="2763">
                  <c:v>50034.359525922118</c:v>
                </c:pt>
                <c:pt idx="2764">
                  <c:v>50145.176626087326</c:v>
                </c:pt>
                <c:pt idx="2765">
                  <c:v>50139.732364261028</c:v>
                </c:pt>
                <c:pt idx="2766">
                  <c:v>50425.923438431026</c:v>
                </c:pt>
                <c:pt idx="2767">
                  <c:v>50834.254413103001</c:v>
                </c:pt>
                <c:pt idx="2768">
                  <c:v>50834.254413102994</c:v>
                </c:pt>
                <c:pt idx="2769">
                  <c:v>50835.564411839216</c:v>
                </c:pt>
                <c:pt idx="2770">
                  <c:v>49845.044217690884</c:v>
                </c:pt>
                <c:pt idx="2771">
                  <c:v>50239.489984404929</c:v>
                </c:pt>
                <c:pt idx="2772">
                  <c:v>50264.201282343565</c:v>
                </c:pt>
                <c:pt idx="2773">
                  <c:v>50385.072612451229</c:v>
                </c:pt>
                <c:pt idx="2774">
                  <c:v>50697.523043989189</c:v>
                </c:pt>
                <c:pt idx="2775">
                  <c:v>50697.523043989182</c:v>
                </c:pt>
                <c:pt idx="2776">
                  <c:v>50697.523043989182</c:v>
                </c:pt>
                <c:pt idx="2777">
                  <c:v>50676.641748197821</c:v>
                </c:pt>
                <c:pt idx="2778">
                  <c:v>50533.497465317356</c:v>
                </c:pt>
                <c:pt idx="2779">
                  <c:v>50475.575465187634</c:v>
                </c:pt>
                <c:pt idx="2780">
                  <c:v>50507.187813345736</c:v>
                </c:pt>
                <c:pt idx="2781">
                  <c:v>50543.607536334181</c:v>
                </c:pt>
                <c:pt idx="2782">
                  <c:v>50543.607536334181</c:v>
                </c:pt>
                <c:pt idx="2783">
                  <c:v>50543.607536334181</c:v>
                </c:pt>
                <c:pt idx="2784">
                  <c:v>50488.160693430742</c:v>
                </c:pt>
                <c:pt idx="2785">
                  <c:v>50743.533344389369</c:v>
                </c:pt>
                <c:pt idx="2786">
                  <c:v>50800.314343331069</c:v>
                </c:pt>
                <c:pt idx="2787">
                  <c:v>50866.699686111788</c:v>
                </c:pt>
                <c:pt idx="2788">
                  <c:v>50887.975191922509</c:v>
                </c:pt>
                <c:pt idx="2789">
                  <c:v>50887.975191922509</c:v>
                </c:pt>
                <c:pt idx="2790">
                  <c:v>50887.975191922509</c:v>
                </c:pt>
                <c:pt idx="2791">
                  <c:v>50929.956753696344</c:v>
                </c:pt>
                <c:pt idx="2792">
                  <c:v>51257.301411237211</c:v>
                </c:pt>
                <c:pt idx="2793">
                  <c:v>51219.978407214614</c:v>
                </c:pt>
                <c:pt idx="2794">
                  <c:v>51318.945649493027</c:v>
                </c:pt>
                <c:pt idx="2795">
                  <c:v>51316.575227393485</c:v>
                </c:pt>
                <c:pt idx="2796">
                  <c:v>51316.575227393492</c:v>
                </c:pt>
                <c:pt idx="2797">
                  <c:v>51316.575227393492</c:v>
                </c:pt>
                <c:pt idx="2798">
                  <c:v>51373.809630076117</c:v>
                </c:pt>
                <c:pt idx="2799">
                  <c:v>51111.520645009754</c:v>
                </c:pt>
                <c:pt idx="2800">
                  <c:v>49983.651141120659</c:v>
                </c:pt>
                <c:pt idx="2801">
                  <c:v>49982.800919214751</c:v>
                </c:pt>
                <c:pt idx="2802">
                  <c:v>49992.821471143041</c:v>
                </c:pt>
                <c:pt idx="2803">
                  <c:v>49992.821471143041</c:v>
                </c:pt>
                <c:pt idx="2804">
                  <c:v>49992.821471143041</c:v>
                </c:pt>
                <c:pt idx="2805">
                  <c:v>49951.663881010492</c:v>
                </c:pt>
                <c:pt idx="2806">
                  <c:v>49534.360188198953</c:v>
                </c:pt>
                <c:pt idx="2807">
                  <c:v>49736.596597257325</c:v>
                </c:pt>
                <c:pt idx="2808">
                  <c:v>49374.993634820479</c:v>
                </c:pt>
                <c:pt idx="2809">
                  <c:v>49460.042555106389</c:v>
                </c:pt>
                <c:pt idx="2810">
                  <c:v>49460.042555106389</c:v>
                </c:pt>
                <c:pt idx="2811">
                  <c:v>49460.042555106389</c:v>
                </c:pt>
                <c:pt idx="2812">
                  <c:v>49164.085036266413</c:v>
                </c:pt>
                <c:pt idx="2813">
                  <c:v>49503.35852084808</c:v>
                </c:pt>
                <c:pt idx="2814">
                  <c:v>49958.547842850305</c:v>
                </c:pt>
                <c:pt idx="2815">
                  <c:v>50526.471618873038</c:v>
                </c:pt>
                <c:pt idx="2816">
                  <c:v>50537.020535617616</c:v>
                </c:pt>
                <c:pt idx="2817">
                  <c:v>50537.020535617616</c:v>
                </c:pt>
                <c:pt idx="2818">
                  <c:v>50537.020535617616</c:v>
                </c:pt>
                <c:pt idx="2819">
                  <c:v>50281.319383553957</c:v>
                </c:pt>
                <c:pt idx="2820">
                  <c:v>50359.297162093557</c:v>
                </c:pt>
                <c:pt idx="2821">
                  <c:v>50633.979934092313</c:v>
                </c:pt>
                <c:pt idx="2822">
                  <c:v>50195.350930758053</c:v>
                </c:pt>
                <c:pt idx="2823">
                  <c:v>50432.609296002462</c:v>
                </c:pt>
                <c:pt idx="2824">
                  <c:v>50432.609296002462</c:v>
                </c:pt>
                <c:pt idx="2825">
                  <c:v>50432.609296002462</c:v>
                </c:pt>
                <c:pt idx="2826">
                  <c:v>50463.056975212727</c:v>
                </c:pt>
                <c:pt idx="2827">
                  <c:v>50374.774380187439</c:v>
                </c:pt>
                <c:pt idx="2828">
                  <c:v>50049.478770879636</c:v>
                </c:pt>
                <c:pt idx="2829">
                  <c:v>50307.826672873096</c:v>
                </c:pt>
                <c:pt idx="2830">
                  <c:v>50049.42454579402</c:v>
                </c:pt>
                <c:pt idx="2831">
                  <c:v>49057.563309456506</c:v>
                </c:pt>
                <c:pt idx="2832">
                  <c:v>49057.563309456498</c:v>
                </c:pt>
                <c:pt idx="2833">
                  <c:v>49063.003793227515</c:v>
                </c:pt>
                <c:pt idx="2834">
                  <c:v>49248.571358064386</c:v>
                </c:pt>
                <c:pt idx="2835">
                  <c:v>49436.177880824376</c:v>
                </c:pt>
                <c:pt idx="2836">
                  <c:v>49627.552740827719</c:v>
                </c:pt>
                <c:pt idx="2837">
                  <c:v>49905.000537180582</c:v>
                </c:pt>
                <c:pt idx="2838">
                  <c:v>49905.000537180575</c:v>
                </c:pt>
                <c:pt idx="2839">
                  <c:v>49905.000537180575</c:v>
                </c:pt>
                <c:pt idx="2840">
                  <c:v>50233.892456520778</c:v>
                </c:pt>
                <c:pt idx="2841">
                  <c:v>50301.368630224075</c:v>
                </c:pt>
                <c:pt idx="2842">
                  <c:v>50212.527358976753</c:v>
                </c:pt>
                <c:pt idx="2843">
                  <c:v>50417.610384469015</c:v>
                </c:pt>
                <c:pt idx="2844">
                  <c:v>50474.875210519807</c:v>
                </c:pt>
                <c:pt idx="2845">
                  <c:v>50474.875210519807</c:v>
                </c:pt>
                <c:pt idx="2846">
                  <c:v>50474.875210519807</c:v>
                </c:pt>
                <c:pt idx="2847">
                  <c:v>50610.857048080703</c:v>
                </c:pt>
                <c:pt idx="2848">
                  <c:v>51054.815992215037</c:v>
                </c:pt>
                <c:pt idx="2849">
                  <c:v>50976.340655649728</c:v>
                </c:pt>
                <c:pt idx="2850">
                  <c:v>51249.646737731149</c:v>
                </c:pt>
                <c:pt idx="2851">
                  <c:v>51150.068674119735</c:v>
                </c:pt>
                <c:pt idx="2852">
                  <c:v>51150.068674119735</c:v>
                </c:pt>
                <c:pt idx="2853">
                  <c:v>51150.068674119735</c:v>
                </c:pt>
                <c:pt idx="2854">
                  <c:v>51255.419401563697</c:v>
                </c:pt>
                <c:pt idx="2855">
                  <c:v>51164.83262353015</c:v>
                </c:pt>
                <c:pt idx="2856">
                  <c:v>51100.91188648525</c:v>
                </c:pt>
                <c:pt idx="2857">
                  <c:v>51119.491667038063</c:v>
                </c:pt>
                <c:pt idx="2858">
                  <c:v>51189.738027707237</c:v>
                </c:pt>
                <c:pt idx="2859">
                  <c:v>51189.73802770723</c:v>
                </c:pt>
                <c:pt idx="2860">
                  <c:v>51190.888261120708</c:v>
                </c:pt>
                <c:pt idx="2861">
                  <c:v>50605.892716591465</c:v>
                </c:pt>
                <c:pt idx="2862">
                  <c:v>50976.268136323517</c:v>
                </c:pt>
                <c:pt idx="2863">
                  <c:v>51349.850266173969</c:v>
                </c:pt>
                <c:pt idx="2864">
                  <c:v>51336.369903482082</c:v>
                </c:pt>
                <c:pt idx="2865">
                  <c:v>51171.799875755096</c:v>
                </c:pt>
                <c:pt idx="2866">
                  <c:v>51171.799875755096</c:v>
                </c:pt>
                <c:pt idx="2867">
                  <c:v>51171.799875755096</c:v>
                </c:pt>
                <c:pt idx="2868">
                  <c:v>51026.887479122939</c:v>
                </c:pt>
                <c:pt idx="2869">
                  <c:v>51100.81064128282</c:v>
                </c:pt>
                <c:pt idx="2870">
                  <c:v>51141.551273574689</c:v>
                </c:pt>
                <c:pt idx="2871">
                  <c:v>51050.321394504303</c:v>
                </c:pt>
                <c:pt idx="2872">
                  <c:v>51000.351808413725</c:v>
                </c:pt>
                <c:pt idx="2873">
                  <c:v>51000.351808413725</c:v>
                </c:pt>
                <c:pt idx="2874">
                  <c:v>51000.351808413725</c:v>
                </c:pt>
                <c:pt idx="2875">
                  <c:v>51245.131566942837</c:v>
                </c:pt>
                <c:pt idx="2876">
                  <c:v>51439.02777125268</c:v>
                </c:pt>
                <c:pt idx="2877">
                  <c:v>51384.097576666594</c:v>
                </c:pt>
                <c:pt idx="2878">
                  <c:v>51219.251739389911</c:v>
                </c:pt>
                <c:pt idx="2879">
                  <c:v>51162.015762148694</c:v>
                </c:pt>
                <c:pt idx="2880">
                  <c:v>51162.015762148694</c:v>
                </c:pt>
                <c:pt idx="2881">
                  <c:v>51162.015762148694</c:v>
                </c:pt>
                <c:pt idx="2882">
                  <c:v>51310.186587617609</c:v>
                </c:pt>
                <c:pt idx="2883">
                  <c:v>51595.610275650404</c:v>
                </c:pt>
                <c:pt idx="2884">
                  <c:v>51493.477281065861</c:v>
                </c:pt>
                <c:pt idx="2885">
                  <c:v>51374.207059117914</c:v>
                </c:pt>
                <c:pt idx="2886">
                  <c:v>51775.449377348974</c:v>
                </c:pt>
                <c:pt idx="2887">
                  <c:v>51775.449377348974</c:v>
                </c:pt>
                <c:pt idx="2888">
                  <c:v>51775.449377348974</c:v>
                </c:pt>
                <c:pt idx="2889">
                  <c:v>52372.9199417563</c:v>
                </c:pt>
                <c:pt idx="2890">
                  <c:v>52405.214655379983</c:v>
                </c:pt>
                <c:pt idx="2891">
                  <c:v>52044.345010532983</c:v>
                </c:pt>
                <c:pt idx="2892">
                  <c:v>51075.735626215821</c:v>
                </c:pt>
                <c:pt idx="2893">
                  <c:v>50577.688466764244</c:v>
                </c:pt>
                <c:pt idx="2894">
                  <c:v>50577.688466764237</c:v>
                </c:pt>
                <c:pt idx="2895">
                  <c:v>50577.688466764237</c:v>
                </c:pt>
                <c:pt idx="2896">
                  <c:v>49749.76205317639</c:v>
                </c:pt>
                <c:pt idx="2897">
                  <c:v>49678.378109596772</c:v>
                </c:pt>
                <c:pt idx="2898">
                  <c:v>49954.297286239067</c:v>
                </c:pt>
                <c:pt idx="2899">
                  <c:v>50495.780888017034</c:v>
                </c:pt>
                <c:pt idx="2900">
                  <c:v>50516.389226113039</c:v>
                </c:pt>
                <c:pt idx="2901">
                  <c:v>50516.389226113039</c:v>
                </c:pt>
                <c:pt idx="2902">
                  <c:v>50516.389226113039</c:v>
                </c:pt>
                <c:pt idx="2903">
                  <c:v>50363.02854071706</c:v>
                </c:pt>
                <c:pt idx="2904">
                  <c:v>50604.685460563982</c:v>
                </c:pt>
                <c:pt idx="2905">
                  <c:v>49975.658087258373</c:v>
                </c:pt>
                <c:pt idx="2906">
                  <c:v>49786.455243305812</c:v>
                </c:pt>
                <c:pt idx="2907">
                  <c:v>50034.207580533075</c:v>
                </c:pt>
                <c:pt idx="2908">
                  <c:v>50034.207580533075</c:v>
                </c:pt>
                <c:pt idx="2909">
                  <c:v>50034.207580533075</c:v>
                </c:pt>
                <c:pt idx="2910">
                  <c:v>50392.139793012313</c:v>
                </c:pt>
                <c:pt idx="2911">
                  <c:v>50191.875886339505</c:v>
                </c:pt>
                <c:pt idx="2912">
                  <c:v>50478.668249803981</c:v>
                </c:pt>
                <c:pt idx="2913">
                  <c:v>49914.01033325489</c:v>
                </c:pt>
                <c:pt idx="2914">
                  <c:v>49505.02391710606</c:v>
                </c:pt>
                <c:pt idx="2915">
                  <c:v>49505.02391710606</c:v>
                </c:pt>
                <c:pt idx="2916">
                  <c:v>49505.02391710606</c:v>
                </c:pt>
                <c:pt idx="2917">
                  <c:v>49708.476694099154</c:v>
                </c:pt>
                <c:pt idx="2918">
                  <c:v>49765.21196105874</c:v>
                </c:pt>
                <c:pt idx="2919">
                  <c:v>49937.691716238216</c:v>
                </c:pt>
                <c:pt idx="2920">
                  <c:v>50323.714567596988</c:v>
                </c:pt>
                <c:pt idx="2921">
                  <c:v>50494.767389597982</c:v>
                </c:pt>
                <c:pt idx="2922">
                  <c:v>50495.346564579944</c:v>
                </c:pt>
                <c:pt idx="2923">
                  <c:v>49503.48532824243</c:v>
                </c:pt>
                <c:pt idx="2924">
                  <c:v>49819.649237988313</c:v>
                </c:pt>
                <c:pt idx="2925">
                  <c:v>49651.174628356697</c:v>
                </c:pt>
                <c:pt idx="2926">
                  <c:v>49812.646206389072</c:v>
                </c:pt>
                <c:pt idx="2927">
                  <c:v>49657.688528443774</c:v>
                </c:pt>
                <c:pt idx="2928">
                  <c:v>49741.836461116538</c:v>
                </c:pt>
                <c:pt idx="2929">
                  <c:v>49741.836461116545</c:v>
                </c:pt>
                <c:pt idx="2930">
                  <c:v>49741.836461116545</c:v>
                </c:pt>
                <c:pt idx="2931">
                  <c:v>49525.964849569136</c:v>
                </c:pt>
                <c:pt idx="2932">
                  <c:v>49435.94497007961</c:v>
                </c:pt>
                <c:pt idx="2933">
                  <c:v>49718.494136118301</c:v>
                </c:pt>
                <c:pt idx="2934">
                  <c:v>49868.342197149977</c:v>
                </c:pt>
                <c:pt idx="2935">
                  <c:v>49616.574889999756</c:v>
                </c:pt>
                <c:pt idx="2936">
                  <c:v>49616.574889999756</c:v>
                </c:pt>
                <c:pt idx="2937">
                  <c:v>49616.574889999756</c:v>
                </c:pt>
                <c:pt idx="2938">
                  <c:v>49508.971424035815</c:v>
                </c:pt>
                <c:pt idx="2939">
                  <c:v>49427.763343478116</c:v>
                </c:pt>
                <c:pt idx="2940">
                  <c:v>49458.100621785437</c:v>
                </c:pt>
                <c:pt idx="2941">
                  <c:v>49534.03314908906</c:v>
                </c:pt>
                <c:pt idx="2942">
                  <c:v>49413.424713135668</c:v>
                </c:pt>
                <c:pt idx="2943">
                  <c:v>49413.424713135668</c:v>
                </c:pt>
                <c:pt idx="2944">
                  <c:v>49413.424713135668</c:v>
                </c:pt>
                <c:pt idx="2945">
                  <c:v>49537.409913620388</c:v>
                </c:pt>
                <c:pt idx="2946">
                  <c:v>49316.753942519848</c:v>
                </c:pt>
                <c:pt idx="2947">
                  <c:v>49395.630665607976</c:v>
                </c:pt>
                <c:pt idx="2948">
                  <c:v>49696.156152359064</c:v>
                </c:pt>
                <c:pt idx="2949">
                  <c:v>49812.529144259483</c:v>
                </c:pt>
                <c:pt idx="2950">
                  <c:v>49812.529144259483</c:v>
                </c:pt>
                <c:pt idx="2951">
                  <c:v>49812.529144259483</c:v>
                </c:pt>
                <c:pt idx="2952">
                  <c:v>49828.211622809969</c:v>
                </c:pt>
                <c:pt idx="2953">
                  <c:v>48811.817466479959</c:v>
                </c:pt>
                <c:pt idx="2954">
                  <c:v>47813.640693317349</c:v>
                </c:pt>
                <c:pt idx="2955">
                  <c:v>47701.104596035926</c:v>
                </c:pt>
                <c:pt idx="2956">
                  <c:v>48318.680780008843</c:v>
                </c:pt>
                <c:pt idx="2957">
                  <c:v>48318.680780008835</c:v>
                </c:pt>
                <c:pt idx="2958">
                  <c:v>48318.680780008835</c:v>
                </c:pt>
                <c:pt idx="2959">
                  <c:v>48327.295034418297</c:v>
                </c:pt>
                <c:pt idx="2960">
                  <c:v>48173.966058916703</c:v>
                </c:pt>
                <c:pt idx="2961">
                  <c:v>48366.743818894676</c:v>
                </c:pt>
                <c:pt idx="2962">
                  <c:v>48365.50853225754</c:v>
                </c:pt>
                <c:pt idx="2963">
                  <c:v>47955.814949892665</c:v>
                </c:pt>
                <c:pt idx="2964">
                  <c:v>47955.814949892665</c:v>
                </c:pt>
                <c:pt idx="2965">
                  <c:v>47955.814949892665</c:v>
                </c:pt>
                <c:pt idx="2966">
                  <c:v>48030.325817812918</c:v>
                </c:pt>
                <c:pt idx="2967">
                  <c:v>47851.07712216409</c:v>
                </c:pt>
                <c:pt idx="2968">
                  <c:v>47758.544144757565</c:v>
                </c:pt>
                <c:pt idx="2969">
                  <c:v>47812.38569467004</c:v>
                </c:pt>
                <c:pt idx="2970">
                  <c:v>47650.723412406929</c:v>
                </c:pt>
                <c:pt idx="2971">
                  <c:v>47650.723412406929</c:v>
                </c:pt>
                <c:pt idx="2972">
                  <c:v>47650.723412406929</c:v>
                </c:pt>
                <c:pt idx="2973">
                  <c:v>47665.271178264731</c:v>
                </c:pt>
                <c:pt idx="2974">
                  <c:v>47804.816979471638</c:v>
                </c:pt>
                <c:pt idx="2975">
                  <c:v>47925.734005491351</c:v>
                </c:pt>
                <c:pt idx="2976">
                  <c:v>48282.339327822068</c:v>
                </c:pt>
                <c:pt idx="2977">
                  <c:v>48291.456964780729</c:v>
                </c:pt>
                <c:pt idx="2978">
                  <c:v>48291.456964780722</c:v>
                </c:pt>
                <c:pt idx="2979">
                  <c:v>48291.456964780722</c:v>
                </c:pt>
                <c:pt idx="2980">
                  <c:v>48333.56228610831</c:v>
                </c:pt>
                <c:pt idx="2981">
                  <c:v>48127.636660652715</c:v>
                </c:pt>
                <c:pt idx="2982">
                  <c:v>48321.162700428875</c:v>
                </c:pt>
                <c:pt idx="2983">
                  <c:v>48055.66352160625</c:v>
                </c:pt>
                <c:pt idx="2984">
                  <c:v>47308.977955546259</c:v>
                </c:pt>
                <c:pt idx="2985">
                  <c:v>47308.977955546259</c:v>
                </c:pt>
                <c:pt idx="2986">
                  <c:v>47308.977955546259</c:v>
                </c:pt>
                <c:pt idx="2987">
                  <c:v>47509.48097355834</c:v>
                </c:pt>
                <c:pt idx="2988">
                  <c:v>47473.31533135684</c:v>
                </c:pt>
                <c:pt idx="2989">
                  <c:v>47561.024655097288</c:v>
                </c:pt>
                <c:pt idx="2990">
                  <c:v>47710.525601946887</c:v>
                </c:pt>
                <c:pt idx="2991">
                  <c:v>47648.9494433945</c:v>
                </c:pt>
                <c:pt idx="2992">
                  <c:v>47648.949443394507</c:v>
                </c:pt>
                <c:pt idx="2993">
                  <c:v>47648.949443394507</c:v>
                </c:pt>
                <c:pt idx="2994">
                  <c:v>47468.031623742376</c:v>
                </c:pt>
                <c:pt idx="2995">
                  <c:v>47630.169603400536</c:v>
                </c:pt>
                <c:pt idx="2996">
                  <c:v>47660.107546504754</c:v>
                </c:pt>
                <c:pt idx="2997">
                  <c:v>47570.293980237671</c:v>
                </c:pt>
                <c:pt idx="2998">
                  <c:v>47719.837383502767</c:v>
                </c:pt>
                <c:pt idx="2999">
                  <c:v>47719.837383502767</c:v>
                </c:pt>
                <c:pt idx="3000">
                  <c:v>47719.837383502767</c:v>
                </c:pt>
                <c:pt idx="3001">
                  <c:v>47682.573916886737</c:v>
                </c:pt>
                <c:pt idx="3002">
                  <c:v>47750.825322714147</c:v>
                </c:pt>
                <c:pt idx="3003">
                  <c:v>47566.717718108142</c:v>
                </c:pt>
                <c:pt idx="3004">
                  <c:v>47357.415122472092</c:v>
                </c:pt>
                <c:pt idx="3005">
                  <c:v>47691.589880838903</c:v>
                </c:pt>
                <c:pt idx="3006">
                  <c:v>47691.589880838903</c:v>
                </c:pt>
                <c:pt idx="3007">
                  <c:v>47691.589880838903</c:v>
                </c:pt>
                <c:pt idx="3008">
                  <c:v>47897.976666795934</c:v>
                </c:pt>
                <c:pt idx="3009">
                  <c:v>48175.027185472478</c:v>
                </c:pt>
                <c:pt idx="3010">
                  <c:v>48202.279798351294</c:v>
                </c:pt>
                <c:pt idx="3011">
                  <c:v>48137.693563649489</c:v>
                </c:pt>
                <c:pt idx="3012">
                  <c:v>47803.71424570489</c:v>
                </c:pt>
                <c:pt idx="3013">
                  <c:v>47804.300797278687</c:v>
                </c:pt>
                <c:pt idx="3014">
                  <c:v>46812.43956094118</c:v>
                </c:pt>
                <c:pt idx="3015">
                  <c:v>46525.862700312609</c:v>
                </c:pt>
                <c:pt idx="3016">
                  <c:v>46081.133144967374</c:v>
                </c:pt>
                <c:pt idx="3017">
                  <c:v>46073.089683176928</c:v>
                </c:pt>
                <c:pt idx="3018">
                  <c:v>45909.791909951047</c:v>
                </c:pt>
                <c:pt idx="3019">
                  <c:v>46295.067801855192</c:v>
                </c:pt>
                <c:pt idx="3020">
                  <c:v>46295.067801855184</c:v>
                </c:pt>
                <c:pt idx="3021">
                  <c:v>46295.067801855184</c:v>
                </c:pt>
                <c:pt idx="3022">
                  <c:v>46178.016741277017</c:v>
                </c:pt>
                <c:pt idx="3023">
                  <c:v>46155.97089430457</c:v>
                </c:pt>
                <c:pt idx="3024">
                  <c:v>46201.935317919662</c:v>
                </c:pt>
                <c:pt idx="3025">
                  <c:v>46541.075541907958</c:v>
                </c:pt>
                <c:pt idx="3026">
                  <c:v>46377.855059160982</c:v>
                </c:pt>
                <c:pt idx="3027">
                  <c:v>46377.855059160989</c:v>
                </c:pt>
                <c:pt idx="3028">
                  <c:v>46377.855059160989</c:v>
                </c:pt>
                <c:pt idx="3029">
                  <c:v>46823.025422967214</c:v>
                </c:pt>
                <c:pt idx="3030">
                  <c:v>47198.796590045429</c:v>
                </c:pt>
                <c:pt idx="3031">
                  <c:v>47257.370296613677</c:v>
                </c:pt>
                <c:pt idx="3032">
                  <c:v>47444.67724665282</c:v>
                </c:pt>
                <c:pt idx="3033">
                  <c:v>47508.514059888192</c:v>
                </c:pt>
                <c:pt idx="3034">
                  <c:v>47508.514059888192</c:v>
                </c:pt>
                <c:pt idx="3035">
                  <c:v>47508.514059888192</c:v>
                </c:pt>
                <c:pt idx="3036">
                  <c:v>47847.874027009937</c:v>
                </c:pt>
                <c:pt idx="3037">
                  <c:v>47852.848770472527</c:v>
                </c:pt>
                <c:pt idx="3038">
                  <c:v>47834.524479092848</c:v>
                </c:pt>
                <c:pt idx="3039">
                  <c:v>47812.115917755378</c:v>
                </c:pt>
                <c:pt idx="3040">
                  <c:v>47789.159886539783</c:v>
                </c:pt>
                <c:pt idx="3041">
                  <c:v>47789.159886539783</c:v>
                </c:pt>
                <c:pt idx="3042">
                  <c:v>47789.159886539783</c:v>
                </c:pt>
                <c:pt idx="3043">
                  <c:v>47540.524357048489</c:v>
                </c:pt>
                <c:pt idx="3044">
                  <c:v>47290.124612017964</c:v>
                </c:pt>
                <c:pt idx="3045">
                  <c:v>46293.711701186548</c:v>
                </c:pt>
                <c:pt idx="3046">
                  <c:v>46703.636963055142</c:v>
                </c:pt>
                <c:pt idx="3047">
                  <c:v>46871.164776987105</c:v>
                </c:pt>
                <c:pt idx="3048">
                  <c:v>46871.164776987105</c:v>
                </c:pt>
                <c:pt idx="3049">
                  <c:v>46871.164776987105</c:v>
                </c:pt>
                <c:pt idx="3050">
                  <c:v>46664.633082648739</c:v>
                </c:pt>
                <c:pt idx="3051">
                  <c:v>46703.684380843952</c:v>
                </c:pt>
                <c:pt idx="3052">
                  <c:v>46776.475809246243</c:v>
                </c:pt>
                <c:pt idx="3053">
                  <c:v>47060.511925655141</c:v>
                </c:pt>
                <c:pt idx="3054">
                  <c:v>47056.28777410469</c:v>
                </c:pt>
                <c:pt idx="3055">
                  <c:v>47056.28777410469</c:v>
                </c:pt>
                <c:pt idx="3056">
                  <c:v>47056.28777410469</c:v>
                </c:pt>
                <c:pt idx="3057">
                  <c:v>47427.29178155055</c:v>
                </c:pt>
                <c:pt idx="3058">
                  <c:v>47386.120623827912</c:v>
                </c:pt>
                <c:pt idx="3059">
                  <c:v>47505.141764582397</c:v>
                </c:pt>
                <c:pt idx="3060">
                  <c:v>47536.955482970719</c:v>
                </c:pt>
                <c:pt idx="3061">
                  <c:v>47811.14959293561</c:v>
                </c:pt>
                <c:pt idx="3062">
                  <c:v>47811.14959293561</c:v>
                </c:pt>
                <c:pt idx="3063">
                  <c:v>47811.14959293561</c:v>
                </c:pt>
                <c:pt idx="3064">
                  <c:v>47837.683346625199</c:v>
                </c:pt>
                <c:pt idx="3065">
                  <c:v>47641.455561421506</c:v>
                </c:pt>
                <c:pt idx="3066">
                  <c:v>47565.40741156703</c:v>
                </c:pt>
                <c:pt idx="3067">
                  <c:v>47495.467712163132</c:v>
                </c:pt>
                <c:pt idx="3068">
                  <c:v>47643.609400640104</c:v>
                </c:pt>
                <c:pt idx="3069">
                  <c:v>47643.609400640104</c:v>
                </c:pt>
                <c:pt idx="3070">
                  <c:v>47643.609400640104</c:v>
                </c:pt>
                <c:pt idx="3071">
                  <c:v>47074.871436397472</c:v>
                </c:pt>
                <c:pt idx="3072">
                  <c:v>47464.175444940622</c:v>
                </c:pt>
                <c:pt idx="3073">
                  <c:v>47420.944599303613</c:v>
                </c:pt>
                <c:pt idx="3074">
                  <c:v>47082.218688868568</c:v>
                </c:pt>
                <c:pt idx="3075">
                  <c:v>46515.173159178878</c:v>
                </c:pt>
                <c:pt idx="3076">
                  <c:v>45523.311922841363</c:v>
                </c:pt>
                <c:pt idx="3077">
                  <c:v>45523.311922841363</c:v>
                </c:pt>
                <c:pt idx="3078">
                  <c:v>46106.826548436511</c:v>
                </c:pt>
                <c:pt idx="3079">
                  <c:v>46634.979324412314</c:v>
                </c:pt>
                <c:pt idx="3080">
                  <c:v>46898.017396394549</c:v>
                </c:pt>
                <c:pt idx="3081">
                  <c:v>47204.382915858056</c:v>
                </c:pt>
                <c:pt idx="3082">
                  <c:v>47007.255996669948</c:v>
                </c:pt>
                <c:pt idx="3083">
                  <c:v>47007.255996669948</c:v>
                </c:pt>
                <c:pt idx="3084">
                  <c:v>47007.255996669948</c:v>
                </c:pt>
                <c:pt idx="3085">
                  <c:v>47098.362169734777</c:v>
                </c:pt>
                <c:pt idx="3086">
                  <c:v>47205.202449398719</c:v>
                </c:pt>
                <c:pt idx="3087">
                  <c:v>47221.34096401211</c:v>
                </c:pt>
                <c:pt idx="3088">
                  <c:v>46934.359875291062</c:v>
                </c:pt>
                <c:pt idx="3089">
                  <c:v>46973.166142723145</c:v>
                </c:pt>
                <c:pt idx="3090">
                  <c:v>46973.166142723145</c:v>
                </c:pt>
                <c:pt idx="3091">
                  <c:v>46973.166142723145</c:v>
                </c:pt>
                <c:pt idx="3092">
                  <c:v>46990.939849328228</c:v>
                </c:pt>
                <c:pt idx="3093">
                  <c:v>46720.677097697597</c:v>
                </c:pt>
                <c:pt idx="3094">
                  <c:v>47119.260538153474</c:v>
                </c:pt>
                <c:pt idx="3095">
                  <c:v>47234.498700073818</c:v>
                </c:pt>
                <c:pt idx="3096">
                  <c:v>46854.912349275299</c:v>
                </c:pt>
                <c:pt idx="3097">
                  <c:v>46854.912349275299</c:v>
                </c:pt>
                <c:pt idx="3098">
                  <c:v>46854.912349275299</c:v>
                </c:pt>
                <c:pt idx="3099">
                  <c:v>45880.083715571418</c:v>
                </c:pt>
                <c:pt idx="3100">
                  <c:v>44955.528455772059</c:v>
                </c:pt>
                <c:pt idx="3101">
                  <c:v>45060.100409623599</c:v>
                </c:pt>
                <c:pt idx="3102">
                  <c:v>44140.048860227776</c:v>
                </c:pt>
                <c:pt idx="3103">
                  <c:v>43498.767664170264</c:v>
                </c:pt>
                <c:pt idx="3104">
                  <c:v>43499.321403482623</c:v>
                </c:pt>
                <c:pt idx="3105">
                  <c:v>42507.460167145109</c:v>
                </c:pt>
                <c:pt idx="3106">
                  <c:v>43488.275177668802</c:v>
                </c:pt>
                <c:pt idx="3107">
                  <c:v>43264.613238899045</c:v>
                </c:pt>
                <c:pt idx="3108">
                  <c:v>43925.282054194591</c:v>
                </c:pt>
                <c:pt idx="3109">
                  <c:v>43227.60493950166</c:v>
                </c:pt>
                <c:pt idx="3110">
                  <c:v>42286.555109630441</c:v>
                </c:pt>
                <c:pt idx="3111">
                  <c:v>42286.555109630441</c:v>
                </c:pt>
                <c:pt idx="3112">
                  <c:v>42286.555109630441</c:v>
                </c:pt>
                <c:pt idx="3113">
                  <c:v>39991.54620720759</c:v>
                </c:pt>
                <c:pt idx="3114">
                  <c:v>40662.280421040254</c:v>
                </c:pt>
                <c:pt idx="3115">
                  <c:v>39841.304506488603</c:v>
                </c:pt>
                <c:pt idx="3116">
                  <c:v>37531.385353811413</c:v>
                </c:pt>
                <c:pt idx="3117">
                  <c:v>38614.530626334505</c:v>
                </c:pt>
                <c:pt idx="3118">
                  <c:v>38614.530626334505</c:v>
                </c:pt>
                <c:pt idx="3119">
                  <c:v>38614.530626334505</c:v>
                </c:pt>
                <c:pt idx="3120">
                  <c:v>36686.938822614029</c:v>
                </c:pt>
                <c:pt idx="3121">
                  <c:v>37563.338796241318</c:v>
                </c:pt>
                <c:pt idx="3122">
                  <c:v>36576.514576525587</c:v>
                </c:pt>
                <c:pt idx="3123">
                  <c:v>36917.830516887305</c:v>
                </c:pt>
                <c:pt idx="3124">
                  <c:v>36562.035663637413</c:v>
                </c:pt>
                <c:pt idx="3125">
                  <c:v>36562.035663637413</c:v>
                </c:pt>
                <c:pt idx="3126">
                  <c:v>36562.035663637413</c:v>
                </c:pt>
                <c:pt idx="3127">
                  <c:v>36206.614652469761</c:v>
                </c:pt>
                <c:pt idx="3128">
                  <c:v>38038.976385976981</c:v>
                </c:pt>
                <c:pt idx="3129">
                  <c:v>39068.856185513134</c:v>
                </c:pt>
                <c:pt idx="3130">
                  <c:v>39625.911657663033</c:v>
                </c:pt>
                <c:pt idx="3131">
                  <c:v>38321.910082014991</c:v>
                </c:pt>
                <c:pt idx="3132">
                  <c:v>38321.910082014991</c:v>
                </c:pt>
                <c:pt idx="3133">
                  <c:v>38321.910082014991</c:v>
                </c:pt>
                <c:pt idx="3134">
                  <c:v>38690.906772346403</c:v>
                </c:pt>
                <c:pt idx="3135">
                  <c:v>38839.682207794634</c:v>
                </c:pt>
                <c:pt idx="3136">
                  <c:v>36870.969561804392</c:v>
                </c:pt>
                <c:pt idx="3137">
                  <c:v>37229.833971130036</c:v>
                </c:pt>
                <c:pt idx="3138">
                  <c:v>37109.847800716176</c:v>
                </c:pt>
                <c:pt idx="3139">
                  <c:v>37109.847800716176</c:v>
                </c:pt>
                <c:pt idx="3140">
                  <c:v>37109.847800716176</c:v>
                </c:pt>
                <c:pt idx="3141">
                  <c:v>38406.37867473087</c:v>
                </c:pt>
                <c:pt idx="3142">
                  <c:v>38672.239149830959</c:v>
                </c:pt>
                <c:pt idx="3143">
                  <c:v>38848.615884867904</c:v>
                </c:pt>
                <c:pt idx="3144">
                  <c:v>39337.407615986667</c:v>
                </c:pt>
                <c:pt idx="3145">
                  <c:v>39345.328596384214</c:v>
                </c:pt>
                <c:pt idx="3146">
                  <c:v>39345.328596384214</c:v>
                </c:pt>
                <c:pt idx="3147">
                  <c:v>39345.328596384214</c:v>
                </c:pt>
                <c:pt idx="3148">
                  <c:v>39116.371047122702</c:v>
                </c:pt>
                <c:pt idx="3149">
                  <c:v>39328.531985062931</c:v>
                </c:pt>
                <c:pt idx="3150">
                  <c:v>38738.161952587478</c:v>
                </c:pt>
                <c:pt idx="3151">
                  <c:v>39049.21970852626</c:v>
                </c:pt>
                <c:pt idx="3152">
                  <c:v>39822.991321324422</c:v>
                </c:pt>
                <c:pt idx="3153">
                  <c:v>39822.991321324422</c:v>
                </c:pt>
                <c:pt idx="3154">
                  <c:v>39822.991321324422</c:v>
                </c:pt>
                <c:pt idx="3155">
                  <c:v>39720.502472629945</c:v>
                </c:pt>
                <c:pt idx="3156">
                  <c:v>39113.395246997083</c:v>
                </c:pt>
                <c:pt idx="3157">
                  <c:v>39545.902175557472</c:v>
                </c:pt>
                <c:pt idx="3158">
                  <c:v>39541.200167788797</c:v>
                </c:pt>
                <c:pt idx="3159">
                  <c:v>39557.736297698961</c:v>
                </c:pt>
                <c:pt idx="3160">
                  <c:v>39557.736297698961</c:v>
                </c:pt>
                <c:pt idx="3161">
                  <c:v>39557.736297698961</c:v>
                </c:pt>
                <c:pt idx="3162">
                  <c:v>39843.012846670259</c:v>
                </c:pt>
                <c:pt idx="3163">
                  <c:v>40014.173648698008</c:v>
                </c:pt>
                <c:pt idx="3164">
                  <c:v>40755.650291369158</c:v>
                </c:pt>
                <c:pt idx="3165">
                  <c:v>39867.860587272698</c:v>
                </c:pt>
                <c:pt idx="3166">
                  <c:v>38368.011842261483</c:v>
                </c:pt>
                <c:pt idx="3167">
                  <c:v>38368.011842261483</c:v>
                </c:pt>
                <c:pt idx="3168">
                  <c:v>38368.011842261483</c:v>
                </c:pt>
                <c:pt idx="3169">
                  <c:v>38332.635000622446</c:v>
                </c:pt>
                <c:pt idx="3170">
                  <c:v>38595.641725909671</c:v>
                </c:pt>
                <c:pt idx="3171">
                  <c:v>38640.730698399544</c:v>
                </c:pt>
                <c:pt idx="3172">
                  <c:v>39191.716219166854</c:v>
                </c:pt>
                <c:pt idx="3173">
                  <c:v>39278.768075398548</c:v>
                </c:pt>
                <c:pt idx="3174">
                  <c:v>39278.768075398548</c:v>
                </c:pt>
                <c:pt idx="3175">
                  <c:v>39278.768075398548</c:v>
                </c:pt>
                <c:pt idx="3176">
                  <c:v>39457.31835701425</c:v>
                </c:pt>
                <c:pt idx="3177">
                  <c:v>39309.196373048384</c:v>
                </c:pt>
                <c:pt idx="3178">
                  <c:v>39130.179934213738</c:v>
                </c:pt>
                <c:pt idx="3179">
                  <c:v>38871.567401123124</c:v>
                </c:pt>
                <c:pt idx="3180">
                  <c:v>39151.333068591135</c:v>
                </c:pt>
                <c:pt idx="3181">
                  <c:v>39151.333068591135</c:v>
                </c:pt>
                <c:pt idx="3182">
                  <c:v>39151.333068591135</c:v>
                </c:pt>
                <c:pt idx="3183">
                  <c:v>39992.027294493011</c:v>
                </c:pt>
                <c:pt idx="3184">
                  <c:v>39822.403910165332</c:v>
                </c:pt>
                <c:pt idx="3185">
                  <c:v>40148.446656387503</c:v>
                </c:pt>
                <c:pt idx="3186">
                  <c:v>40011.775723186634</c:v>
                </c:pt>
                <c:pt idx="3187">
                  <c:v>39858.631051723896</c:v>
                </c:pt>
                <c:pt idx="3188">
                  <c:v>39858.631051723896</c:v>
                </c:pt>
                <c:pt idx="3189">
                  <c:v>39858.631051723896</c:v>
                </c:pt>
                <c:pt idx="3190">
                  <c:v>39990.844123854018</c:v>
                </c:pt>
                <c:pt idx="3191">
                  <c:v>40150.651136148903</c:v>
                </c:pt>
                <c:pt idx="3192">
                  <c:v>40628.266820297562</c:v>
                </c:pt>
                <c:pt idx="3193">
                  <c:v>40764.902119310231</c:v>
                </c:pt>
                <c:pt idx="3194">
                  <c:v>40558.507789284078</c:v>
                </c:pt>
                <c:pt idx="3195">
                  <c:v>40558.507789284078</c:v>
                </c:pt>
                <c:pt idx="3196">
                  <c:v>40559.640182821553</c:v>
                </c:pt>
                <c:pt idx="3197">
                  <c:v>39605.674223903261</c:v>
                </c:pt>
                <c:pt idx="3198">
                  <c:v>39795.701456716066</c:v>
                </c:pt>
                <c:pt idx="3199">
                  <c:v>40270.287880137235</c:v>
                </c:pt>
                <c:pt idx="3200">
                  <c:v>40186.406078591543</c:v>
                </c:pt>
                <c:pt idx="3201">
                  <c:v>40548.686931254102</c:v>
                </c:pt>
                <c:pt idx="3202">
                  <c:v>40548.686931254102</c:v>
                </c:pt>
                <c:pt idx="3203">
                  <c:v>40548.686931254102</c:v>
                </c:pt>
                <c:pt idx="3204">
                  <c:v>40725.415950322764</c:v>
                </c:pt>
                <c:pt idx="3205">
                  <c:v>40477.661253372331</c:v>
                </c:pt>
                <c:pt idx="3206">
                  <c:v>40506.683736491002</c:v>
                </c:pt>
                <c:pt idx="3207">
                  <c:v>39411.502097906472</c:v>
                </c:pt>
                <c:pt idx="3208">
                  <c:v>39664.648481721662</c:v>
                </c:pt>
                <c:pt idx="3209">
                  <c:v>39664.648481721662</c:v>
                </c:pt>
                <c:pt idx="3210">
                  <c:v>39664.648481721662</c:v>
                </c:pt>
                <c:pt idx="3211">
                  <c:v>39468.753509093105</c:v>
                </c:pt>
                <c:pt idx="3212">
                  <c:v>40255.758085939211</c:v>
                </c:pt>
                <c:pt idx="3213">
                  <c:v>40426.923153975142</c:v>
                </c:pt>
                <c:pt idx="3214">
                  <c:v>40559.531547304818</c:v>
                </c:pt>
                <c:pt idx="3215">
                  <c:v>40770.939993588836</c:v>
                </c:pt>
                <c:pt idx="3216">
                  <c:v>40770.939993588836</c:v>
                </c:pt>
                <c:pt idx="3217">
                  <c:v>40770.939993588836</c:v>
                </c:pt>
                <c:pt idx="3218">
                  <c:v>40583.834811189059</c:v>
                </c:pt>
                <c:pt idx="3219">
                  <c:v>40820.717379083442</c:v>
                </c:pt>
                <c:pt idx="3220">
                  <c:v>40152.836559414696</c:v>
                </c:pt>
                <c:pt idx="3221">
                  <c:v>40364.333996952468</c:v>
                </c:pt>
                <c:pt idx="3222">
                  <c:v>40261.98498073977</c:v>
                </c:pt>
                <c:pt idx="3223">
                  <c:v>40261.98498073977</c:v>
                </c:pt>
                <c:pt idx="3224">
                  <c:v>40261.98498073977</c:v>
                </c:pt>
                <c:pt idx="3225">
                  <c:v>40544.261354819886</c:v>
                </c:pt>
                <c:pt idx="3226">
                  <c:v>40510.708545893096</c:v>
                </c:pt>
                <c:pt idx="3227">
                  <c:v>39343.888851273412</c:v>
                </c:pt>
                <c:pt idx="3228">
                  <c:v>39640.782951250672</c:v>
                </c:pt>
                <c:pt idx="3229">
                  <c:v>39521.455473595161</c:v>
                </c:pt>
                <c:pt idx="3230">
                  <c:v>39521.455473595161</c:v>
                </c:pt>
                <c:pt idx="3231">
                  <c:v>39521.455473595161</c:v>
                </c:pt>
                <c:pt idx="3232">
                  <c:v>40042.678656104901</c:v>
                </c:pt>
                <c:pt idx="3233">
                  <c:v>39595.005112570725</c:v>
                </c:pt>
                <c:pt idx="3234">
                  <c:v>39678.33676033064</c:v>
                </c:pt>
                <c:pt idx="3235">
                  <c:v>39459.740073883891</c:v>
                </c:pt>
                <c:pt idx="3236">
                  <c:v>39582.696229356712</c:v>
                </c:pt>
                <c:pt idx="3237">
                  <c:v>39582.696229356712</c:v>
                </c:pt>
                <c:pt idx="3238">
                  <c:v>39582.696229356712</c:v>
                </c:pt>
                <c:pt idx="3239">
                  <c:v>39768.965272926755</c:v>
                </c:pt>
                <c:pt idx="3240">
                  <c:v>39980.930676314238</c:v>
                </c:pt>
                <c:pt idx="3241">
                  <c:v>40288.476788974265</c:v>
                </c:pt>
                <c:pt idx="3242">
                  <c:v>40135.500233952225</c:v>
                </c:pt>
                <c:pt idx="3243">
                  <c:v>40389.587249348304</c:v>
                </c:pt>
                <c:pt idx="3244">
                  <c:v>40389.587249348304</c:v>
                </c:pt>
                <c:pt idx="3245">
                  <c:v>40389.587249348304</c:v>
                </c:pt>
                <c:pt idx="3246">
                  <c:v>40266.307323874738</c:v>
                </c:pt>
                <c:pt idx="3247">
                  <c:v>40188.477383774567</c:v>
                </c:pt>
                <c:pt idx="3248">
                  <c:v>40220.09848154967</c:v>
                </c:pt>
                <c:pt idx="3249">
                  <c:v>40069.795571323135</c:v>
                </c:pt>
                <c:pt idx="3250">
                  <c:v>39650.247982377245</c:v>
                </c:pt>
                <c:pt idx="3251">
                  <c:v>39650.247982377245</c:v>
                </c:pt>
                <c:pt idx="3252">
                  <c:v>39650.247982377245</c:v>
                </c:pt>
                <c:pt idx="3253">
                  <c:v>39739.01695756019</c:v>
                </c:pt>
                <c:pt idx="3254">
                  <c:v>39605.538368281777</c:v>
                </c:pt>
                <c:pt idx="3255">
                  <c:v>39743.121671687048</c:v>
                </c:pt>
                <c:pt idx="3256">
                  <c:v>39227.406976250903</c:v>
                </c:pt>
                <c:pt idx="3257">
                  <c:v>39030.012702976062</c:v>
                </c:pt>
                <c:pt idx="3258">
                  <c:v>38038.151466638548</c:v>
                </c:pt>
                <c:pt idx="3259">
                  <c:v>38038.151466638548</c:v>
                </c:pt>
                <c:pt idx="3260">
                  <c:v>38748.910683197821</c:v>
                </c:pt>
                <c:pt idx="3261">
                  <c:v>38795.895674846732</c:v>
                </c:pt>
                <c:pt idx="3262">
                  <c:v>38997.431041862597</c:v>
                </c:pt>
                <c:pt idx="3263">
                  <c:v>38887.009815867561</c:v>
                </c:pt>
                <c:pt idx="3264">
                  <c:v>38996.310700967311</c:v>
                </c:pt>
                <c:pt idx="3265">
                  <c:v>38996.310700967311</c:v>
                </c:pt>
                <c:pt idx="3266">
                  <c:v>38996.310700967311</c:v>
                </c:pt>
                <c:pt idx="3267">
                  <c:v>38965.516094332968</c:v>
                </c:pt>
                <c:pt idx="3268">
                  <c:v>39129.427265369908</c:v>
                </c:pt>
                <c:pt idx="3269">
                  <c:v>39631.294256178633</c:v>
                </c:pt>
                <c:pt idx="3270">
                  <c:v>39460.956971900865</c:v>
                </c:pt>
                <c:pt idx="3271">
                  <c:v>39216.7627049195</c:v>
                </c:pt>
                <c:pt idx="3272">
                  <c:v>39216.7627049195</c:v>
                </c:pt>
                <c:pt idx="3273">
                  <c:v>39216.7627049195</c:v>
                </c:pt>
                <c:pt idx="3274">
                  <c:v>39401.514050525249</c:v>
                </c:pt>
                <c:pt idx="3275">
                  <c:v>39155.607231260219</c:v>
                </c:pt>
                <c:pt idx="3276">
                  <c:v>39237.835572670156</c:v>
                </c:pt>
                <c:pt idx="3277">
                  <c:v>39065.131024153758</c:v>
                </c:pt>
                <c:pt idx="3278">
                  <c:v>39234.676818009066</c:v>
                </c:pt>
                <c:pt idx="3279">
                  <c:v>39234.676818009066</c:v>
                </c:pt>
                <c:pt idx="3280">
                  <c:v>39234.676818009066</c:v>
                </c:pt>
                <c:pt idx="3281">
                  <c:v>39659.476156772405</c:v>
                </c:pt>
                <c:pt idx="3282">
                  <c:v>39512.703574221901</c:v>
                </c:pt>
                <c:pt idx="3283">
                  <c:v>39492.391278695504</c:v>
                </c:pt>
                <c:pt idx="3284">
                  <c:v>39472.852023186453</c:v>
                </c:pt>
                <c:pt idx="3285">
                  <c:v>39299.729620412036</c:v>
                </c:pt>
                <c:pt idx="3286">
                  <c:v>39299.729620412036</c:v>
                </c:pt>
                <c:pt idx="3287">
                  <c:v>39299.729620412036</c:v>
                </c:pt>
                <c:pt idx="3288">
                  <c:v>39111.914640566909</c:v>
                </c:pt>
                <c:pt idx="3289">
                  <c:v>38019.324188144936</c:v>
                </c:pt>
                <c:pt idx="3290">
                  <c:v>38576.894305866721</c:v>
                </c:pt>
                <c:pt idx="3291">
                  <c:v>37926.022244755535</c:v>
                </c:pt>
                <c:pt idx="3292">
                  <c:v>37752.278206469418</c:v>
                </c:pt>
                <c:pt idx="3293">
                  <c:v>37752.278206469418</c:v>
                </c:pt>
                <c:pt idx="3294">
                  <c:v>37752.278206469418</c:v>
                </c:pt>
                <c:pt idx="3295">
                  <c:v>38122.184843928742</c:v>
                </c:pt>
                <c:pt idx="3296">
                  <c:v>37979.213689221164</c:v>
                </c:pt>
                <c:pt idx="3297">
                  <c:v>38478.333097395684</c:v>
                </c:pt>
                <c:pt idx="3298">
                  <c:v>38481.770366891273</c:v>
                </c:pt>
                <c:pt idx="3299">
                  <c:v>38667.681571799279</c:v>
                </c:pt>
                <c:pt idx="3300">
                  <c:v>38667.681571799279</c:v>
                </c:pt>
                <c:pt idx="3301">
                  <c:v>38667.681571799279</c:v>
                </c:pt>
                <c:pt idx="3302">
                  <c:v>38700.174024624059</c:v>
                </c:pt>
                <c:pt idx="3303">
                  <c:v>38948.839283807101</c:v>
                </c:pt>
                <c:pt idx="3304">
                  <c:v>38680.669514547022</c:v>
                </c:pt>
                <c:pt idx="3305">
                  <c:v>38581.550685722694</c:v>
                </c:pt>
                <c:pt idx="3306">
                  <c:v>38413.347470829161</c:v>
                </c:pt>
                <c:pt idx="3307">
                  <c:v>38413.347470829161</c:v>
                </c:pt>
                <c:pt idx="3308">
                  <c:v>38413.347470829161</c:v>
                </c:pt>
                <c:pt idx="3309">
                  <c:v>38033.29695082354</c:v>
                </c:pt>
                <c:pt idx="3310">
                  <c:v>38244.391637557812</c:v>
                </c:pt>
                <c:pt idx="3311">
                  <c:v>37873.630617939671</c:v>
                </c:pt>
                <c:pt idx="3312">
                  <c:v>37728.249278185955</c:v>
                </c:pt>
                <c:pt idx="3313">
                  <c:v>37964.099882898678</c:v>
                </c:pt>
                <c:pt idx="3314">
                  <c:v>37964.099882898678</c:v>
                </c:pt>
                <c:pt idx="3315">
                  <c:v>37964.099882898678</c:v>
                </c:pt>
                <c:pt idx="3316">
                  <c:v>38208.400384209126</c:v>
                </c:pt>
                <c:pt idx="3317">
                  <c:v>38207.806625667152</c:v>
                </c:pt>
                <c:pt idx="3318">
                  <c:v>38158.086424827103</c:v>
                </c:pt>
                <c:pt idx="3319">
                  <c:v>37338.644791485356</c:v>
                </c:pt>
                <c:pt idx="3320">
                  <c:v>37141.878347936079</c:v>
                </c:pt>
                <c:pt idx="3321">
                  <c:v>37141.878347936079</c:v>
                </c:pt>
                <c:pt idx="3322">
                  <c:v>37141.878347936079</c:v>
                </c:pt>
                <c:pt idx="3323">
                  <c:v>37434.352068986896</c:v>
                </c:pt>
                <c:pt idx="3324">
                  <c:v>37293.295686955746</c:v>
                </c:pt>
                <c:pt idx="3325">
                  <c:v>37531.085571847871</c:v>
                </c:pt>
                <c:pt idx="3326">
                  <c:v>37686.028530211828</c:v>
                </c:pt>
                <c:pt idx="3327">
                  <c:v>37854.840080130627</c:v>
                </c:pt>
                <c:pt idx="3328">
                  <c:v>37854.840080130627</c:v>
                </c:pt>
                <c:pt idx="3329">
                  <c:v>37854.840080130627</c:v>
                </c:pt>
                <c:pt idx="3330">
                  <c:v>37934.558966403776</c:v>
                </c:pt>
                <c:pt idx="3331">
                  <c:v>37848.875798720772</c:v>
                </c:pt>
                <c:pt idx="3332">
                  <c:v>37683.60224823677</c:v>
                </c:pt>
                <c:pt idx="3333">
                  <c:v>37486.217047004597</c:v>
                </c:pt>
                <c:pt idx="3334">
                  <c:v>37674.062729800156</c:v>
                </c:pt>
                <c:pt idx="3335">
                  <c:v>37674.062729800156</c:v>
                </c:pt>
                <c:pt idx="3336">
                  <c:v>37674.062729800156</c:v>
                </c:pt>
                <c:pt idx="3337">
                  <c:v>37339.999280762473</c:v>
                </c:pt>
                <c:pt idx="3338">
                  <c:v>37526.157847176713</c:v>
                </c:pt>
                <c:pt idx="3339">
                  <c:v>36949.542163544349</c:v>
                </c:pt>
                <c:pt idx="3340">
                  <c:v>37038.408768411042</c:v>
                </c:pt>
                <c:pt idx="3341">
                  <c:v>37264.772337055976</c:v>
                </c:pt>
                <c:pt idx="3342">
                  <c:v>37264.772337055976</c:v>
                </c:pt>
                <c:pt idx="3343">
                  <c:v>37264.772337055976</c:v>
                </c:pt>
                <c:pt idx="3344">
                  <c:v>36769.842499147708</c:v>
                </c:pt>
                <c:pt idx="3345">
                  <c:v>36611.967871091794</c:v>
                </c:pt>
                <c:pt idx="3346">
                  <c:v>35905.73033325201</c:v>
                </c:pt>
                <c:pt idx="3347">
                  <c:v>36119.911246205585</c:v>
                </c:pt>
                <c:pt idx="3348">
                  <c:v>35900.948732239965</c:v>
                </c:pt>
                <c:pt idx="3349">
                  <c:v>35893.221412034844</c:v>
                </c:pt>
                <c:pt idx="3350">
                  <c:v>34909.463070431098</c:v>
                </c:pt>
                <c:pt idx="3351">
                  <c:v>35324.090094305851</c:v>
                </c:pt>
                <c:pt idx="3352">
                  <c:v>35689.497671600097</c:v>
                </c:pt>
                <c:pt idx="3353">
                  <c:v>36348.229080079145</c:v>
                </c:pt>
                <c:pt idx="3354">
                  <c:v>36665.389187740278</c:v>
                </c:pt>
                <c:pt idx="3355">
                  <c:v>36720.447769414044</c:v>
                </c:pt>
                <c:pt idx="3356">
                  <c:v>36720.447769414044</c:v>
                </c:pt>
                <c:pt idx="3357">
                  <c:v>36720.447769414044</c:v>
                </c:pt>
                <c:pt idx="3358">
                  <c:v>37394.446447358954</c:v>
                </c:pt>
                <c:pt idx="3359">
                  <c:v>37275.164894192239</c:v>
                </c:pt>
                <c:pt idx="3360">
                  <c:v>37532.798905888129</c:v>
                </c:pt>
                <c:pt idx="3361">
                  <c:v>37521.664050436717</c:v>
                </c:pt>
                <c:pt idx="3362">
                  <c:v>37616.72931369154</c:v>
                </c:pt>
                <c:pt idx="3363">
                  <c:v>37616.72931369154</c:v>
                </c:pt>
                <c:pt idx="3364">
                  <c:v>37616.72931369154</c:v>
                </c:pt>
                <c:pt idx="3365">
                  <c:v>37962.441350441499</c:v>
                </c:pt>
                <c:pt idx="3366">
                  <c:v>37700.456468691482</c:v>
                </c:pt>
                <c:pt idx="3367">
                  <c:v>37582.034056859411</c:v>
                </c:pt>
                <c:pt idx="3368">
                  <c:v>37694.327671339939</c:v>
                </c:pt>
                <c:pt idx="3369">
                  <c:v>37624.138571556243</c:v>
                </c:pt>
                <c:pt idx="3370">
                  <c:v>37624.138571556243</c:v>
                </c:pt>
                <c:pt idx="3371">
                  <c:v>37624.138571556243</c:v>
                </c:pt>
                <c:pt idx="3372">
                  <c:v>37641.571716163373</c:v>
                </c:pt>
                <c:pt idx="3373">
                  <c:v>37894.664986821364</c:v>
                </c:pt>
                <c:pt idx="3374">
                  <c:v>37856.756300808498</c:v>
                </c:pt>
                <c:pt idx="3375">
                  <c:v>37927.036611745825</c:v>
                </c:pt>
                <c:pt idx="3376">
                  <c:v>37969.42690202604</c:v>
                </c:pt>
                <c:pt idx="3377">
                  <c:v>37969.42690202604</c:v>
                </c:pt>
                <c:pt idx="3378">
                  <c:v>37969.42690202604</c:v>
                </c:pt>
                <c:pt idx="3379">
                  <c:v>37667.702471454817</c:v>
                </c:pt>
                <c:pt idx="3380">
                  <c:v>37029.831002633298</c:v>
                </c:pt>
                <c:pt idx="3381">
                  <c:v>37213.668561032347</c:v>
                </c:pt>
                <c:pt idx="3382">
                  <c:v>36964.264415019737</c:v>
                </c:pt>
                <c:pt idx="3383">
                  <c:v>37255.430447246268</c:v>
                </c:pt>
                <c:pt idx="3384">
                  <c:v>37255.430447246268</c:v>
                </c:pt>
                <c:pt idx="3385">
                  <c:v>37255.430447246268</c:v>
                </c:pt>
                <c:pt idx="3386">
                  <c:v>37518.915753541376</c:v>
                </c:pt>
                <c:pt idx="3387">
                  <c:v>37468.124896529174</c:v>
                </c:pt>
                <c:pt idx="3388">
                  <c:v>37361.752889947929</c:v>
                </c:pt>
                <c:pt idx="3389">
                  <c:v>37605.864869275101</c:v>
                </c:pt>
                <c:pt idx="3390">
                  <c:v>37564.845143993</c:v>
                </c:pt>
                <c:pt idx="3391">
                  <c:v>37564.845143993</c:v>
                </c:pt>
                <c:pt idx="3392">
                  <c:v>37564.845143993</c:v>
                </c:pt>
                <c:pt idx="3393">
                  <c:v>37305.723217838182</c:v>
                </c:pt>
                <c:pt idx="3394">
                  <c:v>37307.234472685741</c:v>
                </c:pt>
                <c:pt idx="3395">
                  <c:v>37363.285234829847</c:v>
                </c:pt>
                <c:pt idx="3396">
                  <c:v>37392.050107233583</c:v>
                </c:pt>
                <c:pt idx="3397">
                  <c:v>37507.14358530465</c:v>
                </c:pt>
                <c:pt idx="3398">
                  <c:v>37507.14358530465</c:v>
                </c:pt>
                <c:pt idx="3399">
                  <c:v>37507.14358530465</c:v>
                </c:pt>
                <c:pt idx="3400">
                  <c:v>37569.312050868728</c:v>
                </c:pt>
                <c:pt idx="3401">
                  <c:v>37579.454638043098</c:v>
                </c:pt>
                <c:pt idx="3402">
                  <c:v>37340.184371389943</c:v>
                </c:pt>
                <c:pt idx="3403">
                  <c:v>37336.632946454381</c:v>
                </c:pt>
                <c:pt idx="3404">
                  <c:v>37320.797360322802</c:v>
                </c:pt>
                <c:pt idx="3405">
                  <c:v>37320.797360322802</c:v>
                </c:pt>
                <c:pt idx="3406">
                  <c:v>37320.797360322802</c:v>
                </c:pt>
                <c:pt idx="3407">
                  <c:v>37669.797198718261</c:v>
                </c:pt>
                <c:pt idx="3408">
                  <c:v>37910.068726378675</c:v>
                </c:pt>
                <c:pt idx="3409">
                  <c:v>37734.18875352951</c:v>
                </c:pt>
                <c:pt idx="3410">
                  <c:v>37509.441283920278</c:v>
                </c:pt>
                <c:pt idx="3411">
                  <c:v>36518.183574493021</c:v>
                </c:pt>
                <c:pt idx="3412">
                  <c:v>36518.183574493021</c:v>
                </c:pt>
                <c:pt idx="3413">
                  <c:v>36518.183574493021</c:v>
                </c:pt>
                <c:pt idx="3414">
                  <c:v>36858.8069317841</c:v>
                </c:pt>
                <c:pt idx="3415">
                  <c:v>36982.860775334062</c:v>
                </c:pt>
                <c:pt idx="3416">
                  <c:v>37477.150393254895</c:v>
                </c:pt>
                <c:pt idx="3417">
                  <c:v>37794.861436627696</c:v>
                </c:pt>
                <c:pt idx="3418">
                  <c:v>37909.709815921029</c:v>
                </c:pt>
                <c:pt idx="3419">
                  <c:v>37909.709815921029</c:v>
                </c:pt>
                <c:pt idx="3420">
                  <c:v>37909.709815921029</c:v>
                </c:pt>
                <c:pt idx="3421">
                  <c:v>37764.666128874014</c:v>
                </c:pt>
                <c:pt idx="3422">
                  <c:v>37534.743512081594</c:v>
                </c:pt>
                <c:pt idx="3423">
                  <c:v>37537.998149691521</c:v>
                </c:pt>
                <c:pt idx="3424">
                  <c:v>37600.699369520873</c:v>
                </c:pt>
                <c:pt idx="3425">
                  <c:v>37524.252635618715</c:v>
                </c:pt>
                <c:pt idx="3426">
                  <c:v>37524.252635618715</c:v>
                </c:pt>
                <c:pt idx="3427">
                  <c:v>37524.252635618715</c:v>
                </c:pt>
                <c:pt idx="3428">
                  <c:v>37432.604151466534</c:v>
                </c:pt>
                <c:pt idx="3429">
                  <c:v>37666.052212931114</c:v>
                </c:pt>
                <c:pt idx="3430">
                  <c:v>37822.227341882113</c:v>
                </c:pt>
                <c:pt idx="3431">
                  <c:v>37593.625261160494</c:v>
                </c:pt>
                <c:pt idx="3432">
                  <c:v>37586.130220092178</c:v>
                </c:pt>
                <c:pt idx="3433">
                  <c:v>37586.130220092178</c:v>
                </c:pt>
                <c:pt idx="3434">
                  <c:v>37586.130220092178</c:v>
                </c:pt>
                <c:pt idx="3435">
                  <c:v>37507.348187705662</c:v>
                </c:pt>
                <c:pt idx="3436">
                  <c:v>37439.111444221249</c:v>
                </c:pt>
                <c:pt idx="3437">
                  <c:v>36966.747416605111</c:v>
                </c:pt>
                <c:pt idx="3438">
                  <c:v>36939.534715161855</c:v>
                </c:pt>
                <c:pt idx="3439">
                  <c:v>36376.754624055466</c:v>
                </c:pt>
                <c:pt idx="3440">
                  <c:v>36376.754624055466</c:v>
                </c:pt>
                <c:pt idx="3441">
                  <c:v>36377.54763730627</c:v>
                </c:pt>
                <c:pt idx="3442">
                  <c:v>35881.558938526221</c:v>
                </c:pt>
                <c:pt idx="3443">
                  <c:v>36223.333657940399</c:v>
                </c:pt>
                <c:pt idx="3444">
                  <c:v>36187.818128222134</c:v>
                </c:pt>
                <c:pt idx="3445">
                  <c:v>36298.665395808872</c:v>
                </c:pt>
                <c:pt idx="3446">
                  <c:v>36321.286724083533</c:v>
                </c:pt>
                <c:pt idx="3447">
                  <c:v>36321.286724083533</c:v>
                </c:pt>
                <c:pt idx="3448">
                  <c:v>36321.286724083533</c:v>
                </c:pt>
                <c:pt idx="3449">
                  <c:v>36434.980705425856</c:v>
                </c:pt>
                <c:pt idx="3450">
                  <c:v>36380.12529152519</c:v>
                </c:pt>
                <c:pt idx="3451">
                  <c:v>36379.384592174254</c:v>
                </c:pt>
                <c:pt idx="3452">
                  <c:v>36540.99709787422</c:v>
                </c:pt>
                <c:pt idx="3453">
                  <c:v>36622.434921876338</c:v>
                </c:pt>
                <c:pt idx="3454">
                  <c:v>36622.434921876338</c:v>
                </c:pt>
                <c:pt idx="3455">
                  <c:v>36622.434921876338</c:v>
                </c:pt>
                <c:pt idx="3456">
                  <c:v>36828.791722154987</c:v>
                </c:pt>
                <c:pt idx="3457">
                  <c:v>36776.898113178882</c:v>
                </c:pt>
                <c:pt idx="3458">
                  <c:v>36647.625109697168</c:v>
                </c:pt>
                <c:pt idx="3459">
                  <c:v>36158.183249688373</c:v>
                </c:pt>
                <c:pt idx="3460">
                  <c:v>36096.337931476271</c:v>
                </c:pt>
                <c:pt idx="3461">
                  <c:v>36096.337931476271</c:v>
                </c:pt>
                <c:pt idx="3462">
                  <c:v>36096.337931476271</c:v>
                </c:pt>
                <c:pt idx="3463">
                  <c:v>35829.93576767722</c:v>
                </c:pt>
                <c:pt idx="3464">
                  <c:v>35814.747457905301</c:v>
                </c:pt>
                <c:pt idx="3465">
                  <c:v>35912.380966507873</c:v>
                </c:pt>
                <c:pt idx="3466">
                  <c:v>35657.008743702652</c:v>
                </c:pt>
                <c:pt idx="3467">
                  <c:v>35343.975507371601</c:v>
                </c:pt>
                <c:pt idx="3468">
                  <c:v>35343.975507371601</c:v>
                </c:pt>
                <c:pt idx="3469">
                  <c:v>35344.691576315388</c:v>
                </c:pt>
                <c:pt idx="3470">
                  <c:v>34944.645036753936</c:v>
                </c:pt>
                <c:pt idx="3471">
                  <c:v>34931.965372302351</c:v>
                </c:pt>
                <c:pt idx="3472">
                  <c:v>34808.132603016507</c:v>
                </c:pt>
                <c:pt idx="3473">
                  <c:v>34478.033854451714</c:v>
                </c:pt>
                <c:pt idx="3474">
                  <c:v>34745.722343638692</c:v>
                </c:pt>
                <c:pt idx="3475">
                  <c:v>34745.722343638692</c:v>
                </c:pt>
                <c:pt idx="3476">
                  <c:v>34745.722343638692</c:v>
                </c:pt>
                <c:pt idx="3477">
                  <c:v>34789.856707616804</c:v>
                </c:pt>
                <c:pt idx="3478">
                  <c:v>34949.209210976078</c:v>
                </c:pt>
                <c:pt idx="3479">
                  <c:v>35051.661769301776</c:v>
                </c:pt>
                <c:pt idx="3480">
                  <c:v>35231.535330453444</c:v>
                </c:pt>
                <c:pt idx="3481">
                  <c:v>35257.592926299199</c:v>
                </c:pt>
                <c:pt idx="3482">
                  <c:v>35257.592926299199</c:v>
                </c:pt>
                <c:pt idx="3483">
                  <c:v>35257.592926299199</c:v>
                </c:pt>
                <c:pt idx="3484">
                  <c:v>35390.447062204788</c:v>
                </c:pt>
                <c:pt idx="3485">
                  <c:v>35449.809228584578</c:v>
                </c:pt>
                <c:pt idx="3486">
                  <c:v>35345.538577711988</c:v>
                </c:pt>
                <c:pt idx="3487">
                  <c:v>35183.018024054742</c:v>
                </c:pt>
                <c:pt idx="3488">
                  <c:v>35087.166465240545</c:v>
                </c:pt>
                <c:pt idx="3489">
                  <c:v>35087.166465240545</c:v>
                </c:pt>
                <c:pt idx="3490">
                  <c:v>35087.166465240545</c:v>
                </c:pt>
                <c:pt idx="3491">
                  <c:v>35245.882911874396</c:v>
                </c:pt>
                <c:pt idx="3492">
                  <c:v>35244.39765036849</c:v>
                </c:pt>
                <c:pt idx="3493">
                  <c:v>35270.869717443682</c:v>
                </c:pt>
                <c:pt idx="3494">
                  <c:v>35322.035051890598</c:v>
                </c:pt>
                <c:pt idx="3495">
                  <c:v>35592.17303088255</c:v>
                </c:pt>
                <c:pt idx="3496">
                  <c:v>35592.17303088255</c:v>
                </c:pt>
                <c:pt idx="3497">
                  <c:v>35592.17303088255</c:v>
                </c:pt>
                <c:pt idx="3498">
                  <c:v>35614.469035834285</c:v>
                </c:pt>
                <c:pt idx="3499">
                  <c:v>35686.4017158141</c:v>
                </c:pt>
                <c:pt idx="3500">
                  <c:v>35526.147646541031</c:v>
                </c:pt>
                <c:pt idx="3501">
                  <c:v>34796.894272560843</c:v>
                </c:pt>
                <c:pt idx="3502">
                  <c:v>34845.587654530093</c:v>
                </c:pt>
                <c:pt idx="3503">
                  <c:v>34845.587654530093</c:v>
                </c:pt>
                <c:pt idx="3504">
                  <c:v>34845.587654530093</c:v>
                </c:pt>
                <c:pt idx="3505">
                  <c:v>34899.916107154022</c:v>
                </c:pt>
                <c:pt idx="3506">
                  <c:v>35058.871963053985</c:v>
                </c:pt>
                <c:pt idx="3507">
                  <c:v>35263.630850633162</c:v>
                </c:pt>
                <c:pt idx="3508">
                  <c:v>35580.979901656188</c:v>
                </c:pt>
                <c:pt idx="3509">
                  <c:v>35645.451213998793</c:v>
                </c:pt>
                <c:pt idx="3510">
                  <c:v>35645.451213998793</c:v>
                </c:pt>
                <c:pt idx="3511">
                  <c:v>35645.451213998793</c:v>
                </c:pt>
                <c:pt idx="3512">
                  <c:v>35511.226485179919</c:v>
                </c:pt>
                <c:pt idx="3513">
                  <c:v>35644.98058507315</c:v>
                </c:pt>
                <c:pt idx="3514">
                  <c:v>35651.177464947861</c:v>
                </c:pt>
                <c:pt idx="3515">
                  <c:v>35885.128334731889</c:v>
                </c:pt>
                <c:pt idx="3516">
                  <c:v>35951.724673598052</c:v>
                </c:pt>
                <c:pt idx="3517">
                  <c:v>35951.724673598052</c:v>
                </c:pt>
                <c:pt idx="3518">
                  <c:v>35951.724673598052</c:v>
                </c:pt>
                <c:pt idx="3519">
                  <c:v>35626.613946409198</c:v>
                </c:pt>
                <c:pt idx="3520">
                  <c:v>35380.014362527218</c:v>
                </c:pt>
                <c:pt idx="3521">
                  <c:v>35533.657735698791</c:v>
                </c:pt>
                <c:pt idx="3522">
                  <c:v>35672.520427437288</c:v>
                </c:pt>
                <c:pt idx="3523">
                  <c:v>35859.151206359144</c:v>
                </c:pt>
                <c:pt idx="3524">
                  <c:v>35859.151206359144</c:v>
                </c:pt>
                <c:pt idx="3525">
                  <c:v>35859.151206359144</c:v>
                </c:pt>
                <c:pt idx="3526">
                  <c:v>35888.955181292804</c:v>
                </c:pt>
                <c:pt idx="3527">
                  <c:v>35802.008804022844</c:v>
                </c:pt>
                <c:pt idx="3528">
                  <c:v>35827.542438681783</c:v>
                </c:pt>
                <c:pt idx="3529">
                  <c:v>35848.75592655973</c:v>
                </c:pt>
                <c:pt idx="3530">
                  <c:v>35693.610756123446</c:v>
                </c:pt>
                <c:pt idx="3531">
                  <c:v>34701.749519785932</c:v>
                </c:pt>
                <c:pt idx="3532">
                  <c:v>34701.749519785932</c:v>
                </c:pt>
                <c:pt idx="3533">
                  <c:v>34629.464387466236</c:v>
                </c:pt>
                <c:pt idx="3534">
                  <c:v>34486.507032581896</c:v>
                </c:pt>
                <c:pt idx="3535">
                  <c:v>34667.866744955259</c:v>
                </c:pt>
                <c:pt idx="3536">
                  <c:v>34920.86000934925</c:v>
                </c:pt>
                <c:pt idx="3537">
                  <c:v>35045.649702592658</c:v>
                </c:pt>
                <c:pt idx="3538">
                  <c:v>35045.649702592658</c:v>
                </c:pt>
                <c:pt idx="3539">
                  <c:v>35045.649702592658</c:v>
                </c:pt>
                <c:pt idx="3540">
                  <c:v>34712.321416402374</c:v>
                </c:pt>
                <c:pt idx="3541">
                  <c:v>34219.291207382354</c:v>
                </c:pt>
                <c:pt idx="3542">
                  <c:v>34037.010176014308</c:v>
                </c:pt>
                <c:pt idx="3543">
                  <c:v>34132.522791749623</c:v>
                </c:pt>
                <c:pt idx="3544">
                  <c:v>34558.597025807663</c:v>
                </c:pt>
                <c:pt idx="3545">
                  <c:v>34558.597025807663</c:v>
                </c:pt>
                <c:pt idx="3546">
                  <c:v>34558.597025807663</c:v>
                </c:pt>
                <c:pt idx="3547">
                  <c:v>34475.693716230518</c:v>
                </c:pt>
                <c:pt idx="3548">
                  <c:v>34337.282080126344</c:v>
                </c:pt>
                <c:pt idx="3549">
                  <c:v>34285.962265075024</c:v>
                </c:pt>
                <c:pt idx="3550">
                  <c:v>34534.228289274921</c:v>
                </c:pt>
                <c:pt idx="3551">
                  <c:v>34547.12302477585</c:v>
                </c:pt>
                <c:pt idx="3552">
                  <c:v>34547.12302477585</c:v>
                </c:pt>
                <c:pt idx="3553">
                  <c:v>34547.12302477585</c:v>
                </c:pt>
                <c:pt idx="3554">
                  <c:v>34721.657854066863</c:v>
                </c:pt>
                <c:pt idx="3555">
                  <c:v>34805.388437548783</c:v>
                </c:pt>
                <c:pt idx="3556">
                  <c:v>34815.435360975171</c:v>
                </c:pt>
                <c:pt idx="3557">
                  <c:v>34670.282847868191</c:v>
                </c:pt>
                <c:pt idx="3558">
                  <c:v>34761.922992788845</c:v>
                </c:pt>
                <c:pt idx="3559">
                  <c:v>34761.922992788845</c:v>
                </c:pt>
                <c:pt idx="3560">
                  <c:v>34761.922992788845</c:v>
                </c:pt>
                <c:pt idx="3561">
                  <c:v>34656.264475471493</c:v>
                </c:pt>
                <c:pt idx="3562">
                  <c:v>33767.615832869538</c:v>
                </c:pt>
                <c:pt idx="3563">
                  <c:v>33800.157684247679</c:v>
                </c:pt>
                <c:pt idx="3564">
                  <c:v>33717.370282028496</c:v>
                </c:pt>
                <c:pt idx="3565">
                  <c:v>33834.603555456895</c:v>
                </c:pt>
                <c:pt idx="3566">
                  <c:v>33836.96757920731</c:v>
                </c:pt>
                <c:pt idx="3567">
                  <c:v>33836.96757920731</c:v>
                </c:pt>
                <c:pt idx="3568">
                  <c:v>33851.671771838526</c:v>
                </c:pt>
                <c:pt idx="3569">
                  <c:v>33860.684102414343</c:v>
                </c:pt>
                <c:pt idx="3570">
                  <c:v>33873.30025470406</c:v>
                </c:pt>
                <c:pt idx="3571">
                  <c:v>33864.26387439511</c:v>
                </c:pt>
                <c:pt idx="3572">
                  <c:v>33973.403994507986</c:v>
                </c:pt>
                <c:pt idx="3573">
                  <c:v>33973.403994507986</c:v>
                </c:pt>
                <c:pt idx="3574">
                  <c:v>33973.403994507986</c:v>
                </c:pt>
                <c:pt idx="3575">
                  <c:v>34020.495548986895</c:v>
                </c:pt>
                <c:pt idx="3576">
                  <c:v>34096.397996196334</c:v>
                </c:pt>
                <c:pt idx="3577">
                  <c:v>34045.888615096708</c:v>
                </c:pt>
                <c:pt idx="3578">
                  <c:v>34057.158144687186</c:v>
                </c:pt>
                <c:pt idx="3579">
                  <c:v>33866.064452052095</c:v>
                </c:pt>
                <c:pt idx="3580">
                  <c:v>33866.064452052095</c:v>
                </c:pt>
                <c:pt idx="3581">
                  <c:v>33866.064452052095</c:v>
                </c:pt>
                <c:pt idx="3582">
                  <c:v>33956.713069449615</c:v>
                </c:pt>
                <c:pt idx="3583">
                  <c:v>34045.083038242941</c:v>
                </c:pt>
                <c:pt idx="3584">
                  <c:v>33944.366107287584</c:v>
                </c:pt>
                <c:pt idx="3585">
                  <c:v>34246.975718366455</c:v>
                </c:pt>
                <c:pt idx="3586">
                  <c:v>34322.482080551279</c:v>
                </c:pt>
                <c:pt idx="3587">
                  <c:v>34322.482080551279</c:v>
                </c:pt>
                <c:pt idx="3588">
                  <c:v>34322.482080551279</c:v>
                </c:pt>
                <c:pt idx="3589">
                  <c:v>34354.769239444453</c:v>
                </c:pt>
                <c:pt idx="3590">
                  <c:v>34486.622500237754</c:v>
                </c:pt>
                <c:pt idx="3591">
                  <c:v>34377.669948371426</c:v>
                </c:pt>
                <c:pt idx="3592">
                  <c:v>33623.373193775231</c:v>
                </c:pt>
                <c:pt idx="3593">
                  <c:v>33741.4746196509</c:v>
                </c:pt>
                <c:pt idx="3594">
                  <c:v>33741.4746196509</c:v>
                </c:pt>
                <c:pt idx="3595">
                  <c:v>33741.4746196509</c:v>
                </c:pt>
                <c:pt idx="3596">
                  <c:v>33722.215998182241</c:v>
                </c:pt>
                <c:pt idx="3597">
                  <c:v>33718.510601088361</c:v>
                </c:pt>
                <c:pt idx="3598">
                  <c:v>33930.3980588907</c:v>
                </c:pt>
                <c:pt idx="3599">
                  <c:v>33596.097454799557</c:v>
                </c:pt>
                <c:pt idx="3600">
                  <c:v>33785.957400540996</c:v>
                </c:pt>
                <c:pt idx="3601">
                  <c:v>33785.957400540996</c:v>
                </c:pt>
                <c:pt idx="3602">
                  <c:v>33785.957400540996</c:v>
                </c:pt>
                <c:pt idx="3603">
                  <c:v>33860.282790366873</c:v>
                </c:pt>
                <c:pt idx="3604">
                  <c:v>34005.752998688018</c:v>
                </c:pt>
                <c:pt idx="3605">
                  <c:v>33940.779566663543</c:v>
                </c:pt>
                <c:pt idx="3606">
                  <c:v>33776.161015832702</c:v>
                </c:pt>
                <c:pt idx="3607">
                  <c:v>33784.95092397547</c:v>
                </c:pt>
                <c:pt idx="3608">
                  <c:v>33784.95092397547</c:v>
                </c:pt>
                <c:pt idx="3609">
                  <c:v>33784.95092397547</c:v>
                </c:pt>
                <c:pt idx="3610">
                  <c:v>33486.51257353706</c:v>
                </c:pt>
                <c:pt idx="3611">
                  <c:v>33785.270197359765</c:v>
                </c:pt>
                <c:pt idx="3612">
                  <c:v>34008.672593718191</c:v>
                </c:pt>
                <c:pt idx="3613">
                  <c:v>33909.096220623956</c:v>
                </c:pt>
                <c:pt idx="3614">
                  <c:v>34143.815662845038</c:v>
                </c:pt>
                <c:pt idx="3615">
                  <c:v>34143.815662845038</c:v>
                </c:pt>
                <c:pt idx="3616">
                  <c:v>34143.815662845038</c:v>
                </c:pt>
                <c:pt idx="3617">
                  <c:v>33978.1184569385</c:v>
                </c:pt>
                <c:pt idx="3618">
                  <c:v>33813.534906975598</c:v>
                </c:pt>
                <c:pt idx="3619">
                  <c:v>33946.993886035292</c:v>
                </c:pt>
                <c:pt idx="3620">
                  <c:v>34153.804064838107</c:v>
                </c:pt>
                <c:pt idx="3621">
                  <c:v>34190.010512527238</c:v>
                </c:pt>
                <c:pt idx="3622">
                  <c:v>34190.391389244352</c:v>
                </c:pt>
                <c:pt idx="3623">
                  <c:v>33198.530152906838</c:v>
                </c:pt>
                <c:pt idx="3624">
                  <c:v>33296.846603998769</c:v>
                </c:pt>
                <c:pt idx="3625">
                  <c:v>33394.459306534583</c:v>
                </c:pt>
                <c:pt idx="3626">
                  <c:v>33386.678731460757</c:v>
                </c:pt>
                <c:pt idx="3627">
                  <c:v>33450.292373648539</c:v>
                </c:pt>
                <c:pt idx="3628">
                  <c:v>33515.041435590363</c:v>
                </c:pt>
                <c:pt idx="3629">
                  <c:v>33515.041435590363</c:v>
                </c:pt>
                <c:pt idx="3630">
                  <c:v>33515.041435590363</c:v>
                </c:pt>
                <c:pt idx="3631">
                  <c:v>33543.184686184657</c:v>
                </c:pt>
                <c:pt idx="3632">
                  <c:v>33571.241212151726</c:v>
                </c:pt>
                <c:pt idx="3633">
                  <c:v>33698.871685567261</c:v>
                </c:pt>
                <c:pt idx="3634">
                  <c:v>33795.606318672988</c:v>
                </c:pt>
                <c:pt idx="3635">
                  <c:v>33896.167848922705</c:v>
                </c:pt>
                <c:pt idx="3636">
                  <c:v>33896.167848922705</c:v>
                </c:pt>
                <c:pt idx="3637">
                  <c:v>33896.167848922705</c:v>
                </c:pt>
                <c:pt idx="3638">
                  <c:v>33828.376191148222</c:v>
                </c:pt>
                <c:pt idx="3639">
                  <c:v>33880.668771632023</c:v>
                </c:pt>
                <c:pt idx="3640">
                  <c:v>33802.513522522997</c:v>
                </c:pt>
                <c:pt idx="3641">
                  <c:v>33757.269534223364</c:v>
                </c:pt>
                <c:pt idx="3642">
                  <c:v>33902.34578849173</c:v>
                </c:pt>
                <c:pt idx="3643">
                  <c:v>33902.34578849173</c:v>
                </c:pt>
                <c:pt idx="3644">
                  <c:v>33902.34578849173</c:v>
                </c:pt>
                <c:pt idx="3645">
                  <c:v>33948.191591678056</c:v>
                </c:pt>
                <c:pt idx="3646">
                  <c:v>34037.109034576897</c:v>
                </c:pt>
                <c:pt idx="3647">
                  <c:v>33990.743344278904</c:v>
                </c:pt>
                <c:pt idx="3648">
                  <c:v>33948.595842254297</c:v>
                </c:pt>
                <c:pt idx="3649">
                  <c:v>34058.0773479579</c:v>
                </c:pt>
                <c:pt idx="3650">
                  <c:v>34058.0773479579</c:v>
                </c:pt>
                <c:pt idx="3651">
                  <c:v>34058.0773479579</c:v>
                </c:pt>
                <c:pt idx="3652">
                  <c:v>34101.28342488152</c:v>
                </c:pt>
                <c:pt idx="3653">
                  <c:v>34171.248687071515</c:v>
                </c:pt>
                <c:pt idx="3654">
                  <c:v>33258.693451536907</c:v>
                </c:pt>
                <c:pt idx="3655">
                  <c:v>33261.388403467288</c:v>
                </c:pt>
                <c:pt idx="3656">
                  <c:v>33207.50329118425</c:v>
                </c:pt>
                <c:pt idx="3657">
                  <c:v>33207.50329118425</c:v>
                </c:pt>
                <c:pt idx="3658">
                  <c:v>33207.50329118425</c:v>
                </c:pt>
                <c:pt idx="3659">
                  <c:v>33389.672348588967</c:v>
                </c:pt>
                <c:pt idx="3660">
                  <c:v>33335.960719958857</c:v>
                </c:pt>
                <c:pt idx="3661">
                  <c:v>33233.446973631661</c:v>
                </c:pt>
                <c:pt idx="3662">
                  <c:v>32933.938176474607</c:v>
                </c:pt>
                <c:pt idx="3663">
                  <c:v>32893.644820473215</c:v>
                </c:pt>
                <c:pt idx="3664">
                  <c:v>32893.644820473215</c:v>
                </c:pt>
                <c:pt idx="3665">
                  <c:v>32893.644820473215</c:v>
                </c:pt>
                <c:pt idx="3666">
                  <c:v>32900.4008461829</c:v>
                </c:pt>
                <c:pt idx="3667">
                  <c:v>32888.531697573628</c:v>
                </c:pt>
                <c:pt idx="3668">
                  <c:v>32848.232721913962</c:v>
                </c:pt>
                <c:pt idx="3669">
                  <c:v>32896.340272664514</c:v>
                </c:pt>
                <c:pt idx="3670">
                  <c:v>32613.76268350274</c:v>
                </c:pt>
                <c:pt idx="3671">
                  <c:v>32613.76268350274</c:v>
                </c:pt>
                <c:pt idx="3672">
                  <c:v>32613.76268350274</c:v>
                </c:pt>
                <c:pt idx="3673">
                  <c:v>32347.07244487432</c:v>
                </c:pt>
                <c:pt idx="3674">
                  <c:v>32555.837215726293</c:v>
                </c:pt>
                <c:pt idx="3675">
                  <c:v>32796.297233868623</c:v>
                </c:pt>
                <c:pt idx="3676">
                  <c:v>32723.412710673907</c:v>
                </c:pt>
                <c:pt idx="3677">
                  <c:v>32722.326947840167</c:v>
                </c:pt>
                <c:pt idx="3678">
                  <c:v>32722.326947840167</c:v>
                </c:pt>
                <c:pt idx="3679">
                  <c:v>32722.326947840167</c:v>
                </c:pt>
                <c:pt idx="3680">
                  <c:v>32542.791319915072</c:v>
                </c:pt>
                <c:pt idx="3681">
                  <c:v>32325.275628160674</c:v>
                </c:pt>
                <c:pt idx="3682">
                  <c:v>32532.183898906918</c:v>
                </c:pt>
                <c:pt idx="3683">
                  <c:v>32337.290091605351</c:v>
                </c:pt>
                <c:pt idx="3684">
                  <c:v>31273.878397092441</c:v>
                </c:pt>
                <c:pt idx="3685">
                  <c:v>31273.878397092441</c:v>
                </c:pt>
                <c:pt idx="3686">
                  <c:v>31273.878397092441</c:v>
                </c:pt>
                <c:pt idx="3687">
                  <c:v>30987.14947230681</c:v>
                </c:pt>
                <c:pt idx="3688">
                  <c:v>31162.337490948961</c:v>
                </c:pt>
                <c:pt idx="3689">
                  <c:v>31141.129650546118</c:v>
                </c:pt>
                <c:pt idx="3690">
                  <c:v>31342.769087855999</c:v>
                </c:pt>
                <c:pt idx="3691">
                  <c:v>31304.261988610044</c:v>
                </c:pt>
                <c:pt idx="3692">
                  <c:v>31304.261988610044</c:v>
                </c:pt>
                <c:pt idx="3693">
                  <c:v>31304.261988610044</c:v>
                </c:pt>
                <c:pt idx="3694">
                  <c:v>31333.385282665909</c:v>
                </c:pt>
                <c:pt idx="3695">
                  <c:v>31339.633473025126</c:v>
                </c:pt>
                <c:pt idx="3696">
                  <c:v>31425.356772463892</c:v>
                </c:pt>
                <c:pt idx="3697">
                  <c:v>31739.931821588314</c:v>
                </c:pt>
                <c:pt idx="3698">
                  <c:v>31759.051956517644</c:v>
                </c:pt>
                <c:pt idx="3699">
                  <c:v>31759.051956517644</c:v>
                </c:pt>
                <c:pt idx="3700">
                  <c:v>31759.051956517644</c:v>
                </c:pt>
                <c:pt idx="3701">
                  <c:v>31766.323826644126</c:v>
                </c:pt>
                <c:pt idx="3702">
                  <c:v>31845.337474551096</c:v>
                </c:pt>
                <c:pt idx="3703">
                  <c:v>31891.235840999794</c:v>
                </c:pt>
                <c:pt idx="3704">
                  <c:v>31824.825212572137</c:v>
                </c:pt>
                <c:pt idx="3705">
                  <c:v>31984.90662937739</c:v>
                </c:pt>
                <c:pt idx="3706">
                  <c:v>31984.90662937739</c:v>
                </c:pt>
                <c:pt idx="3707">
                  <c:v>31984.90662937739</c:v>
                </c:pt>
                <c:pt idx="3708">
                  <c:v>32016.101508813019</c:v>
                </c:pt>
                <c:pt idx="3709">
                  <c:v>32086.03331885568</c:v>
                </c:pt>
                <c:pt idx="3710">
                  <c:v>32123.00092128367</c:v>
                </c:pt>
                <c:pt idx="3711">
                  <c:v>32169.984343661148</c:v>
                </c:pt>
                <c:pt idx="3712">
                  <c:v>32232.502847834934</c:v>
                </c:pt>
                <c:pt idx="3713">
                  <c:v>32232.502847834934</c:v>
                </c:pt>
                <c:pt idx="3714">
                  <c:v>32233.120744914529</c:v>
                </c:pt>
                <c:pt idx="3715">
                  <c:v>31441.441048644854</c:v>
                </c:pt>
                <c:pt idx="3716">
                  <c:v>31650.940715396951</c:v>
                </c:pt>
                <c:pt idx="3717">
                  <c:v>31627.383553241292</c:v>
                </c:pt>
                <c:pt idx="3718">
                  <c:v>32029.471968568712</c:v>
                </c:pt>
                <c:pt idx="3719">
                  <c:v>32085.275316105948</c:v>
                </c:pt>
                <c:pt idx="3720">
                  <c:v>32085.275316105948</c:v>
                </c:pt>
                <c:pt idx="3721">
                  <c:v>32085.275316105948</c:v>
                </c:pt>
                <c:pt idx="3722">
                  <c:v>32044.782094393257</c:v>
                </c:pt>
                <c:pt idx="3723">
                  <c:v>32015.489638632949</c:v>
                </c:pt>
                <c:pt idx="3724">
                  <c:v>32037.128267769906</c:v>
                </c:pt>
                <c:pt idx="3725">
                  <c:v>32228.131383903372</c:v>
                </c:pt>
                <c:pt idx="3726">
                  <c:v>32306.411581346987</c:v>
                </c:pt>
                <c:pt idx="3727">
                  <c:v>32306.411581346987</c:v>
                </c:pt>
                <c:pt idx="3728">
                  <c:v>32306.411581346987</c:v>
                </c:pt>
                <c:pt idx="3729">
                  <c:v>32233.527993755353</c:v>
                </c:pt>
                <c:pt idx="3730">
                  <c:v>32231.613966863082</c:v>
                </c:pt>
                <c:pt idx="3731">
                  <c:v>32131.922551811993</c:v>
                </c:pt>
                <c:pt idx="3732">
                  <c:v>32124.799547220704</c:v>
                </c:pt>
                <c:pt idx="3733">
                  <c:v>32096.379700805264</c:v>
                </c:pt>
                <c:pt idx="3734">
                  <c:v>32096.379700805264</c:v>
                </c:pt>
                <c:pt idx="3735">
                  <c:v>32096.379700805264</c:v>
                </c:pt>
                <c:pt idx="3736">
                  <c:v>32046.267302214597</c:v>
                </c:pt>
                <c:pt idx="3737">
                  <c:v>31970.249710621665</c:v>
                </c:pt>
                <c:pt idx="3738">
                  <c:v>32018.444542357935</c:v>
                </c:pt>
                <c:pt idx="3739">
                  <c:v>32088.971570151389</c:v>
                </c:pt>
                <c:pt idx="3740">
                  <c:v>31472.110187841732</c:v>
                </c:pt>
                <c:pt idx="3741">
                  <c:v>31472.110187841732</c:v>
                </c:pt>
                <c:pt idx="3742">
                  <c:v>31472.110187841732</c:v>
                </c:pt>
                <c:pt idx="3743">
                  <c:v>31696.282881498712</c:v>
                </c:pt>
                <c:pt idx="3744">
                  <c:v>31487.57363546022</c:v>
                </c:pt>
                <c:pt idx="3745">
                  <c:v>30576.299805830877</c:v>
                </c:pt>
                <c:pt idx="3746">
                  <c:v>30623.856653733877</c:v>
                </c:pt>
                <c:pt idx="3747">
                  <c:v>30624.527316194595</c:v>
                </c:pt>
                <c:pt idx="3748">
                  <c:v>30624.527316194595</c:v>
                </c:pt>
                <c:pt idx="3749">
                  <c:v>30624.527316194595</c:v>
                </c:pt>
                <c:pt idx="3750">
                  <c:v>30893.287861676246</c:v>
                </c:pt>
                <c:pt idx="3751">
                  <c:v>31383.887174899202</c:v>
                </c:pt>
                <c:pt idx="3752">
                  <c:v>31497.317330637699</c:v>
                </c:pt>
                <c:pt idx="3753">
                  <c:v>31393.766750181498</c:v>
                </c:pt>
                <c:pt idx="3754">
                  <c:v>31436.433704634001</c:v>
                </c:pt>
                <c:pt idx="3755">
                  <c:v>31436.433704634001</c:v>
                </c:pt>
                <c:pt idx="3756">
                  <c:v>31436.433704634001</c:v>
                </c:pt>
                <c:pt idx="3757">
                  <c:v>31237.612093483021</c:v>
                </c:pt>
                <c:pt idx="3758">
                  <c:v>30997.368304513857</c:v>
                </c:pt>
                <c:pt idx="3759">
                  <c:v>31108.125311176398</c:v>
                </c:pt>
                <c:pt idx="3760">
                  <c:v>31037.42805235046</c:v>
                </c:pt>
                <c:pt idx="3761">
                  <c:v>30992.804300542477</c:v>
                </c:pt>
                <c:pt idx="3762">
                  <c:v>30992.804300542477</c:v>
                </c:pt>
                <c:pt idx="3763">
                  <c:v>30992.804300542477</c:v>
                </c:pt>
                <c:pt idx="3764">
                  <c:v>30690.218762803896</c:v>
                </c:pt>
                <c:pt idx="3765">
                  <c:v>30970.333606789194</c:v>
                </c:pt>
                <c:pt idx="3766">
                  <c:v>31098.802267030187</c:v>
                </c:pt>
                <c:pt idx="3767">
                  <c:v>31156.13695185375</c:v>
                </c:pt>
                <c:pt idx="3768">
                  <c:v>31173.478457681151</c:v>
                </c:pt>
                <c:pt idx="3769">
                  <c:v>31173.478457681151</c:v>
                </c:pt>
                <c:pt idx="3770">
                  <c:v>31173.478457681151</c:v>
                </c:pt>
                <c:pt idx="3771">
                  <c:v>31344.063160884209</c:v>
                </c:pt>
                <c:pt idx="3772">
                  <c:v>31383.861658201477</c:v>
                </c:pt>
                <c:pt idx="3773">
                  <c:v>31397.681855521285</c:v>
                </c:pt>
                <c:pt idx="3774">
                  <c:v>31301.645452052981</c:v>
                </c:pt>
                <c:pt idx="3775">
                  <c:v>31196.393982236907</c:v>
                </c:pt>
                <c:pt idx="3776">
                  <c:v>30204.532745899385</c:v>
                </c:pt>
                <c:pt idx="3777">
                  <c:v>30204.532745899385</c:v>
                </c:pt>
                <c:pt idx="3778">
                  <c:v>30311.138738090052</c:v>
                </c:pt>
                <c:pt idx="3779">
                  <c:v>30357.27077569249</c:v>
                </c:pt>
                <c:pt idx="3780">
                  <c:v>30177.678072501618</c:v>
                </c:pt>
                <c:pt idx="3781">
                  <c:v>29892.318250424825</c:v>
                </c:pt>
                <c:pt idx="3782">
                  <c:v>29851.796223804547</c:v>
                </c:pt>
                <c:pt idx="3783">
                  <c:v>29851.796223804547</c:v>
                </c:pt>
                <c:pt idx="3784">
                  <c:v>29851.796223804547</c:v>
                </c:pt>
                <c:pt idx="3785">
                  <c:v>29719.118422898042</c:v>
                </c:pt>
                <c:pt idx="3786">
                  <c:v>29833.186937611179</c:v>
                </c:pt>
                <c:pt idx="3787">
                  <c:v>29961.542732750906</c:v>
                </c:pt>
                <c:pt idx="3788">
                  <c:v>29799.26142961665</c:v>
                </c:pt>
                <c:pt idx="3789">
                  <c:v>29778.553922849205</c:v>
                </c:pt>
                <c:pt idx="3790">
                  <c:v>29778.553922849205</c:v>
                </c:pt>
                <c:pt idx="3791">
                  <c:v>29778.553922849205</c:v>
                </c:pt>
                <c:pt idx="3792">
                  <c:v>29861.063744487557</c:v>
                </c:pt>
                <c:pt idx="3793">
                  <c:v>29542.929047734622</c:v>
                </c:pt>
                <c:pt idx="3794">
                  <c:v>29307.188291105322</c:v>
                </c:pt>
                <c:pt idx="3795">
                  <c:v>29328.847768611864</c:v>
                </c:pt>
                <c:pt idx="3796">
                  <c:v>29145.150636651852</c:v>
                </c:pt>
                <c:pt idx="3797">
                  <c:v>29145.150636651852</c:v>
                </c:pt>
                <c:pt idx="3798">
                  <c:v>29145.150636651852</c:v>
                </c:pt>
                <c:pt idx="3799">
                  <c:v>28862.279171181257</c:v>
                </c:pt>
                <c:pt idx="3800">
                  <c:v>28712.436896767776</c:v>
                </c:pt>
                <c:pt idx="3801">
                  <c:v>28835.998284833691</c:v>
                </c:pt>
                <c:pt idx="3802">
                  <c:v>28887.48409469131</c:v>
                </c:pt>
                <c:pt idx="3803">
                  <c:v>28939.987674783089</c:v>
                </c:pt>
                <c:pt idx="3804">
                  <c:v>28939.987674783089</c:v>
                </c:pt>
                <c:pt idx="3805">
                  <c:v>28939.987674783089</c:v>
                </c:pt>
                <c:pt idx="3806">
                  <c:v>29215.954477451916</c:v>
                </c:pt>
                <c:pt idx="3807">
                  <c:v>28276.625280222128</c:v>
                </c:pt>
                <c:pt idx="3808">
                  <c:v>28497.059388555383</c:v>
                </c:pt>
                <c:pt idx="3809">
                  <c:v>28069.918390233295</c:v>
                </c:pt>
                <c:pt idx="3810">
                  <c:v>28104.277935237224</c:v>
                </c:pt>
                <c:pt idx="3811">
                  <c:v>28104.277935237224</c:v>
                </c:pt>
                <c:pt idx="3812">
                  <c:v>28104.277935237224</c:v>
                </c:pt>
                <c:pt idx="3813">
                  <c:v>28102.874407597137</c:v>
                </c:pt>
                <c:pt idx="3814">
                  <c:v>28123.34341720066</c:v>
                </c:pt>
                <c:pt idx="3815">
                  <c:v>28443.575772922733</c:v>
                </c:pt>
                <c:pt idx="3816">
                  <c:v>28222.982189887345</c:v>
                </c:pt>
                <c:pt idx="3817">
                  <c:v>27923.203599892626</c:v>
                </c:pt>
                <c:pt idx="3818">
                  <c:v>27923.203599892626</c:v>
                </c:pt>
                <c:pt idx="3819">
                  <c:v>27923.203599892626</c:v>
                </c:pt>
                <c:pt idx="3820">
                  <c:v>27726.179709148069</c:v>
                </c:pt>
                <c:pt idx="3821">
                  <c:v>27979.877857890144</c:v>
                </c:pt>
                <c:pt idx="3822">
                  <c:v>27948.882308796728</c:v>
                </c:pt>
                <c:pt idx="3823">
                  <c:v>27524.119946777628</c:v>
                </c:pt>
                <c:pt idx="3824">
                  <c:v>27445.971263495143</c:v>
                </c:pt>
                <c:pt idx="3825">
                  <c:v>27445.971263495143</c:v>
                </c:pt>
                <c:pt idx="3826">
                  <c:v>27445.971263495143</c:v>
                </c:pt>
                <c:pt idx="3827">
                  <c:v>27360.817393053028</c:v>
                </c:pt>
                <c:pt idx="3828">
                  <c:v>27321.534646697302</c:v>
                </c:pt>
                <c:pt idx="3829">
                  <c:v>27255.923893750685</c:v>
                </c:pt>
                <c:pt idx="3830">
                  <c:v>27308.764953403497</c:v>
                </c:pt>
                <c:pt idx="3831">
                  <c:v>27768.011264959539</c:v>
                </c:pt>
                <c:pt idx="3832">
                  <c:v>27768.011264959539</c:v>
                </c:pt>
                <c:pt idx="3833">
                  <c:v>27768.011264959539</c:v>
                </c:pt>
                <c:pt idx="3834">
                  <c:v>27797.315680287789</c:v>
                </c:pt>
                <c:pt idx="3835">
                  <c:v>26651.069820500892</c:v>
                </c:pt>
                <c:pt idx="3836">
                  <c:v>26867.055154029502</c:v>
                </c:pt>
                <c:pt idx="3837">
                  <c:v>26624.595832826926</c:v>
                </c:pt>
                <c:pt idx="3838">
                  <c:v>26284.00787927636</c:v>
                </c:pt>
                <c:pt idx="3839">
                  <c:v>26284.00787927636</c:v>
                </c:pt>
                <c:pt idx="3840">
                  <c:v>26284.00787927636</c:v>
                </c:pt>
                <c:pt idx="3841">
                  <c:v>25973.833456373959</c:v>
                </c:pt>
                <c:pt idx="3842">
                  <c:v>25817.448121993148</c:v>
                </c:pt>
                <c:pt idx="3843">
                  <c:v>26339.526492520243</c:v>
                </c:pt>
                <c:pt idx="3844">
                  <c:v>26242.350760455065</c:v>
                </c:pt>
                <c:pt idx="3845">
                  <c:v>26212.581700175913</c:v>
                </c:pt>
                <c:pt idx="3846">
                  <c:v>26212.581700175913</c:v>
                </c:pt>
                <c:pt idx="3847">
                  <c:v>26212.581700175913</c:v>
                </c:pt>
                <c:pt idx="3848">
                  <c:v>26277.369241357701</c:v>
                </c:pt>
                <c:pt idx="3849">
                  <c:v>26399.841490049359</c:v>
                </c:pt>
                <c:pt idx="3850">
                  <c:v>26757.124800848604</c:v>
                </c:pt>
                <c:pt idx="3851">
                  <c:v>27039.341561116831</c:v>
                </c:pt>
                <c:pt idx="3852">
                  <c:v>27151.736262577338</c:v>
                </c:pt>
                <c:pt idx="3853">
                  <c:v>27151.736262577338</c:v>
                </c:pt>
                <c:pt idx="3854">
                  <c:v>27151.736262577338</c:v>
                </c:pt>
                <c:pt idx="3855">
                  <c:v>27116.861486452228</c:v>
                </c:pt>
                <c:pt idx="3856">
                  <c:v>27159.724024729399</c:v>
                </c:pt>
                <c:pt idx="3857">
                  <c:v>27079.095495211666</c:v>
                </c:pt>
                <c:pt idx="3858">
                  <c:v>27254.873215426865</c:v>
                </c:pt>
                <c:pt idx="3859">
                  <c:v>27265.606457047834</c:v>
                </c:pt>
                <c:pt idx="3860">
                  <c:v>27265.606457047834</c:v>
                </c:pt>
                <c:pt idx="3861">
                  <c:v>27265.606457047834</c:v>
                </c:pt>
                <c:pt idx="3862">
                  <c:v>27384.719803384287</c:v>
                </c:pt>
                <c:pt idx="3863">
                  <c:v>27621.382933480301</c:v>
                </c:pt>
                <c:pt idx="3864">
                  <c:v>27627.990796919483</c:v>
                </c:pt>
                <c:pt idx="3865">
                  <c:v>27449.559838836107</c:v>
                </c:pt>
                <c:pt idx="3866">
                  <c:v>26503.849821951218</c:v>
                </c:pt>
                <c:pt idx="3867">
                  <c:v>26503.849821951218</c:v>
                </c:pt>
                <c:pt idx="3868">
                  <c:v>26503.849821951218</c:v>
                </c:pt>
                <c:pt idx="3869">
                  <c:v>26638.581347405612</c:v>
                </c:pt>
                <c:pt idx="3870">
                  <c:v>26587.506929002422</c:v>
                </c:pt>
                <c:pt idx="3871">
                  <c:v>26419.698815519747</c:v>
                </c:pt>
                <c:pt idx="3872">
                  <c:v>26458.467874152604</c:v>
                </c:pt>
                <c:pt idx="3873">
                  <c:v>26622.354005427213</c:v>
                </c:pt>
                <c:pt idx="3874">
                  <c:v>26622.354005427213</c:v>
                </c:pt>
                <c:pt idx="3875">
                  <c:v>26622.354005427213</c:v>
                </c:pt>
                <c:pt idx="3876">
                  <c:v>26313.633201674078</c:v>
                </c:pt>
                <c:pt idx="3877">
                  <c:v>26166.510520807533</c:v>
                </c:pt>
                <c:pt idx="3878">
                  <c:v>26257.123838415569</c:v>
                </c:pt>
                <c:pt idx="3879">
                  <c:v>26175.397752754783</c:v>
                </c:pt>
                <c:pt idx="3880">
                  <c:v>26161.614835314092</c:v>
                </c:pt>
                <c:pt idx="3881">
                  <c:v>26161.614835314092</c:v>
                </c:pt>
                <c:pt idx="3882">
                  <c:v>26161.614835314092</c:v>
                </c:pt>
                <c:pt idx="3883">
                  <c:v>26141.45286360896</c:v>
                </c:pt>
                <c:pt idx="3884">
                  <c:v>26199.745427934991</c:v>
                </c:pt>
                <c:pt idx="3885">
                  <c:v>26302.027138106016</c:v>
                </c:pt>
                <c:pt idx="3886">
                  <c:v>26193.100974997353</c:v>
                </c:pt>
                <c:pt idx="3887">
                  <c:v>25973.98442230808</c:v>
                </c:pt>
                <c:pt idx="3888">
                  <c:v>25973.98442230808</c:v>
                </c:pt>
                <c:pt idx="3889">
                  <c:v>25973.98442230808</c:v>
                </c:pt>
                <c:pt idx="3890">
                  <c:v>25990.639980079039</c:v>
                </c:pt>
                <c:pt idx="3891">
                  <c:v>25868.019779342623</c:v>
                </c:pt>
                <c:pt idx="3892">
                  <c:v>26083.807696179523</c:v>
                </c:pt>
                <c:pt idx="3893">
                  <c:v>26418.704224142701</c:v>
                </c:pt>
                <c:pt idx="3894">
                  <c:v>26081.512263022363</c:v>
                </c:pt>
                <c:pt idx="3895">
                  <c:v>26081.854452463256</c:v>
                </c:pt>
                <c:pt idx="3896">
                  <c:v>25089.993216125738</c:v>
                </c:pt>
                <c:pt idx="3897">
                  <c:v>25079.926859947493</c:v>
                </c:pt>
                <c:pt idx="3898">
                  <c:v>25121.383477448446</c:v>
                </c:pt>
                <c:pt idx="3899">
                  <c:v>25260.319047267316</c:v>
                </c:pt>
                <c:pt idx="3900">
                  <c:v>25163.631892272424</c:v>
                </c:pt>
                <c:pt idx="3901">
                  <c:v>24931.728138570659</c:v>
                </c:pt>
                <c:pt idx="3902">
                  <c:v>24931.728138570659</c:v>
                </c:pt>
                <c:pt idx="3903">
                  <c:v>24931.728138570659</c:v>
                </c:pt>
                <c:pt idx="3904">
                  <c:v>24507.013656557298</c:v>
                </c:pt>
                <c:pt idx="3905">
                  <c:v>24534.949691564681</c:v>
                </c:pt>
                <c:pt idx="3906">
                  <c:v>24508.587869519084</c:v>
                </c:pt>
                <c:pt idx="3907">
                  <c:v>24480.698567038842</c:v>
                </c:pt>
                <c:pt idx="3908">
                  <c:v>24878.477114617144</c:v>
                </c:pt>
                <c:pt idx="3909">
                  <c:v>24878.477114617144</c:v>
                </c:pt>
                <c:pt idx="3910">
                  <c:v>24878.477114617144</c:v>
                </c:pt>
                <c:pt idx="3911">
                  <c:v>24871.281263896512</c:v>
                </c:pt>
                <c:pt idx="3912">
                  <c:v>24929.308947638932</c:v>
                </c:pt>
                <c:pt idx="3913">
                  <c:v>24671.645593390283</c:v>
                </c:pt>
                <c:pt idx="3914">
                  <c:v>24444.14538877616</c:v>
                </c:pt>
                <c:pt idx="3915">
                  <c:v>24617.011696109592</c:v>
                </c:pt>
                <c:pt idx="3916">
                  <c:v>24617.011696109592</c:v>
                </c:pt>
                <c:pt idx="3917">
                  <c:v>24617.011696109592</c:v>
                </c:pt>
                <c:pt idx="3918">
                  <c:v>24792.014770767586</c:v>
                </c:pt>
                <c:pt idx="3919">
                  <c:v>24771.665980884038</c:v>
                </c:pt>
                <c:pt idx="3920">
                  <c:v>24761.04884484463</c:v>
                </c:pt>
                <c:pt idx="3921">
                  <c:v>24869.921195731506</c:v>
                </c:pt>
                <c:pt idx="3922">
                  <c:v>25091.482100980829</c:v>
                </c:pt>
                <c:pt idx="3923">
                  <c:v>25091.482100980829</c:v>
                </c:pt>
                <c:pt idx="3924">
                  <c:v>25091.482100980829</c:v>
                </c:pt>
                <c:pt idx="3925">
                  <c:v>25151.512719162965</c:v>
                </c:pt>
                <c:pt idx="3926">
                  <c:v>25070.148833092109</c:v>
                </c:pt>
                <c:pt idx="3927">
                  <c:v>24018.792122349852</c:v>
                </c:pt>
                <c:pt idx="3928">
                  <c:v>24112.185832886709</c:v>
                </c:pt>
                <c:pt idx="3929">
                  <c:v>24019.934538864949</c:v>
                </c:pt>
                <c:pt idx="3930">
                  <c:v>24019.934538864949</c:v>
                </c:pt>
                <c:pt idx="3931">
                  <c:v>24019.934538864949</c:v>
                </c:pt>
                <c:pt idx="3932">
                  <c:v>24089.371365629901</c:v>
                </c:pt>
                <c:pt idx="3933">
                  <c:v>24089.053385927873</c:v>
                </c:pt>
                <c:pt idx="3934">
                  <c:v>24022.715987151569</c:v>
                </c:pt>
                <c:pt idx="3935">
                  <c:v>23713.544112851247</c:v>
                </c:pt>
                <c:pt idx="3936">
                  <c:v>23480.562810380427</c:v>
                </c:pt>
                <c:pt idx="3937">
                  <c:v>23480.562810380427</c:v>
                </c:pt>
                <c:pt idx="3938">
                  <c:v>23480.562810380427</c:v>
                </c:pt>
                <c:pt idx="3939">
                  <c:v>23208.356402609734</c:v>
                </c:pt>
                <c:pt idx="3940">
                  <c:v>23141.00459191154</c:v>
                </c:pt>
                <c:pt idx="3941">
                  <c:v>23258.303567267394</c:v>
                </c:pt>
                <c:pt idx="3942">
                  <c:v>22677.093679018701</c:v>
                </c:pt>
                <c:pt idx="3943">
                  <c:v>22798.783952660924</c:v>
                </c:pt>
                <c:pt idx="3944">
                  <c:v>22798.783952660924</c:v>
                </c:pt>
                <c:pt idx="3945">
                  <c:v>22798.783952660924</c:v>
                </c:pt>
                <c:pt idx="3946">
                  <c:v>22812.452507604059</c:v>
                </c:pt>
                <c:pt idx="3947">
                  <c:v>22980.421051666603</c:v>
                </c:pt>
                <c:pt idx="3948">
                  <c:v>22939.371814954644</c:v>
                </c:pt>
                <c:pt idx="3949">
                  <c:v>22969.301730936484</c:v>
                </c:pt>
                <c:pt idx="3950">
                  <c:v>23476.044264012933</c:v>
                </c:pt>
                <c:pt idx="3951">
                  <c:v>23476.044264012933</c:v>
                </c:pt>
                <c:pt idx="3952">
                  <c:v>23476.044264012933</c:v>
                </c:pt>
                <c:pt idx="3953">
                  <c:v>23523.506486982817</c:v>
                </c:pt>
                <c:pt idx="3954">
                  <c:v>23519.447270703422</c:v>
                </c:pt>
                <c:pt idx="3955">
                  <c:v>23591.667967048623</c:v>
                </c:pt>
                <c:pt idx="3956">
                  <c:v>23355.754354294968</c:v>
                </c:pt>
                <c:pt idx="3957">
                  <c:v>22535.256623230347</c:v>
                </c:pt>
                <c:pt idx="3958">
                  <c:v>22535.256623230347</c:v>
                </c:pt>
                <c:pt idx="3959">
                  <c:v>22535.256623230347</c:v>
                </c:pt>
                <c:pt idx="3960">
                  <c:v>22481.172458039724</c:v>
                </c:pt>
                <c:pt idx="3961">
                  <c:v>22491.732089554989</c:v>
                </c:pt>
                <c:pt idx="3962">
                  <c:v>22601.216443351241</c:v>
                </c:pt>
                <c:pt idx="3963">
                  <c:v>22677.570132861812</c:v>
                </c:pt>
                <c:pt idx="3964">
                  <c:v>22644.544333925925</c:v>
                </c:pt>
                <c:pt idx="3965">
                  <c:v>22644.544333925925</c:v>
                </c:pt>
                <c:pt idx="3966">
                  <c:v>22644.544333925925</c:v>
                </c:pt>
                <c:pt idx="3967">
                  <c:v>22705.750952142425</c:v>
                </c:pt>
                <c:pt idx="3968">
                  <c:v>22639.763044610288</c:v>
                </c:pt>
                <c:pt idx="3969">
                  <c:v>22502.197278819953</c:v>
                </c:pt>
                <c:pt idx="3970">
                  <c:v>22517.080682144107</c:v>
                </c:pt>
                <c:pt idx="3971">
                  <c:v>22709.803925360968</c:v>
                </c:pt>
                <c:pt idx="3972">
                  <c:v>22709.803925360968</c:v>
                </c:pt>
                <c:pt idx="3973">
                  <c:v>22709.803925360968</c:v>
                </c:pt>
                <c:pt idx="3974">
                  <c:v>22549.59216321657</c:v>
                </c:pt>
                <c:pt idx="3975">
                  <c:v>22824.198841621004</c:v>
                </c:pt>
                <c:pt idx="3976">
                  <c:v>22856.590259891065</c:v>
                </c:pt>
                <c:pt idx="3977">
                  <c:v>23013.594921177086</c:v>
                </c:pt>
                <c:pt idx="3978">
                  <c:v>22960.232608225506</c:v>
                </c:pt>
                <c:pt idx="3979">
                  <c:v>22960.232608225506</c:v>
                </c:pt>
                <c:pt idx="3980">
                  <c:v>22960.232608225506</c:v>
                </c:pt>
                <c:pt idx="3981">
                  <c:v>22942.201019148961</c:v>
                </c:pt>
                <c:pt idx="3982">
                  <c:v>22918.647637894665</c:v>
                </c:pt>
                <c:pt idx="3983">
                  <c:v>23129.9202117204</c:v>
                </c:pt>
                <c:pt idx="3984">
                  <c:v>23238.337549327203</c:v>
                </c:pt>
                <c:pt idx="3985">
                  <c:v>23379.663590583816</c:v>
                </c:pt>
                <c:pt idx="3986">
                  <c:v>23379.663590583816</c:v>
                </c:pt>
                <c:pt idx="3987">
                  <c:v>23380.362174931903</c:v>
                </c:pt>
                <c:pt idx="3988">
                  <c:v>22212.232647299625</c:v>
                </c:pt>
                <c:pt idx="3989">
                  <c:v>22194.910659791956</c:v>
                </c:pt>
                <c:pt idx="3990">
                  <c:v>22384.684470253698</c:v>
                </c:pt>
                <c:pt idx="3991">
                  <c:v>22474.915566425381</c:v>
                </c:pt>
                <c:pt idx="3992">
                  <c:v>22445.740429030295</c:v>
                </c:pt>
                <c:pt idx="3993">
                  <c:v>22445.740429030295</c:v>
                </c:pt>
                <c:pt idx="3994">
                  <c:v>22445.740429030295</c:v>
                </c:pt>
                <c:pt idx="3995">
                  <c:v>22468.794224567551</c:v>
                </c:pt>
                <c:pt idx="3996">
                  <c:v>22461.032828978561</c:v>
                </c:pt>
                <c:pt idx="3997">
                  <c:v>22453.941880914452</c:v>
                </c:pt>
                <c:pt idx="3998">
                  <c:v>22452.29016894969</c:v>
                </c:pt>
                <c:pt idx="3999">
                  <c:v>22672.829809840314</c:v>
                </c:pt>
                <c:pt idx="4000">
                  <c:v>22672.829809840314</c:v>
                </c:pt>
                <c:pt idx="4001">
                  <c:v>22672.829809840314</c:v>
                </c:pt>
                <c:pt idx="4002">
                  <c:v>22776.904220331529</c:v>
                </c:pt>
                <c:pt idx="4003">
                  <c:v>22751.714558647138</c:v>
                </c:pt>
                <c:pt idx="4004">
                  <c:v>22700.821248350901</c:v>
                </c:pt>
                <c:pt idx="4005">
                  <c:v>22781.075461710196</c:v>
                </c:pt>
                <c:pt idx="4006">
                  <c:v>22868.480297366405</c:v>
                </c:pt>
                <c:pt idx="4007">
                  <c:v>22868.480297366405</c:v>
                </c:pt>
                <c:pt idx="4008">
                  <c:v>22868.480297366405</c:v>
                </c:pt>
                <c:pt idx="4009">
                  <c:v>22681.005410627808</c:v>
                </c:pt>
                <c:pt idx="4010">
                  <c:v>22466.564896442324</c:v>
                </c:pt>
                <c:pt idx="4011">
                  <c:v>22487.816244843518</c:v>
                </c:pt>
                <c:pt idx="4012">
                  <c:v>22635.456404348442</c:v>
                </c:pt>
                <c:pt idx="4013">
                  <c:v>22364.09847859096</c:v>
                </c:pt>
                <c:pt idx="4014">
                  <c:v>22364.09847859096</c:v>
                </c:pt>
                <c:pt idx="4015">
                  <c:v>22364.09847859096</c:v>
                </c:pt>
                <c:pt idx="4016">
                  <c:v>22338.823021772427</c:v>
                </c:pt>
                <c:pt idx="4017">
                  <c:v>22257.367854446988</c:v>
                </c:pt>
                <c:pt idx="4018">
                  <c:v>22114.835231885965</c:v>
                </c:pt>
                <c:pt idx="4019">
                  <c:v>21068.736477548839</c:v>
                </c:pt>
                <c:pt idx="4020">
                  <c:v>21107.690043047449</c:v>
                </c:pt>
                <c:pt idx="4021">
                  <c:v>21107.690043047449</c:v>
                </c:pt>
                <c:pt idx="4022">
                  <c:v>21107.690043047449</c:v>
                </c:pt>
                <c:pt idx="4023">
                  <c:v>21146.22635275904</c:v>
                </c:pt>
                <c:pt idx="4024">
                  <c:v>21084.786203553362</c:v>
                </c:pt>
                <c:pt idx="4025">
                  <c:v>21236.100750047437</c:v>
                </c:pt>
                <c:pt idx="4026">
                  <c:v>21329.236554189942</c:v>
                </c:pt>
                <c:pt idx="4027">
                  <c:v>21458.288460083972</c:v>
                </c:pt>
                <c:pt idx="4028">
                  <c:v>21458.288460083972</c:v>
                </c:pt>
                <c:pt idx="4029">
                  <c:v>21458.288460083972</c:v>
                </c:pt>
                <c:pt idx="4030">
                  <c:v>21530.634650461376</c:v>
                </c:pt>
                <c:pt idx="4031">
                  <c:v>21317.281778438599</c:v>
                </c:pt>
                <c:pt idx="4032">
                  <c:v>21169.901766443916</c:v>
                </c:pt>
                <c:pt idx="4033">
                  <c:v>21138.673620950198</c:v>
                </c:pt>
                <c:pt idx="4034">
                  <c:v>21107.257324214741</c:v>
                </c:pt>
                <c:pt idx="4035">
                  <c:v>21107.257324214741</c:v>
                </c:pt>
                <c:pt idx="4036">
                  <c:v>21107.257324214741</c:v>
                </c:pt>
                <c:pt idx="4037">
                  <c:v>21166.826225835139</c:v>
                </c:pt>
                <c:pt idx="4038">
                  <c:v>20993.79821652031</c:v>
                </c:pt>
                <c:pt idx="4039">
                  <c:v>20980.149728423785</c:v>
                </c:pt>
                <c:pt idx="4040">
                  <c:v>20830.411672392558</c:v>
                </c:pt>
                <c:pt idx="4041">
                  <c:v>20897.871793810067</c:v>
                </c:pt>
                <c:pt idx="4042">
                  <c:v>20897.871793810067</c:v>
                </c:pt>
                <c:pt idx="4043">
                  <c:v>20897.871793810067</c:v>
                </c:pt>
                <c:pt idx="4044">
                  <c:v>20828.100696188227</c:v>
                </c:pt>
                <c:pt idx="4045">
                  <c:v>20731.256276381162</c:v>
                </c:pt>
                <c:pt idx="4046">
                  <c:v>20980.981465172881</c:v>
                </c:pt>
                <c:pt idx="4047">
                  <c:v>20533.273127313292</c:v>
                </c:pt>
                <c:pt idx="4048">
                  <c:v>20383.226644600913</c:v>
                </c:pt>
                <c:pt idx="4049">
                  <c:v>19391.365408263395</c:v>
                </c:pt>
                <c:pt idx="4050">
                  <c:v>19391.365408263395</c:v>
                </c:pt>
                <c:pt idx="4051">
                  <c:v>19486.865555935241</c:v>
                </c:pt>
                <c:pt idx="4052">
                  <c:v>19830.60061327336</c:v>
                </c:pt>
                <c:pt idx="4053">
                  <c:v>19909.335633336286</c:v>
                </c:pt>
                <c:pt idx="4054">
                  <c:v>19821.973667670562</c:v>
                </c:pt>
                <c:pt idx="4055">
                  <c:v>19634.615777904528</c:v>
                </c:pt>
                <c:pt idx="4056">
                  <c:v>19634.615777904528</c:v>
                </c:pt>
                <c:pt idx="4057">
                  <c:v>19634.615777904528</c:v>
                </c:pt>
                <c:pt idx="4058">
                  <c:v>19565.717518447542</c:v>
                </c:pt>
                <c:pt idx="4059">
                  <c:v>19398.273520953142</c:v>
                </c:pt>
                <c:pt idx="4060">
                  <c:v>19280.656357079017</c:v>
                </c:pt>
                <c:pt idx="4061">
                  <c:v>19289.545125272754</c:v>
                </c:pt>
                <c:pt idx="4062">
                  <c:v>19184.865586264179</c:v>
                </c:pt>
                <c:pt idx="4063">
                  <c:v>19184.865586264179</c:v>
                </c:pt>
                <c:pt idx="4064">
                  <c:v>19184.865586264179</c:v>
                </c:pt>
                <c:pt idx="4065">
                  <c:v>19306.2181105895</c:v>
                </c:pt>
                <c:pt idx="4066">
                  <c:v>19544.118211008517</c:v>
                </c:pt>
                <c:pt idx="4067">
                  <c:v>19471.141450814521</c:v>
                </c:pt>
                <c:pt idx="4068">
                  <c:v>19357.459775588184</c:v>
                </c:pt>
                <c:pt idx="4069">
                  <c:v>19603.182208531915</c:v>
                </c:pt>
                <c:pt idx="4070">
                  <c:v>19603.182208531915</c:v>
                </c:pt>
                <c:pt idx="4071">
                  <c:v>19603.182208531915</c:v>
                </c:pt>
                <c:pt idx="4072">
                  <c:v>19661.910401951347</c:v>
                </c:pt>
                <c:pt idx="4073">
                  <c:v>19787.483552162656</c:v>
                </c:pt>
                <c:pt idx="4074">
                  <c:v>19693.010190691213</c:v>
                </c:pt>
                <c:pt idx="4075">
                  <c:v>19699.775921272329</c:v>
                </c:pt>
                <c:pt idx="4076">
                  <c:v>19810.203606192295</c:v>
                </c:pt>
                <c:pt idx="4077">
                  <c:v>19810.203606192295</c:v>
                </c:pt>
                <c:pt idx="4078">
                  <c:v>19810.203606192295</c:v>
                </c:pt>
                <c:pt idx="4079">
                  <c:v>19867.177751763706</c:v>
                </c:pt>
                <c:pt idx="4080">
                  <c:v>18942.693466038181</c:v>
                </c:pt>
                <c:pt idx="4081">
                  <c:v>18821.090655906013</c:v>
                </c:pt>
                <c:pt idx="4082">
                  <c:v>18922.918590892568</c:v>
                </c:pt>
                <c:pt idx="4083">
                  <c:v>19100.822599254028</c:v>
                </c:pt>
                <c:pt idx="4084">
                  <c:v>19100.822599254028</c:v>
                </c:pt>
                <c:pt idx="4085">
                  <c:v>19100.822599254028</c:v>
                </c:pt>
                <c:pt idx="4086">
                  <c:v>19019.253300376819</c:v>
                </c:pt>
                <c:pt idx="4087">
                  <c:v>19062.498517761083</c:v>
                </c:pt>
                <c:pt idx="4088">
                  <c:v>19164.634050444351</c:v>
                </c:pt>
                <c:pt idx="4089">
                  <c:v>19461.054978473298</c:v>
                </c:pt>
                <c:pt idx="4090">
                  <c:v>19468.181227585315</c:v>
                </c:pt>
                <c:pt idx="4091">
                  <c:v>19468.181227585315</c:v>
                </c:pt>
                <c:pt idx="4092">
                  <c:v>19468.181227585315</c:v>
                </c:pt>
                <c:pt idx="4093">
                  <c:v>19474.147641086132</c:v>
                </c:pt>
                <c:pt idx="4094">
                  <c:v>19378.80299320128</c:v>
                </c:pt>
                <c:pt idx="4095">
                  <c:v>19362.497280786738</c:v>
                </c:pt>
                <c:pt idx="4096">
                  <c:v>19355.16160506694</c:v>
                </c:pt>
                <c:pt idx="4097">
                  <c:v>19305.414388054753</c:v>
                </c:pt>
                <c:pt idx="4098">
                  <c:v>19305.414388054753</c:v>
                </c:pt>
                <c:pt idx="4099">
                  <c:v>19305.414388054753</c:v>
                </c:pt>
                <c:pt idx="4100">
                  <c:v>19412.987245891298</c:v>
                </c:pt>
                <c:pt idx="4101">
                  <c:v>19452.962857487782</c:v>
                </c:pt>
                <c:pt idx="4102">
                  <c:v>19408.224933508132</c:v>
                </c:pt>
                <c:pt idx="4103">
                  <c:v>19393.425191585087</c:v>
                </c:pt>
                <c:pt idx="4104">
                  <c:v>19422.407501928403</c:v>
                </c:pt>
                <c:pt idx="4105">
                  <c:v>19422.407501928403</c:v>
                </c:pt>
                <c:pt idx="4106">
                  <c:v>19422.407501928403</c:v>
                </c:pt>
                <c:pt idx="4107">
                  <c:v>19341.915218518163</c:v>
                </c:pt>
                <c:pt idx="4108">
                  <c:v>19346.575459570915</c:v>
                </c:pt>
                <c:pt idx="4109">
                  <c:v>19649.101148950052</c:v>
                </c:pt>
                <c:pt idx="4110">
                  <c:v>18485.030670849872</c:v>
                </c:pt>
                <c:pt idx="4111">
                  <c:v>18493.209002969576</c:v>
                </c:pt>
                <c:pt idx="4112">
                  <c:v>18493.209002969576</c:v>
                </c:pt>
                <c:pt idx="4113">
                  <c:v>18493.209002969576</c:v>
                </c:pt>
                <c:pt idx="4114">
                  <c:v>18437.023305240935</c:v>
                </c:pt>
                <c:pt idx="4115">
                  <c:v>18336.455242958302</c:v>
                </c:pt>
                <c:pt idx="4116">
                  <c:v>18338.624078884441</c:v>
                </c:pt>
                <c:pt idx="4117">
                  <c:v>18353.814878140183</c:v>
                </c:pt>
                <c:pt idx="4118">
                  <c:v>18273.775176223658</c:v>
                </c:pt>
                <c:pt idx="4119">
                  <c:v>18273.775176223658</c:v>
                </c:pt>
                <c:pt idx="4120">
                  <c:v>18273.775176223658</c:v>
                </c:pt>
                <c:pt idx="4121">
                  <c:v>18334.081558109225</c:v>
                </c:pt>
                <c:pt idx="4122">
                  <c:v>18368.719588374512</c:v>
                </c:pt>
                <c:pt idx="4123">
                  <c:v>18335.173163164654</c:v>
                </c:pt>
                <c:pt idx="4124">
                  <c:v>18223.438984611792</c:v>
                </c:pt>
                <c:pt idx="4125">
                  <c:v>18102.007463406611</c:v>
                </c:pt>
                <c:pt idx="4126">
                  <c:v>18102.007463406611</c:v>
                </c:pt>
                <c:pt idx="4127">
                  <c:v>18102.007463406611</c:v>
                </c:pt>
                <c:pt idx="4128">
                  <c:v>18031.908706645088</c:v>
                </c:pt>
                <c:pt idx="4129">
                  <c:v>18030.319193892599</c:v>
                </c:pt>
                <c:pt idx="4130">
                  <c:v>18212.430285937098</c:v>
                </c:pt>
                <c:pt idx="4131">
                  <c:v>18165.154277276561</c:v>
                </c:pt>
                <c:pt idx="4132">
                  <c:v>18148.256324161666</c:v>
                </c:pt>
                <c:pt idx="4133">
                  <c:v>18148.256324161666</c:v>
                </c:pt>
                <c:pt idx="4134">
                  <c:v>18148.256324161666</c:v>
                </c:pt>
                <c:pt idx="4135">
                  <c:v>18150.118698225655</c:v>
                </c:pt>
                <c:pt idx="4136">
                  <c:v>18163.573199715462</c:v>
                </c:pt>
                <c:pt idx="4137">
                  <c:v>18095.926604047763</c:v>
                </c:pt>
                <c:pt idx="4138">
                  <c:v>18196.410570091048</c:v>
                </c:pt>
                <c:pt idx="4139">
                  <c:v>18137.177614403288</c:v>
                </c:pt>
                <c:pt idx="4140">
                  <c:v>18137.47851017991</c:v>
                </c:pt>
                <c:pt idx="4141">
                  <c:v>17145.617273842392</c:v>
                </c:pt>
                <c:pt idx="4142">
                  <c:v>17163.979201205639</c:v>
                </c:pt>
                <c:pt idx="4143">
                  <c:v>17237.504538909845</c:v>
                </c:pt>
                <c:pt idx="4144">
                  <c:v>17334.454125188218</c:v>
                </c:pt>
                <c:pt idx="4145">
                  <c:v>17345.206687082074</c:v>
                </c:pt>
                <c:pt idx="4146">
                  <c:v>17456.150791902255</c:v>
                </c:pt>
                <c:pt idx="4147">
                  <c:v>17456.150791902255</c:v>
                </c:pt>
                <c:pt idx="4148">
                  <c:v>17456.150791902255</c:v>
                </c:pt>
                <c:pt idx="4149">
                  <c:v>17422.68368504251</c:v>
                </c:pt>
                <c:pt idx="4150">
                  <c:v>17467.519219237598</c:v>
                </c:pt>
                <c:pt idx="4151">
                  <c:v>17614.482541539037</c:v>
                </c:pt>
                <c:pt idx="4152">
                  <c:v>17675.692692226057</c:v>
                </c:pt>
                <c:pt idx="4153">
                  <c:v>17693.427068218018</c:v>
                </c:pt>
                <c:pt idx="4154">
                  <c:v>17693.427068218018</c:v>
                </c:pt>
                <c:pt idx="4155">
                  <c:v>17693.427068218018</c:v>
                </c:pt>
                <c:pt idx="4156">
                  <c:v>17713.194341872902</c:v>
                </c:pt>
                <c:pt idx="4157">
                  <c:v>17648.594144976149</c:v>
                </c:pt>
                <c:pt idx="4158">
                  <c:v>17539.221571397138</c:v>
                </c:pt>
                <c:pt idx="4159">
                  <c:v>17441.493730370174</c:v>
                </c:pt>
                <c:pt idx="4160">
                  <c:v>17535.707970298328</c:v>
                </c:pt>
                <c:pt idx="4161">
                  <c:v>17535.707970298328</c:v>
                </c:pt>
                <c:pt idx="4162">
                  <c:v>17535.707970298328</c:v>
                </c:pt>
                <c:pt idx="4163">
                  <c:v>17600.436301629532</c:v>
                </c:pt>
                <c:pt idx="4164">
                  <c:v>17648.349617364733</c:v>
                </c:pt>
                <c:pt idx="4165">
                  <c:v>17619.78470460805</c:v>
                </c:pt>
                <c:pt idx="4166">
                  <c:v>17674.857984670009</c:v>
                </c:pt>
                <c:pt idx="4167">
                  <c:v>17666.11776739659</c:v>
                </c:pt>
                <c:pt idx="4168">
                  <c:v>17666.11776739659</c:v>
                </c:pt>
                <c:pt idx="4169">
                  <c:v>17666.11776739659</c:v>
                </c:pt>
                <c:pt idx="4170">
                  <c:v>17630.818390840846</c:v>
                </c:pt>
                <c:pt idx="4171">
                  <c:v>17749.510118097092</c:v>
                </c:pt>
                <c:pt idx="4172">
                  <c:v>16807.613042761615</c:v>
                </c:pt>
                <c:pt idx="4173">
                  <c:v>17018.904739768652</c:v>
                </c:pt>
                <c:pt idx="4174">
                  <c:v>17146.592476359714</c:v>
                </c:pt>
                <c:pt idx="4175">
                  <c:v>17146.592476359714</c:v>
                </c:pt>
                <c:pt idx="4176">
                  <c:v>17146.592476359714</c:v>
                </c:pt>
                <c:pt idx="4177">
                  <c:v>17052.510838101178</c:v>
                </c:pt>
                <c:pt idx="4178">
                  <c:v>17111.287602983055</c:v>
                </c:pt>
                <c:pt idx="4179">
                  <c:v>17013.635537987342</c:v>
                </c:pt>
                <c:pt idx="4180">
                  <c:v>16921.341839420777</c:v>
                </c:pt>
                <c:pt idx="4181">
                  <c:v>16913.435511659725</c:v>
                </c:pt>
                <c:pt idx="4182">
                  <c:v>16913.435511659725</c:v>
                </c:pt>
                <c:pt idx="4183">
                  <c:v>16913.435511659725</c:v>
                </c:pt>
                <c:pt idx="4184">
                  <c:v>16971.9852587735</c:v>
                </c:pt>
                <c:pt idx="4185">
                  <c:v>16960.227067386222</c:v>
                </c:pt>
                <c:pt idx="4186">
                  <c:v>17103.531149173938</c:v>
                </c:pt>
                <c:pt idx="4187">
                  <c:v>17062.644815891214</c:v>
                </c:pt>
                <c:pt idx="4188">
                  <c:v>16977.357015152535</c:v>
                </c:pt>
                <c:pt idx="4189">
                  <c:v>16977.357015152535</c:v>
                </c:pt>
                <c:pt idx="4190">
                  <c:v>16977.357015152535</c:v>
                </c:pt>
                <c:pt idx="4191">
                  <c:v>16978.900766225925</c:v>
                </c:pt>
                <c:pt idx="4192">
                  <c:v>16749.97577529597</c:v>
                </c:pt>
                <c:pt idx="4193">
                  <c:v>16791.879357192785</c:v>
                </c:pt>
                <c:pt idx="4194">
                  <c:v>16824.608913004271</c:v>
                </c:pt>
                <c:pt idx="4195">
                  <c:v>16794.891774527321</c:v>
                </c:pt>
                <c:pt idx="4196">
                  <c:v>16794.891774527321</c:v>
                </c:pt>
                <c:pt idx="4197">
                  <c:v>16794.891774527321</c:v>
                </c:pt>
                <c:pt idx="4198">
                  <c:v>16799.450244052765</c:v>
                </c:pt>
                <c:pt idx="4199">
                  <c:v>16694.452336071416</c:v>
                </c:pt>
                <c:pt idx="4200">
                  <c:v>15781.452854512607</c:v>
                </c:pt>
                <c:pt idx="4201">
                  <c:v>15888.707711289615</c:v>
                </c:pt>
                <c:pt idx="4202">
                  <c:v>15972.735142020771</c:v>
                </c:pt>
                <c:pt idx="4203">
                  <c:v>15972.735142020771</c:v>
                </c:pt>
                <c:pt idx="4204">
                  <c:v>15972.735142020771</c:v>
                </c:pt>
                <c:pt idx="4205">
                  <c:v>15962.421866394272</c:v>
                </c:pt>
                <c:pt idx="4206">
                  <c:v>15973.432425749275</c:v>
                </c:pt>
                <c:pt idx="4207">
                  <c:v>16007.079023545197</c:v>
                </c:pt>
                <c:pt idx="4208">
                  <c:v>15881.566076284465</c:v>
                </c:pt>
                <c:pt idx="4209">
                  <c:v>15630.605092700034</c:v>
                </c:pt>
                <c:pt idx="4210">
                  <c:v>15630.605092700034</c:v>
                </c:pt>
                <c:pt idx="4211">
                  <c:v>15630.605092700034</c:v>
                </c:pt>
                <c:pt idx="4212">
                  <c:v>15549.0064566499</c:v>
                </c:pt>
                <c:pt idx="4213">
                  <c:v>15646.480690285605</c:v>
                </c:pt>
                <c:pt idx="4214">
                  <c:v>15514.907087188891</c:v>
                </c:pt>
                <c:pt idx="4215">
                  <c:v>15608.164866453921</c:v>
                </c:pt>
                <c:pt idx="4216">
                  <c:v>15532.835960767196</c:v>
                </c:pt>
                <c:pt idx="4217">
                  <c:v>15532.835960767196</c:v>
                </c:pt>
                <c:pt idx="4218">
                  <c:v>15532.835960767196</c:v>
                </c:pt>
                <c:pt idx="4219">
                  <c:v>15523.3960350404</c:v>
                </c:pt>
                <c:pt idx="4220">
                  <c:v>15692.878454909487</c:v>
                </c:pt>
                <c:pt idx="4221">
                  <c:v>15653.239028576309</c:v>
                </c:pt>
                <c:pt idx="4222">
                  <c:v>15667.888112321203</c:v>
                </c:pt>
                <c:pt idx="4223">
                  <c:v>15683.205509776451</c:v>
                </c:pt>
                <c:pt idx="4224">
                  <c:v>15683.205509776451</c:v>
                </c:pt>
                <c:pt idx="4225">
                  <c:v>15683.205509776451</c:v>
                </c:pt>
                <c:pt idx="4226">
                  <c:v>15664.292818588103</c:v>
                </c:pt>
                <c:pt idx="4227">
                  <c:v>15630.629156820462</c:v>
                </c:pt>
                <c:pt idx="4228">
                  <c:v>15766.223457999256</c:v>
                </c:pt>
                <c:pt idx="4229">
                  <c:v>15809.783956791362</c:v>
                </c:pt>
                <c:pt idx="4230">
                  <c:v>15901.488450534889</c:v>
                </c:pt>
                <c:pt idx="4231">
                  <c:v>14909.627214197373</c:v>
                </c:pt>
                <c:pt idx="4232">
                  <c:v>14909.627214197373</c:v>
                </c:pt>
                <c:pt idx="4233">
                  <c:v>14930.343992115228</c:v>
                </c:pt>
                <c:pt idx="4234">
                  <c:v>14806.647137264634</c:v>
                </c:pt>
                <c:pt idx="4235">
                  <c:v>14851.955773637605</c:v>
                </c:pt>
                <c:pt idx="4236">
                  <c:v>14906.249028722386</c:v>
                </c:pt>
                <c:pt idx="4237">
                  <c:v>14904.473247275595</c:v>
                </c:pt>
                <c:pt idx="4238">
                  <c:v>14904.473247275595</c:v>
                </c:pt>
                <c:pt idx="4239">
                  <c:v>14904.473247275595</c:v>
                </c:pt>
                <c:pt idx="4240">
                  <c:v>14928.829392232628</c:v>
                </c:pt>
                <c:pt idx="4241">
                  <c:v>14918.988009320683</c:v>
                </c:pt>
                <c:pt idx="4242">
                  <c:v>14946.301394188386</c:v>
                </c:pt>
                <c:pt idx="4243">
                  <c:v>14979.517904943816</c:v>
                </c:pt>
                <c:pt idx="4244">
                  <c:v>14980.50490537857</c:v>
                </c:pt>
                <c:pt idx="4245">
                  <c:v>14980.504905378571</c:v>
                </c:pt>
                <c:pt idx="4246">
                  <c:v>14980.504905378571</c:v>
                </c:pt>
                <c:pt idx="4247">
                  <c:v>15033.992348728079</c:v>
                </c:pt>
                <c:pt idx="4248">
                  <c:v>15024.129147707774</c:v>
                </c:pt>
                <c:pt idx="4249">
                  <c:v>15002.824181369868</c:v>
                </c:pt>
                <c:pt idx="4250">
                  <c:v>15016.104531306975</c:v>
                </c:pt>
                <c:pt idx="4251">
                  <c:v>15085.092119388888</c:v>
                </c:pt>
                <c:pt idx="4252">
                  <c:v>15085.092119388888</c:v>
                </c:pt>
                <c:pt idx="4253">
                  <c:v>15085.092119388888</c:v>
                </c:pt>
                <c:pt idx="4254">
                  <c:v>15063.98641615373</c:v>
                </c:pt>
                <c:pt idx="4255">
                  <c:v>15044.330776038067</c:v>
                </c:pt>
                <c:pt idx="4256">
                  <c:v>14964.959444399921</c:v>
                </c:pt>
                <c:pt idx="4257">
                  <c:v>15040.938788243056</c:v>
                </c:pt>
                <c:pt idx="4258">
                  <c:v>15052.148198284382</c:v>
                </c:pt>
                <c:pt idx="4259">
                  <c:v>15052.148198284382</c:v>
                </c:pt>
                <c:pt idx="4260">
                  <c:v>15052.647929604565</c:v>
                </c:pt>
                <c:pt idx="4261">
                  <c:v>14083.590401195044</c:v>
                </c:pt>
                <c:pt idx="4262">
                  <c:v>14036.082789038306</c:v>
                </c:pt>
                <c:pt idx="4263">
                  <c:v>14014.825282015136</c:v>
                </c:pt>
                <c:pt idx="4264">
                  <c:v>13914.624186437575</c:v>
                </c:pt>
                <c:pt idx="4265">
                  <c:v>13945.945588042519</c:v>
                </c:pt>
                <c:pt idx="4266">
                  <c:v>13945.945588042519</c:v>
                </c:pt>
                <c:pt idx="4267">
                  <c:v>13945.945588042519</c:v>
                </c:pt>
                <c:pt idx="4268">
                  <c:v>13941.700302746061</c:v>
                </c:pt>
                <c:pt idx="4269">
                  <c:v>13926.970896376211</c:v>
                </c:pt>
                <c:pt idx="4270">
                  <c:v>13965.66197130227</c:v>
                </c:pt>
                <c:pt idx="4271">
                  <c:v>14024.626811681166</c:v>
                </c:pt>
                <c:pt idx="4272">
                  <c:v>14035.497720661704</c:v>
                </c:pt>
                <c:pt idx="4273">
                  <c:v>14035.497720661704</c:v>
                </c:pt>
                <c:pt idx="4274">
                  <c:v>14035.497720661704</c:v>
                </c:pt>
                <c:pt idx="4275">
                  <c:v>14044.593565314557</c:v>
                </c:pt>
                <c:pt idx="4276">
                  <c:v>14020.829551218301</c:v>
                </c:pt>
                <c:pt idx="4277">
                  <c:v>14039.871239831811</c:v>
                </c:pt>
                <c:pt idx="4278">
                  <c:v>14136.63684039098</c:v>
                </c:pt>
                <c:pt idx="4279">
                  <c:v>14139.691202146716</c:v>
                </c:pt>
                <c:pt idx="4280">
                  <c:v>14139.691202146716</c:v>
                </c:pt>
                <c:pt idx="4281">
                  <c:v>14139.691202146716</c:v>
                </c:pt>
                <c:pt idx="4282">
                  <c:v>14156.713410797331</c:v>
                </c:pt>
                <c:pt idx="4283">
                  <c:v>14057.890207759116</c:v>
                </c:pt>
                <c:pt idx="4284">
                  <c:v>13970.085890731571</c:v>
                </c:pt>
                <c:pt idx="4285">
                  <c:v>13989.330522251204</c:v>
                </c:pt>
                <c:pt idx="4286">
                  <c:v>14074.610040688071</c:v>
                </c:pt>
                <c:pt idx="4287">
                  <c:v>14074.610040688071</c:v>
                </c:pt>
                <c:pt idx="4288">
                  <c:v>14074.610040688071</c:v>
                </c:pt>
                <c:pt idx="4289">
                  <c:v>14063.462808789745</c:v>
                </c:pt>
                <c:pt idx="4290">
                  <c:v>14009.574431999024</c:v>
                </c:pt>
                <c:pt idx="4291">
                  <c:v>13927.194912136751</c:v>
                </c:pt>
                <c:pt idx="4292">
                  <c:v>12971.323079443635</c:v>
                </c:pt>
                <c:pt idx="4293">
                  <c:v>13128.320320916604</c:v>
                </c:pt>
                <c:pt idx="4294">
                  <c:v>13128.320320916604</c:v>
                </c:pt>
                <c:pt idx="4295">
                  <c:v>13128.320320916604</c:v>
                </c:pt>
                <c:pt idx="4296">
                  <c:v>13155.184015090077</c:v>
                </c:pt>
                <c:pt idx="4297">
                  <c:v>13197.697754823486</c:v>
                </c:pt>
                <c:pt idx="4298">
                  <c:v>13122.581342351201</c:v>
                </c:pt>
                <c:pt idx="4299">
                  <c:v>13092.380377520847</c:v>
                </c:pt>
                <c:pt idx="4300">
                  <c:v>13060.857329590674</c:v>
                </c:pt>
                <c:pt idx="4301">
                  <c:v>13060.857329590674</c:v>
                </c:pt>
                <c:pt idx="4302">
                  <c:v>13060.857329590674</c:v>
                </c:pt>
                <c:pt idx="4303">
                  <c:v>13128.809313236481</c:v>
                </c:pt>
                <c:pt idx="4304">
                  <c:v>13140.918276642264</c:v>
                </c:pt>
                <c:pt idx="4305">
                  <c:v>13138.224782623101</c:v>
                </c:pt>
                <c:pt idx="4306">
                  <c:v>13188.390466310591</c:v>
                </c:pt>
                <c:pt idx="4307">
                  <c:v>13159.242936424902</c:v>
                </c:pt>
                <c:pt idx="4308">
                  <c:v>13159.242936424902</c:v>
                </c:pt>
                <c:pt idx="4309">
                  <c:v>13159.242936424902</c:v>
                </c:pt>
                <c:pt idx="4310">
                  <c:v>13101.910878391915</c:v>
                </c:pt>
                <c:pt idx="4311">
                  <c:v>13119.326724446128</c:v>
                </c:pt>
                <c:pt idx="4312">
                  <c:v>13063.065147754676</c:v>
                </c:pt>
                <c:pt idx="4313">
                  <c:v>13041.393653305202</c:v>
                </c:pt>
                <c:pt idx="4314">
                  <c:v>12987.793655804055</c:v>
                </c:pt>
                <c:pt idx="4315">
                  <c:v>12987.793655804055</c:v>
                </c:pt>
                <c:pt idx="4316">
                  <c:v>12987.793655804055</c:v>
                </c:pt>
                <c:pt idx="4317">
                  <c:v>12946.55689143513</c:v>
                </c:pt>
                <c:pt idx="4318">
                  <c:v>12970.342435221643</c:v>
                </c:pt>
                <c:pt idx="4319">
                  <c:v>13076.241649509346</c:v>
                </c:pt>
                <c:pt idx="4320">
                  <c:v>13076.726124262461</c:v>
                </c:pt>
                <c:pt idx="4321">
                  <c:v>13117.328181972945</c:v>
                </c:pt>
                <c:pt idx="4322">
                  <c:v>12125.46694563543</c:v>
                </c:pt>
                <c:pt idx="4323">
                  <c:v>12125.46694563543</c:v>
                </c:pt>
                <c:pt idx="4324">
                  <c:v>12124.495210714405</c:v>
                </c:pt>
                <c:pt idx="4325">
                  <c:v>12106.524405158038</c:v>
                </c:pt>
                <c:pt idx="4326">
                  <c:v>12045.419507723615</c:v>
                </c:pt>
                <c:pt idx="4327">
                  <c:v>11929.396942937465</c:v>
                </c:pt>
                <c:pt idx="4328">
                  <c:v>11831.060538057442</c:v>
                </c:pt>
                <c:pt idx="4329">
                  <c:v>11831.060538057442</c:v>
                </c:pt>
                <c:pt idx="4330">
                  <c:v>11831.060538057442</c:v>
                </c:pt>
                <c:pt idx="4331">
                  <c:v>11851.148140813193</c:v>
                </c:pt>
                <c:pt idx="4332">
                  <c:v>11840.059732566722</c:v>
                </c:pt>
                <c:pt idx="4333">
                  <c:v>11933.801747890957</c:v>
                </c:pt>
                <c:pt idx="4334">
                  <c:v>11984.945248661719</c:v>
                </c:pt>
                <c:pt idx="4335">
                  <c:v>12000.44621729798</c:v>
                </c:pt>
                <c:pt idx="4336">
                  <c:v>12000.44621729798</c:v>
                </c:pt>
                <c:pt idx="4337">
                  <c:v>12000.44621729798</c:v>
                </c:pt>
                <c:pt idx="4338">
                  <c:v>12014.714507841423</c:v>
                </c:pt>
                <c:pt idx="4339">
                  <c:v>12082.314097548342</c:v>
                </c:pt>
                <c:pt idx="4340">
                  <c:v>12214.324132323605</c:v>
                </c:pt>
                <c:pt idx="4341">
                  <c:v>12187.90833566587</c:v>
                </c:pt>
                <c:pt idx="4342">
                  <c:v>12190.079002140454</c:v>
                </c:pt>
                <c:pt idx="4343">
                  <c:v>12190.079002140454</c:v>
                </c:pt>
                <c:pt idx="4344">
                  <c:v>12190.079002140454</c:v>
                </c:pt>
                <c:pt idx="4345">
                  <c:v>12213.654736831384</c:v>
                </c:pt>
                <c:pt idx="4346">
                  <c:v>12215.182176492772</c:v>
                </c:pt>
                <c:pt idx="4347">
                  <c:v>12171.797025349237</c:v>
                </c:pt>
                <c:pt idx="4348">
                  <c:v>12207.222797155575</c:v>
                </c:pt>
                <c:pt idx="4349">
                  <c:v>12214.112919918975</c:v>
                </c:pt>
                <c:pt idx="4350">
                  <c:v>12214.112919918975</c:v>
                </c:pt>
                <c:pt idx="4351">
                  <c:v>12214.112919918975</c:v>
                </c:pt>
                <c:pt idx="4352">
                  <c:v>12212.622553860487</c:v>
                </c:pt>
                <c:pt idx="4353">
                  <c:v>11224.095119227724</c:v>
                </c:pt>
                <c:pt idx="4354">
                  <c:v>11158.117867779783</c:v>
                </c:pt>
                <c:pt idx="4355">
                  <c:v>11096.463687501368</c:v>
                </c:pt>
                <c:pt idx="4356">
                  <c:v>11087.094721280737</c:v>
                </c:pt>
                <c:pt idx="4357">
                  <c:v>11087.094721280737</c:v>
                </c:pt>
                <c:pt idx="4358">
                  <c:v>11087.094721280737</c:v>
                </c:pt>
                <c:pt idx="4359">
                  <c:v>11095.588433675763</c:v>
                </c:pt>
                <c:pt idx="4360">
                  <c:v>11107.667424112313</c:v>
                </c:pt>
                <c:pt idx="4361">
                  <c:v>11105.49565297755</c:v>
                </c:pt>
                <c:pt idx="4362">
                  <c:v>11137.364760688028</c:v>
                </c:pt>
                <c:pt idx="4363">
                  <c:v>11060.168232948623</c:v>
                </c:pt>
                <c:pt idx="4364">
                  <c:v>11060.168232948623</c:v>
                </c:pt>
                <c:pt idx="4365">
                  <c:v>11060.168232948623</c:v>
                </c:pt>
                <c:pt idx="4366">
                  <c:v>11082.9940975461</c:v>
                </c:pt>
                <c:pt idx="4367">
                  <c:v>10964.580507029452</c:v>
                </c:pt>
                <c:pt idx="4368">
                  <c:v>10915.304695418617</c:v>
                </c:pt>
                <c:pt idx="4369">
                  <c:v>10848.430334753384</c:v>
                </c:pt>
                <c:pt idx="4370">
                  <c:v>10837.439139075424</c:v>
                </c:pt>
                <c:pt idx="4371">
                  <c:v>10837.439139075424</c:v>
                </c:pt>
                <c:pt idx="4372">
                  <c:v>10837.439139075424</c:v>
                </c:pt>
                <c:pt idx="4373">
                  <c:v>10854.075908646602</c:v>
                </c:pt>
                <c:pt idx="4374">
                  <c:v>10870.823422151369</c:v>
                </c:pt>
                <c:pt idx="4375">
                  <c:v>10996.680597737794</c:v>
                </c:pt>
                <c:pt idx="4376">
                  <c:v>10975.643507887096</c:v>
                </c:pt>
                <c:pt idx="4377">
                  <c:v>11022.036674943454</c:v>
                </c:pt>
                <c:pt idx="4378">
                  <c:v>11022.036674943454</c:v>
                </c:pt>
                <c:pt idx="4379">
                  <c:v>11022.036674943454</c:v>
                </c:pt>
                <c:pt idx="4380">
                  <c:v>11053.728226774552</c:v>
                </c:pt>
                <c:pt idx="4381">
                  <c:v>11159.610673548721</c:v>
                </c:pt>
                <c:pt idx="4382">
                  <c:v>11134.83332475856</c:v>
                </c:pt>
                <c:pt idx="4383">
                  <c:v>11140.527901217509</c:v>
                </c:pt>
                <c:pt idx="4384">
                  <c:v>10174.694837242003</c:v>
                </c:pt>
                <c:pt idx="4385">
                  <c:v>10174.694837242003</c:v>
                </c:pt>
                <c:pt idx="4386">
                  <c:v>10174.694837242003</c:v>
                </c:pt>
                <c:pt idx="4387">
                  <c:v>10169.404911649173</c:v>
                </c:pt>
                <c:pt idx="4388">
                  <c:v>10146.869713753058</c:v>
                </c:pt>
                <c:pt idx="4389">
                  <c:v>10161.232506364178</c:v>
                </c:pt>
                <c:pt idx="4390">
                  <c:v>10180.489058086989</c:v>
                </c:pt>
                <c:pt idx="4391">
                  <c:v>10190.326464663818</c:v>
                </c:pt>
                <c:pt idx="4392">
                  <c:v>10190.326464663818</c:v>
                </c:pt>
                <c:pt idx="4393">
                  <c:v>10190.326464663818</c:v>
                </c:pt>
                <c:pt idx="4394">
                  <c:v>10187.158903585541</c:v>
                </c:pt>
                <c:pt idx="4395">
                  <c:v>10182.056868791857</c:v>
                </c:pt>
                <c:pt idx="4396">
                  <c:v>10189.912122024994</c:v>
                </c:pt>
                <c:pt idx="4397">
                  <c:v>10299.475687546947</c:v>
                </c:pt>
                <c:pt idx="4398">
                  <c:v>10290.544600199246</c:v>
                </c:pt>
                <c:pt idx="4399">
                  <c:v>10290.544600199246</c:v>
                </c:pt>
                <c:pt idx="4400">
                  <c:v>10290.544600199246</c:v>
                </c:pt>
                <c:pt idx="4401">
                  <c:v>10253.752095752032</c:v>
                </c:pt>
                <c:pt idx="4402">
                  <c:v>10237.332557446063</c:v>
                </c:pt>
                <c:pt idx="4403">
                  <c:v>10235.2271476323</c:v>
                </c:pt>
                <c:pt idx="4404">
                  <c:v>10164.481974053768</c:v>
                </c:pt>
                <c:pt idx="4405">
                  <c:v>10168.616885320811</c:v>
                </c:pt>
                <c:pt idx="4406">
                  <c:v>10168.616885320811</c:v>
                </c:pt>
                <c:pt idx="4407">
                  <c:v>10168.616885320811</c:v>
                </c:pt>
                <c:pt idx="4408">
                  <c:v>10165.171046116882</c:v>
                </c:pt>
                <c:pt idx="4409">
                  <c:v>10118.301068850604</c:v>
                </c:pt>
                <c:pt idx="4410">
                  <c:v>10116.332351011639</c:v>
                </c:pt>
                <c:pt idx="4411">
                  <c:v>10106.093509875856</c:v>
                </c:pt>
                <c:pt idx="4412">
                  <c:v>10120.36371815554</c:v>
                </c:pt>
                <c:pt idx="4413">
                  <c:v>10120.542949796989</c:v>
                </c:pt>
                <c:pt idx="4414">
                  <c:v>9128.681713459473</c:v>
                </c:pt>
                <c:pt idx="4415">
                  <c:v>9096.3745785810024</c:v>
                </c:pt>
                <c:pt idx="4416">
                  <c:v>9053.9794694375923</c:v>
                </c:pt>
                <c:pt idx="4417">
                  <c:v>9056.7739802008346</c:v>
                </c:pt>
                <c:pt idx="4418">
                  <c:v>9075.050187821922</c:v>
                </c:pt>
                <c:pt idx="4419">
                  <c:v>9113.0662990627243</c:v>
                </c:pt>
                <c:pt idx="4420">
                  <c:v>9113.0662990627261</c:v>
                </c:pt>
                <c:pt idx="4421">
                  <c:v>9113.0662990627261</c:v>
                </c:pt>
                <c:pt idx="4422">
                  <c:v>9130.3588891491745</c:v>
                </c:pt>
                <c:pt idx="4423">
                  <c:v>9207.3984835625033</c:v>
                </c:pt>
                <c:pt idx="4424">
                  <c:v>9225.9897863585593</c:v>
                </c:pt>
                <c:pt idx="4425">
                  <c:v>9252.6692268430579</c:v>
                </c:pt>
                <c:pt idx="4426">
                  <c:v>9236.8245859522431</c:v>
                </c:pt>
                <c:pt idx="4427">
                  <c:v>9236.8245859522431</c:v>
                </c:pt>
                <c:pt idx="4428">
                  <c:v>9236.8245859522431</c:v>
                </c:pt>
                <c:pt idx="4429">
                  <c:v>9240.5331710235023</c:v>
                </c:pt>
                <c:pt idx="4430">
                  <c:v>9242.2904432166342</c:v>
                </c:pt>
                <c:pt idx="4431">
                  <c:v>9155.1999706785846</c:v>
                </c:pt>
                <c:pt idx="4432">
                  <c:v>9076.2784848513456</c:v>
                </c:pt>
                <c:pt idx="4433">
                  <c:v>9004.3475256543425</c:v>
                </c:pt>
                <c:pt idx="4434">
                  <c:v>9004.3475256543425</c:v>
                </c:pt>
                <c:pt idx="4435">
                  <c:v>9004.3475256543425</c:v>
                </c:pt>
                <c:pt idx="4436">
                  <c:v>8978.0000844464757</c:v>
                </c:pt>
                <c:pt idx="4437">
                  <c:v>9022.5565521655717</c:v>
                </c:pt>
                <c:pt idx="4438">
                  <c:v>9011.8277399438266</c:v>
                </c:pt>
                <c:pt idx="4439">
                  <c:v>8948.7472888394313</c:v>
                </c:pt>
                <c:pt idx="4440">
                  <c:v>8889.7189355604787</c:v>
                </c:pt>
                <c:pt idx="4441">
                  <c:v>8889.7189355604787</c:v>
                </c:pt>
                <c:pt idx="4442">
                  <c:v>8889.7189355604787</c:v>
                </c:pt>
                <c:pt idx="4443">
                  <c:v>8946.7863084729288</c:v>
                </c:pt>
                <c:pt idx="4444">
                  <c:v>8962.9708659692296</c:v>
                </c:pt>
                <c:pt idx="4445">
                  <c:v>8043.962270165066</c:v>
                </c:pt>
                <c:pt idx="4446">
                  <c:v>8133.0343514165679</c:v>
                </c:pt>
                <c:pt idx="4447">
                  <c:v>8105.3502344574381</c:v>
                </c:pt>
                <c:pt idx="4448">
                  <c:v>8105.3502344574381</c:v>
                </c:pt>
                <c:pt idx="4449">
                  <c:v>8105.3502344574381</c:v>
                </c:pt>
                <c:pt idx="4450">
                  <c:v>8116.0098237112798</c:v>
                </c:pt>
                <c:pt idx="4451">
                  <c:v>8150.6431101118078</c:v>
                </c:pt>
                <c:pt idx="4452">
                  <c:v>8173.9530528359855</c:v>
                </c:pt>
                <c:pt idx="4453">
                  <c:v>8185.2027826830745</c:v>
                </c:pt>
                <c:pt idx="4454">
                  <c:v>8205.98599477264</c:v>
                </c:pt>
                <c:pt idx="4455">
                  <c:v>8205.98599477264</c:v>
                </c:pt>
                <c:pt idx="4456">
                  <c:v>8205.98599477264</c:v>
                </c:pt>
                <c:pt idx="4457">
                  <c:v>8196.705681091431</c:v>
                </c:pt>
                <c:pt idx="4458">
                  <c:v>8216.1835947684649</c:v>
                </c:pt>
                <c:pt idx="4459">
                  <c:v>8237.6734337697617</c:v>
                </c:pt>
                <c:pt idx="4460">
                  <c:v>8246.3034675891813</c:v>
                </c:pt>
                <c:pt idx="4461">
                  <c:v>8271.7573325025896</c:v>
                </c:pt>
                <c:pt idx="4462">
                  <c:v>8271.7573325025896</c:v>
                </c:pt>
                <c:pt idx="4463">
                  <c:v>8271.7573325025896</c:v>
                </c:pt>
                <c:pt idx="4464">
                  <c:v>8271.0460440895677</c:v>
                </c:pt>
                <c:pt idx="4465">
                  <c:v>8258.3929151408593</c:v>
                </c:pt>
                <c:pt idx="4466">
                  <c:v>8286.1136974712535</c:v>
                </c:pt>
                <c:pt idx="4467">
                  <c:v>8272.0536540271096</c:v>
                </c:pt>
                <c:pt idx="4468">
                  <c:v>8244.7864008468041</c:v>
                </c:pt>
                <c:pt idx="4469">
                  <c:v>8244.7864008468041</c:v>
                </c:pt>
                <c:pt idx="4470">
                  <c:v>8244.7864008468041</c:v>
                </c:pt>
                <c:pt idx="4471">
                  <c:v>8233.8583487118012</c:v>
                </c:pt>
                <c:pt idx="4472">
                  <c:v>8212.2697484915643</c:v>
                </c:pt>
                <c:pt idx="4473">
                  <c:v>8206.0810641317985</c:v>
                </c:pt>
                <c:pt idx="4474">
                  <c:v>8224.9457777076987</c:v>
                </c:pt>
                <c:pt idx="4475">
                  <c:v>7272.5625538645672</c:v>
                </c:pt>
                <c:pt idx="4476">
                  <c:v>7272.5625538645672</c:v>
                </c:pt>
                <c:pt idx="4477">
                  <c:v>7272.5625538645672</c:v>
                </c:pt>
                <c:pt idx="4478">
                  <c:v>7256.5966609363149</c:v>
                </c:pt>
                <c:pt idx="4479">
                  <c:v>7257.8195426056154</c:v>
                </c:pt>
                <c:pt idx="4480">
                  <c:v>7275.1311115132248</c:v>
                </c:pt>
                <c:pt idx="4481">
                  <c:v>7295.9368952224868</c:v>
                </c:pt>
                <c:pt idx="4482">
                  <c:v>7313.700823496868</c:v>
                </c:pt>
                <c:pt idx="4483">
                  <c:v>7313.700823496868</c:v>
                </c:pt>
                <c:pt idx="4484">
                  <c:v>7313.700823496868</c:v>
                </c:pt>
                <c:pt idx="4485">
                  <c:v>7316.7121666739358</c:v>
                </c:pt>
                <c:pt idx="4486">
                  <c:v>7338.6205979146071</c:v>
                </c:pt>
                <c:pt idx="4487">
                  <c:v>7387.1861946936924</c:v>
                </c:pt>
                <c:pt idx="4488">
                  <c:v>7358.1806297158128</c:v>
                </c:pt>
                <c:pt idx="4489">
                  <c:v>7369.2284228586868</c:v>
                </c:pt>
                <c:pt idx="4490">
                  <c:v>7369.2284228586868</c:v>
                </c:pt>
                <c:pt idx="4491">
                  <c:v>7369.2284228586868</c:v>
                </c:pt>
                <c:pt idx="4492">
                  <c:v>7394.8924240718488</c:v>
                </c:pt>
                <c:pt idx="4493">
                  <c:v>7390.6859134653396</c:v>
                </c:pt>
                <c:pt idx="4494">
                  <c:v>7415.2723604799467</c:v>
                </c:pt>
                <c:pt idx="4495">
                  <c:v>7443.2223758246855</c:v>
                </c:pt>
                <c:pt idx="4496">
                  <c:v>7439.4342966609574</c:v>
                </c:pt>
                <c:pt idx="4497">
                  <c:v>7439.4342966609574</c:v>
                </c:pt>
                <c:pt idx="4498">
                  <c:v>7439.4342966609574</c:v>
                </c:pt>
                <c:pt idx="4499">
                  <c:v>7438.5644780029916</c:v>
                </c:pt>
                <c:pt idx="4500">
                  <c:v>7450.0499190996079</c:v>
                </c:pt>
                <c:pt idx="4501">
                  <c:v>7455.5447779179385</c:v>
                </c:pt>
                <c:pt idx="4502">
                  <c:v>7470.6675303900192</c:v>
                </c:pt>
                <c:pt idx="4503">
                  <c:v>7470.5660040182811</c:v>
                </c:pt>
                <c:pt idx="4504">
                  <c:v>7470.5660040182811</c:v>
                </c:pt>
                <c:pt idx="4505">
                  <c:v>7470.7963215681848</c:v>
                </c:pt>
                <c:pt idx="4506">
                  <c:v>6478.7960537111248</c:v>
                </c:pt>
                <c:pt idx="4507">
                  <c:v>6464.2679366523216</c:v>
                </c:pt>
                <c:pt idx="4508">
                  <c:v>6429.0141464622775</c:v>
                </c:pt>
                <c:pt idx="4509">
                  <c:v>6410.8717257015269</c:v>
                </c:pt>
                <c:pt idx="4510">
                  <c:v>6385.4501190691481</c:v>
                </c:pt>
                <c:pt idx="4511">
                  <c:v>6385.4501190691481</c:v>
                </c:pt>
                <c:pt idx="4512">
                  <c:v>6385.4501190691481</c:v>
                </c:pt>
                <c:pt idx="4513">
                  <c:v>6416.2667483252844</c:v>
                </c:pt>
                <c:pt idx="4514">
                  <c:v>6432.0116894616676</c:v>
                </c:pt>
                <c:pt idx="4515">
                  <c:v>6442.2027617428021</c:v>
                </c:pt>
                <c:pt idx="4516">
                  <c:v>6444.6053812627943</c:v>
                </c:pt>
                <c:pt idx="4517">
                  <c:v>6470.7059041648008</c:v>
                </c:pt>
                <c:pt idx="4518">
                  <c:v>6470.7059041648008</c:v>
                </c:pt>
                <c:pt idx="4519">
                  <c:v>6470.7059041648008</c:v>
                </c:pt>
                <c:pt idx="4520">
                  <c:v>6464.1624675262738</c:v>
                </c:pt>
                <c:pt idx="4521">
                  <c:v>6458.8720030379754</c:v>
                </c:pt>
                <c:pt idx="4522">
                  <c:v>6393.663748005064</c:v>
                </c:pt>
                <c:pt idx="4523">
                  <c:v>6414.1075517759473</c:v>
                </c:pt>
                <c:pt idx="4524">
                  <c:v>6450.9819995268044</c:v>
                </c:pt>
                <c:pt idx="4525">
                  <c:v>6450.9819995268044</c:v>
                </c:pt>
                <c:pt idx="4526">
                  <c:v>6450.9819995268044</c:v>
                </c:pt>
                <c:pt idx="4527">
                  <c:v>6464.4974519140123</c:v>
                </c:pt>
                <c:pt idx="4528">
                  <c:v>6466.4618833996992</c:v>
                </c:pt>
                <c:pt idx="4529">
                  <c:v>6474.0002260048914</c:v>
                </c:pt>
                <c:pt idx="4530">
                  <c:v>6497.7005697322611</c:v>
                </c:pt>
                <c:pt idx="4531">
                  <c:v>6523.1808476774258</c:v>
                </c:pt>
                <c:pt idx="4532">
                  <c:v>6523.1808476774258</c:v>
                </c:pt>
                <c:pt idx="4533">
                  <c:v>6523.1808476774258</c:v>
                </c:pt>
                <c:pt idx="4534">
                  <c:v>6557.4317871952835</c:v>
                </c:pt>
                <c:pt idx="4535">
                  <c:v>6573.8636620649095</c:v>
                </c:pt>
                <c:pt idx="4536">
                  <c:v>6519.865420035615</c:v>
                </c:pt>
                <c:pt idx="4537">
                  <c:v>5561.6453852923987</c:v>
                </c:pt>
                <c:pt idx="4538">
                  <c:v>5569.5404746155446</c:v>
                </c:pt>
                <c:pt idx="4539">
                  <c:v>5569.5404746155446</c:v>
                </c:pt>
                <c:pt idx="4540">
                  <c:v>5569.5404746155446</c:v>
                </c:pt>
                <c:pt idx="4541">
                  <c:v>5591.4542771761562</c:v>
                </c:pt>
                <c:pt idx="4542">
                  <c:v>5599.0112953753878</c:v>
                </c:pt>
                <c:pt idx="4543">
                  <c:v>5599.5048482210759</c:v>
                </c:pt>
                <c:pt idx="4544">
                  <c:v>5581.4659873574828</c:v>
                </c:pt>
                <c:pt idx="4545">
                  <c:v>5591.6167762900513</c:v>
                </c:pt>
                <c:pt idx="4546">
                  <c:v>5591.6167762900513</c:v>
                </c:pt>
                <c:pt idx="4547">
                  <c:v>5591.6167762900513</c:v>
                </c:pt>
                <c:pt idx="4548">
                  <c:v>5593.7982896591529</c:v>
                </c:pt>
                <c:pt idx="4549">
                  <c:v>5553.8742325061976</c:v>
                </c:pt>
                <c:pt idx="4550">
                  <c:v>5609.1568301516563</c:v>
                </c:pt>
                <c:pt idx="4551">
                  <c:v>5613.1059570179241</c:v>
                </c:pt>
                <c:pt idx="4552">
                  <c:v>5642.4375228516192</c:v>
                </c:pt>
                <c:pt idx="4553">
                  <c:v>5642.4375228516192</c:v>
                </c:pt>
                <c:pt idx="4554">
                  <c:v>5642.4375228516192</c:v>
                </c:pt>
                <c:pt idx="4555">
                  <c:v>5648.0779290969631</c:v>
                </c:pt>
                <c:pt idx="4556">
                  <c:v>5625.3475783559879</c:v>
                </c:pt>
                <c:pt idx="4557">
                  <c:v>5635.5585967732677</c:v>
                </c:pt>
                <c:pt idx="4558">
                  <c:v>5695.7983224370682</c:v>
                </c:pt>
                <c:pt idx="4559">
                  <c:v>5695.9971057985204</c:v>
                </c:pt>
                <c:pt idx="4560">
                  <c:v>5695.9971057985204</c:v>
                </c:pt>
                <c:pt idx="4561">
                  <c:v>5695.9971057985204</c:v>
                </c:pt>
                <c:pt idx="4562">
                  <c:v>5688.4439288363765</c:v>
                </c:pt>
                <c:pt idx="4563">
                  <c:v>5685.3056712052767</c:v>
                </c:pt>
                <c:pt idx="4564">
                  <c:v>5671.2879246892953</c:v>
                </c:pt>
                <c:pt idx="4565">
                  <c:v>5687.6459607277511</c:v>
                </c:pt>
                <c:pt idx="4566">
                  <c:v>4725.3156078593902</c:v>
                </c:pt>
                <c:pt idx="4567">
                  <c:v>4725.3156078593902</c:v>
                </c:pt>
                <c:pt idx="4568">
                  <c:v>4725.3156078593902</c:v>
                </c:pt>
                <c:pt idx="4569">
                  <c:v>4718.2649171877465</c:v>
                </c:pt>
                <c:pt idx="4570">
                  <c:v>4691.5559990577767</c:v>
                </c:pt>
                <c:pt idx="4571">
                  <c:v>4706.344065060166</c:v>
                </c:pt>
                <c:pt idx="4572">
                  <c:v>4734.5802939763425</c:v>
                </c:pt>
                <c:pt idx="4573">
                  <c:v>4708.5225370665821</c:v>
                </c:pt>
                <c:pt idx="4574">
                  <c:v>4708.5225370665821</c:v>
                </c:pt>
                <c:pt idx="4575">
                  <c:v>4708.5225370665821</c:v>
                </c:pt>
                <c:pt idx="4576">
                  <c:v>4712.9291962237985</c:v>
                </c:pt>
                <c:pt idx="4577">
                  <c:v>4757.7524990596166</c:v>
                </c:pt>
                <c:pt idx="4578">
                  <c:v>4758.5634579730804</c:v>
                </c:pt>
                <c:pt idx="4579">
                  <c:v>4760.8357196098968</c:v>
                </c:pt>
                <c:pt idx="4580">
                  <c:v>4725.7461703719409</c:v>
                </c:pt>
                <c:pt idx="4581">
                  <c:v>4725.7461703719409</c:v>
                </c:pt>
                <c:pt idx="4582">
                  <c:v>4725.7461703719409</c:v>
                </c:pt>
                <c:pt idx="4583">
                  <c:v>4741.0463406880599</c:v>
                </c:pt>
                <c:pt idx="4584">
                  <c:v>4753.8931539574223</c:v>
                </c:pt>
                <c:pt idx="4585">
                  <c:v>4769.8478373882135</c:v>
                </c:pt>
                <c:pt idx="4586">
                  <c:v>4808.0237438410559</c:v>
                </c:pt>
                <c:pt idx="4587">
                  <c:v>4833.0398913802619</c:v>
                </c:pt>
                <c:pt idx="4588">
                  <c:v>4833.0398913802619</c:v>
                </c:pt>
                <c:pt idx="4589">
                  <c:v>4833.0398913802619</c:v>
                </c:pt>
                <c:pt idx="4590">
                  <c:v>4802.2021003885229</c:v>
                </c:pt>
                <c:pt idx="4591">
                  <c:v>4805.8571524511708</c:v>
                </c:pt>
                <c:pt idx="4592">
                  <c:v>4824.515892845563</c:v>
                </c:pt>
                <c:pt idx="4593">
                  <c:v>4826.1741272030931</c:v>
                </c:pt>
                <c:pt idx="4594">
                  <c:v>4828.5718670329697</c:v>
                </c:pt>
                <c:pt idx="4595">
                  <c:v>4828.5718670329697</c:v>
                </c:pt>
                <c:pt idx="4596">
                  <c:v>4828.7676656221784</c:v>
                </c:pt>
                <c:pt idx="4597">
                  <c:v>3842.4034018198536</c:v>
                </c:pt>
                <c:pt idx="4598">
                  <c:v>3822.1977008670092</c:v>
                </c:pt>
                <c:pt idx="4599">
                  <c:v>3813.8708902877629</c:v>
                </c:pt>
                <c:pt idx="4600">
                  <c:v>3804.431483556883</c:v>
                </c:pt>
                <c:pt idx="4601">
                  <c:v>3811.1951540256096</c:v>
                </c:pt>
                <c:pt idx="4602">
                  <c:v>3811.1951540256096</c:v>
                </c:pt>
                <c:pt idx="4603">
                  <c:v>3811.1951540256096</c:v>
                </c:pt>
                <c:pt idx="4604">
                  <c:v>3808.213884728324</c:v>
                </c:pt>
                <c:pt idx="4605">
                  <c:v>3798.7256055881066</c:v>
                </c:pt>
                <c:pt idx="4606">
                  <c:v>3797.3731073234931</c:v>
                </c:pt>
                <c:pt idx="4607">
                  <c:v>3807.8484648298936</c:v>
                </c:pt>
                <c:pt idx="4608">
                  <c:v>3810.3293542616989</c:v>
                </c:pt>
                <c:pt idx="4609">
                  <c:v>3810.3293542616989</c:v>
                </c:pt>
                <c:pt idx="4610">
                  <c:v>3810.3293542616989</c:v>
                </c:pt>
                <c:pt idx="4611">
                  <c:v>3784.0140385390682</c:v>
                </c:pt>
                <c:pt idx="4612">
                  <c:v>3758.8047099734786</c:v>
                </c:pt>
                <c:pt idx="4613">
                  <c:v>3752.6933445716268</c:v>
                </c:pt>
                <c:pt idx="4614">
                  <c:v>3752.2620099986016</c:v>
                </c:pt>
                <c:pt idx="4615">
                  <c:v>3740.6267332996572</c:v>
                </c:pt>
                <c:pt idx="4616">
                  <c:v>3740.6267332996572</c:v>
                </c:pt>
                <c:pt idx="4617">
                  <c:v>3740.6267332996572</c:v>
                </c:pt>
                <c:pt idx="4618">
                  <c:v>3786.2336514326012</c:v>
                </c:pt>
                <c:pt idx="4619">
                  <c:v>3793.6053726272676</c:v>
                </c:pt>
                <c:pt idx="4620">
                  <c:v>3792.6639894540499</c:v>
                </c:pt>
                <c:pt idx="4621">
                  <c:v>3774.9100362730965</c:v>
                </c:pt>
                <c:pt idx="4622">
                  <c:v>3814.4292297009365</c:v>
                </c:pt>
                <c:pt idx="4623">
                  <c:v>3814.4292297009365</c:v>
                </c:pt>
                <c:pt idx="4624">
                  <c:v>3814.4292297009365</c:v>
                </c:pt>
                <c:pt idx="4625">
                  <c:v>3806.9350587376357</c:v>
                </c:pt>
                <c:pt idx="4626">
                  <c:v>3790.4917260690795</c:v>
                </c:pt>
                <c:pt idx="4627">
                  <c:v>2800.0363831127625</c:v>
                </c:pt>
                <c:pt idx="4628">
                  <c:v>2815.8194041941815</c:v>
                </c:pt>
                <c:pt idx="4629">
                  <c:v>2836.4013827053923</c:v>
                </c:pt>
                <c:pt idx="4630">
                  <c:v>2836.4013827053923</c:v>
                </c:pt>
                <c:pt idx="4631">
                  <c:v>2836.4013827053923</c:v>
                </c:pt>
                <c:pt idx="4632">
                  <c:v>2844.5758631263348</c:v>
                </c:pt>
                <c:pt idx="4633">
                  <c:v>2867.6153915466921</c:v>
                </c:pt>
                <c:pt idx="4634">
                  <c:v>2878.0142825933654</c:v>
                </c:pt>
                <c:pt idx="4635">
                  <c:v>2884.9064360767493</c:v>
                </c:pt>
                <c:pt idx="4636">
                  <c:v>2888.6590935197332</c:v>
                </c:pt>
                <c:pt idx="4637">
                  <c:v>2888.6590935197332</c:v>
                </c:pt>
                <c:pt idx="4638">
                  <c:v>2888.6590935197332</c:v>
                </c:pt>
                <c:pt idx="4639">
                  <c:v>2877.2912956158229</c:v>
                </c:pt>
                <c:pt idx="4640">
                  <c:v>2882.9008914986684</c:v>
                </c:pt>
                <c:pt idx="4641">
                  <c:v>2897.7844151021995</c:v>
                </c:pt>
                <c:pt idx="4642">
                  <c:v>2897.1011754928068</c:v>
                </c:pt>
                <c:pt idx="4643">
                  <c:v>2890.2296860697138</c:v>
                </c:pt>
                <c:pt idx="4644">
                  <c:v>2890.2296860697138</c:v>
                </c:pt>
                <c:pt idx="4645">
                  <c:v>2890.2296860697138</c:v>
                </c:pt>
                <c:pt idx="4646">
                  <c:v>2893.9559435947763</c:v>
                </c:pt>
                <c:pt idx="4647">
                  <c:v>2892.3833389954675</c:v>
                </c:pt>
                <c:pt idx="4648">
                  <c:v>2886.7238414398885</c:v>
                </c:pt>
                <c:pt idx="4649">
                  <c:v>2877.1225690760211</c:v>
                </c:pt>
                <c:pt idx="4650">
                  <c:v>2872.6146358923415</c:v>
                </c:pt>
                <c:pt idx="4651">
                  <c:v>2872.6146358923415</c:v>
                </c:pt>
                <c:pt idx="4652">
                  <c:v>2872.6146358923415</c:v>
                </c:pt>
                <c:pt idx="4653">
                  <c:v>2870.9501280677205</c:v>
                </c:pt>
                <c:pt idx="4654">
                  <c:v>2855.4063160128403</c:v>
                </c:pt>
                <c:pt idx="4655">
                  <c:v>2836.2862297801867</c:v>
                </c:pt>
                <c:pt idx="4656">
                  <c:v>2828.4847976022779</c:v>
                </c:pt>
                <c:pt idx="4657">
                  <c:v>2843.2605476213203</c:v>
                </c:pt>
                <c:pt idx="4658">
                  <c:v>1851.3993112838041</c:v>
                </c:pt>
                <c:pt idx="4659">
                  <c:v>1851.3993112838041</c:v>
                </c:pt>
                <c:pt idx="4660">
                  <c:v>1854.2316745201717</c:v>
                </c:pt>
                <c:pt idx="4661">
                  <c:v>1857.1962942906616</c:v>
                </c:pt>
                <c:pt idx="4662">
                  <c:v>1872.5558276594081</c:v>
                </c:pt>
                <c:pt idx="4663">
                  <c:v>1876.8267342655752</c:v>
                </c:pt>
                <c:pt idx="4664">
                  <c:v>1871.8946400588663</c:v>
                </c:pt>
                <c:pt idx="4665">
                  <c:v>1871.8946400588663</c:v>
                </c:pt>
                <c:pt idx="4666">
                  <c:v>1871.8946400588663</c:v>
                </c:pt>
                <c:pt idx="4667">
                  <c:v>1866.5871261532827</c:v>
                </c:pt>
                <c:pt idx="4668">
                  <c:v>1863.9732882029166</c:v>
                </c:pt>
                <c:pt idx="4669">
                  <c:v>1873.9031399024955</c:v>
                </c:pt>
                <c:pt idx="4670">
                  <c:v>1873.8012183107162</c:v>
                </c:pt>
                <c:pt idx="4671">
                  <c:v>1875.2863182043006</c:v>
                </c:pt>
                <c:pt idx="4672">
                  <c:v>1875.2863182043006</c:v>
                </c:pt>
                <c:pt idx="4673">
                  <c:v>1875.2863182043006</c:v>
                </c:pt>
                <c:pt idx="4674">
                  <c:v>1874.0178745386672</c:v>
                </c:pt>
                <c:pt idx="4675">
                  <c:v>1884.5804202251086</c:v>
                </c:pt>
                <c:pt idx="4676">
                  <c:v>1884.3962024890318</c:v>
                </c:pt>
                <c:pt idx="4677">
                  <c:v>1890.7864538271403</c:v>
                </c:pt>
                <c:pt idx="4678">
                  <c:v>1889.6491268672989</c:v>
                </c:pt>
                <c:pt idx="4679">
                  <c:v>1889.6491268672989</c:v>
                </c:pt>
                <c:pt idx="4680">
                  <c:v>1889.6491268672989</c:v>
                </c:pt>
                <c:pt idx="4681">
                  <c:v>1888.2877102573561</c:v>
                </c:pt>
                <c:pt idx="4682">
                  <c:v>1891.5548256536431</c:v>
                </c:pt>
                <c:pt idx="4683">
                  <c:v>1891.7537604746574</c:v>
                </c:pt>
                <c:pt idx="4684">
                  <c:v>1887.4976550292663</c:v>
                </c:pt>
                <c:pt idx="4685">
                  <c:v>1883.0503519294627</c:v>
                </c:pt>
                <c:pt idx="4686">
                  <c:v>1883.0503519294627</c:v>
                </c:pt>
                <c:pt idx="4687">
                  <c:v>1883.1207591821212</c:v>
                </c:pt>
                <c:pt idx="4688">
                  <c:v>885.89874882340314</c:v>
                </c:pt>
                <c:pt idx="4689">
                  <c:v>884.63453587288211</c:v>
                </c:pt>
                <c:pt idx="4690">
                  <c:v>886.9675029172314</c:v>
                </c:pt>
                <c:pt idx="4691">
                  <c:v>890.56750887872192</c:v>
                </c:pt>
                <c:pt idx="4692">
                  <c:v>891.43323845977795</c:v>
                </c:pt>
                <c:pt idx="4693">
                  <c:v>891.43323845977795</c:v>
                </c:pt>
                <c:pt idx="4694">
                  <c:v>891.43323845977795</c:v>
                </c:pt>
                <c:pt idx="4695">
                  <c:v>890.57575991337103</c:v>
                </c:pt>
                <c:pt idx="4696">
                  <c:v>890.10554481789438</c:v>
                </c:pt>
                <c:pt idx="4697">
                  <c:v>894.41172412578078</c:v>
                </c:pt>
                <c:pt idx="4698">
                  <c:v>893.18651422548703</c:v>
                </c:pt>
                <c:pt idx="4699">
                  <c:v>892.70794489116497</c:v>
                </c:pt>
                <c:pt idx="4700">
                  <c:v>892.70794489116497</c:v>
                </c:pt>
                <c:pt idx="4701">
                  <c:v>892.70794489116497</c:v>
                </c:pt>
                <c:pt idx="4702">
                  <c:v>891.23466433431372</c:v>
                </c:pt>
                <c:pt idx="4703">
                  <c:v>892.54095589417523</c:v>
                </c:pt>
                <c:pt idx="4704">
                  <c:v>886.41729487365205</c:v>
                </c:pt>
                <c:pt idx="4705">
                  <c:v>884.14726882321008</c:v>
                </c:pt>
                <c:pt idx="4706">
                  <c:v>880.67069566452506</c:v>
                </c:pt>
                <c:pt idx="4707">
                  <c:v>880.67069566452506</c:v>
                </c:pt>
                <c:pt idx="4708">
                  <c:v>880.67069566452506</c:v>
                </c:pt>
                <c:pt idx="4709">
                  <c:v>886.0704840014572</c:v>
                </c:pt>
                <c:pt idx="4710">
                  <c:v>887.82516938092533</c:v>
                </c:pt>
                <c:pt idx="4711">
                  <c:v>881.15807290621433</c:v>
                </c:pt>
                <c:pt idx="4712">
                  <c:v>876.17403136791927</c:v>
                </c:pt>
                <c:pt idx="4713">
                  <c:v>884.31332012623386</c:v>
                </c:pt>
                <c:pt idx="4714">
                  <c:v>884.31332012623386</c:v>
                </c:pt>
                <c:pt idx="4715">
                  <c:v>884.31332012623386</c:v>
                </c:pt>
                <c:pt idx="4716">
                  <c:v>884.40124739965404</c:v>
                </c:pt>
                <c:pt idx="4717">
                  <c:v>882.08845854159165</c:v>
                </c:pt>
                <c:pt idx="4718">
                  <c:v>889.55000070797212</c:v>
                </c:pt>
                <c:pt idx="4719">
                  <c:v>0</c:v>
                </c:pt>
                <c:pt idx="4720">
                  <c:v>0</c:v>
                </c:pt>
                <c:pt idx="4721">
                  <c:v>0</c:v>
                </c:pt>
                <c:pt idx="4722">
                  <c:v>0</c:v>
                </c:pt>
                <c:pt idx="4723">
                  <c:v>0</c:v>
                </c:pt>
                <c:pt idx="4724">
                  <c:v>0</c:v>
                </c:pt>
                <c:pt idx="4725">
                  <c:v>0</c:v>
                </c:pt>
                <c:pt idx="4726">
                  <c:v>0</c:v>
                </c:pt>
                <c:pt idx="4727">
                  <c:v>0</c:v>
                </c:pt>
                <c:pt idx="4728">
                  <c:v>0</c:v>
                </c:pt>
                <c:pt idx="4729">
                  <c:v>0</c:v>
                </c:pt>
                <c:pt idx="4730">
                  <c:v>0</c:v>
                </c:pt>
                <c:pt idx="4731">
                  <c:v>0</c:v>
                </c:pt>
                <c:pt idx="4732">
                  <c:v>0</c:v>
                </c:pt>
                <c:pt idx="4733">
                  <c:v>0</c:v>
                </c:pt>
                <c:pt idx="4734">
                  <c:v>0</c:v>
                </c:pt>
                <c:pt idx="4735">
                  <c:v>0</c:v>
                </c:pt>
                <c:pt idx="4736">
                  <c:v>0</c:v>
                </c:pt>
                <c:pt idx="4737">
                  <c:v>0</c:v>
                </c:pt>
                <c:pt idx="4738">
                  <c:v>0</c:v>
                </c:pt>
                <c:pt idx="4739">
                  <c:v>0</c:v>
                </c:pt>
                <c:pt idx="4740">
                  <c:v>0</c:v>
                </c:pt>
                <c:pt idx="4741">
                  <c:v>0</c:v>
                </c:pt>
                <c:pt idx="4742">
                  <c:v>0</c:v>
                </c:pt>
                <c:pt idx="4743">
                  <c:v>0</c:v>
                </c:pt>
                <c:pt idx="4744">
                  <c:v>0</c:v>
                </c:pt>
                <c:pt idx="4745">
                  <c:v>0</c:v>
                </c:pt>
                <c:pt idx="4746">
                  <c:v>0</c:v>
                </c:pt>
                <c:pt idx="4747">
                  <c:v>0</c:v>
                </c:pt>
                <c:pt idx="4748">
                  <c:v>0</c:v>
                </c:pt>
                <c:pt idx="4749">
                  <c:v>0</c:v>
                </c:pt>
              </c:numCache>
            </c:numRef>
          </c:val>
          <c:smooth val="0"/>
          <c:extLst>
            <c:ext xmlns:c16="http://schemas.microsoft.com/office/drawing/2014/chart" uri="{C3380CC4-5D6E-409C-BE32-E72D297353CC}">
              <c16:uniqueId val="{00000000-E7E0-489F-9581-89C7B5B2549F}"/>
            </c:ext>
          </c:extLst>
        </c:ser>
        <c:ser>
          <c:idx val="1"/>
          <c:order val="1"/>
          <c:tx>
            <c:strRef>
              <c:f>Data!$H$8</c:f>
              <c:strCache>
                <c:ptCount val="1"/>
                <c:pt idx="0">
                  <c:v>Smoothed Balanced Portfolio</c:v>
                </c:pt>
              </c:strCache>
            </c:strRef>
          </c:tx>
          <c:spPr>
            <a:ln w="28575" cap="rnd">
              <a:solidFill>
                <a:srgbClr val="FF6120"/>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H$9:$H$4758</c:f>
              <c:numCache>
                <c:formatCode>#,##0</c:formatCode>
                <c:ptCount val="4750"/>
                <c:pt idx="0">
                  <c:v>100000</c:v>
                </c:pt>
                <c:pt idx="1">
                  <c:v>99029.584875913861</c:v>
                </c:pt>
                <c:pt idx="2">
                  <c:v>99050.822871848417</c:v>
                </c:pt>
                <c:pt idx="3">
                  <c:v>99072.065422507425</c:v>
                </c:pt>
                <c:pt idx="4">
                  <c:v>99093.312528867697</c:v>
                </c:pt>
                <c:pt idx="5">
                  <c:v>99114.564191906233</c:v>
                </c:pt>
                <c:pt idx="6">
                  <c:v>99135.820412600282</c:v>
                </c:pt>
                <c:pt idx="7">
                  <c:v>99157.081191927282</c:v>
                </c:pt>
                <c:pt idx="8">
                  <c:v>99178.346530864888</c:v>
                </c:pt>
                <c:pt idx="9">
                  <c:v>99199.616430390946</c:v>
                </c:pt>
                <c:pt idx="10">
                  <c:v>99220.890891483534</c:v>
                </c:pt>
                <c:pt idx="11">
                  <c:v>99242.169915120918</c:v>
                </c:pt>
                <c:pt idx="12">
                  <c:v>99263.453502281613</c:v>
                </c:pt>
                <c:pt idx="13">
                  <c:v>99284.741653944293</c:v>
                </c:pt>
                <c:pt idx="14">
                  <c:v>99306.034371087866</c:v>
                </c:pt>
                <c:pt idx="15">
                  <c:v>99327.331654691472</c:v>
                </c:pt>
                <c:pt idx="16">
                  <c:v>99348.633505734411</c:v>
                </c:pt>
                <c:pt idx="17">
                  <c:v>99369.939925196246</c:v>
                </c:pt>
                <c:pt idx="18">
                  <c:v>99391.250914056727</c:v>
                </c:pt>
                <c:pt idx="19">
                  <c:v>99412.56647329581</c:v>
                </c:pt>
                <c:pt idx="20">
                  <c:v>99433.886603893625</c:v>
                </c:pt>
                <c:pt idx="21">
                  <c:v>99455.211306830577</c:v>
                </c:pt>
                <c:pt idx="22">
                  <c:v>99476.540583087277</c:v>
                </c:pt>
                <c:pt idx="23">
                  <c:v>99497.874433644494</c:v>
                </c:pt>
                <c:pt idx="24">
                  <c:v>99519.212859483247</c:v>
                </c:pt>
                <c:pt idx="25">
                  <c:v>99540.555861584769</c:v>
                </c:pt>
                <c:pt idx="26">
                  <c:v>99561.903440930488</c:v>
                </c:pt>
                <c:pt idx="27">
                  <c:v>99583.25559850203</c:v>
                </c:pt>
                <c:pt idx="28">
                  <c:v>99604.612335281257</c:v>
                </c:pt>
                <c:pt idx="29">
                  <c:v>99625.973652250221</c:v>
                </c:pt>
                <c:pt idx="30">
                  <c:v>99647.339550391203</c:v>
                </c:pt>
                <c:pt idx="31">
                  <c:v>98676.848794349178</c:v>
                </c:pt>
                <c:pt idx="32">
                  <c:v>98698.011142107716</c:v>
                </c:pt>
                <c:pt idx="33">
                  <c:v>98719.178028367125</c:v>
                </c:pt>
                <c:pt idx="34">
                  <c:v>98740.349454100709</c:v>
                </c:pt>
                <c:pt idx="35">
                  <c:v>98761.525420282036</c:v>
                </c:pt>
                <c:pt idx="36">
                  <c:v>98782.705927884817</c:v>
                </c:pt>
                <c:pt idx="37">
                  <c:v>98803.890977883057</c:v>
                </c:pt>
                <c:pt idx="38">
                  <c:v>98825.080571250888</c:v>
                </c:pt>
                <c:pt idx="39">
                  <c:v>98846.274708962708</c:v>
                </c:pt>
                <c:pt idx="40">
                  <c:v>98867.473391993088</c:v>
                </c:pt>
                <c:pt idx="41">
                  <c:v>98888.676621316816</c:v>
                </c:pt>
                <c:pt idx="42">
                  <c:v>98909.884397908914</c:v>
                </c:pt>
                <c:pt idx="43">
                  <c:v>98931.096722744594</c:v>
                </c:pt>
                <c:pt idx="44">
                  <c:v>98952.313596799257</c:v>
                </c:pt>
                <c:pt idx="45">
                  <c:v>98973.535021048534</c:v>
                </c:pt>
                <c:pt idx="46">
                  <c:v>98994.760996468307</c:v>
                </c:pt>
                <c:pt idx="47">
                  <c:v>99015.991524034587</c:v>
                </c:pt>
                <c:pt idx="48">
                  <c:v>99037.226604723633</c:v>
                </c:pt>
                <c:pt idx="49">
                  <c:v>99058.466239511923</c:v>
                </c:pt>
                <c:pt idx="50">
                  <c:v>99079.710429376137</c:v>
                </c:pt>
                <c:pt idx="51">
                  <c:v>99100.959175293145</c:v>
                </c:pt>
                <c:pt idx="52">
                  <c:v>99122.21247824005</c:v>
                </c:pt>
                <c:pt idx="53">
                  <c:v>99143.470339194158</c:v>
                </c:pt>
                <c:pt idx="54">
                  <c:v>99164.732759132996</c:v>
                </c:pt>
                <c:pt idx="55">
                  <c:v>99185.999739034276</c:v>
                </c:pt>
                <c:pt idx="56">
                  <c:v>99207.271279875946</c:v>
                </c:pt>
                <c:pt idx="57">
                  <c:v>99228.547382636141</c:v>
                </c:pt>
                <c:pt idx="58">
                  <c:v>99249.828048293231</c:v>
                </c:pt>
                <c:pt idx="59">
                  <c:v>99271.11327782576</c:v>
                </c:pt>
                <c:pt idx="60">
                  <c:v>99292.403072212517</c:v>
                </c:pt>
                <c:pt idx="61">
                  <c:v>99313.697432432455</c:v>
                </c:pt>
                <c:pt idx="62">
                  <c:v>98343.135123127286</c:v>
                </c:pt>
                <c:pt idx="63">
                  <c:v>98364.225902277292</c:v>
                </c:pt>
                <c:pt idx="64">
                  <c:v>98385.321204579464</c:v>
                </c:pt>
                <c:pt idx="65">
                  <c:v>98406.421031003876</c:v>
                </c:pt>
                <c:pt idx="66">
                  <c:v>98427.525382520733</c:v>
                </c:pt>
                <c:pt idx="67">
                  <c:v>98448.634260100502</c:v>
                </c:pt>
                <c:pt idx="68">
                  <c:v>98469.747664713868</c:v>
                </c:pt>
                <c:pt idx="69">
                  <c:v>98490.865597331678</c:v>
                </c:pt>
                <c:pt idx="70">
                  <c:v>98511.988058925024</c:v>
                </c:pt>
                <c:pt idx="71">
                  <c:v>98533.115050465189</c:v>
                </c:pt>
                <c:pt idx="72">
                  <c:v>98554.246572923672</c:v>
                </c:pt>
                <c:pt idx="73">
                  <c:v>98575.382627272193</c:v>
                </c:pt>
                <c:pt idx="74">
                  <c:v>98596.523214482644</c:v>
                </c:pt>
                <c:pt idx="75">
                  <c:v>98617.668335527167</c:v>
                </c:pt>
                <c:pt idx="76">
                  <c:v>98638.817991378077</c:v>
                </c:pt>
                <c:pt idx="77">
                  <c:v>98659.972183007936</c:v>
                </c:pt>
                <c:pt idx="78">
                  <c:v>98681.130911389468</c:v>
                </c:pt>
                <c:pt idx="79">
                  <c:v>98702.294177495656</c:v>
                </c:pt>
                <c:pt idx="80">
                  <c:v>98723.461982299632</c:v>
                </c:pt>
                <c:pt idx="81">
                  <c:v>98744.634326774787</c:v>
                </c:pt>
                <c:pt idx="82">
                  <c:v>98765.811211894703</c:v>
                </c:pt>
                <c:pt idx="83">
                  <c:v>98786.992638633179</c:v>
                </c:pt>
                <c:pt idx="84">
                  <c:v>98808.178607964204</c:v>
                </c:pt>
                <c:pt idx="85">
                  <c:v>98829.369120862</c:v>
                </c:pt>
                <c:pt idx="86">
                  <c:v>98850.564178300963</c:v>
                </c:pt>
                <c:pt idx="87">
                  <c:v>98871.763781255751</c:v>
                </c:pt>
                <c:pt idx="88">
                  <c:v>98892.967930701183</c:v>
                </c:pt>
                <c:pt idx="89">
                  <c:v>98914.176627612309</c:v>
                </c:pt>
                <c:pt idx="90">
                  <c:v>98935.389872964384</c:v>
                </c:pt>
                <c:pt idx="91">
                  <c:v>98956.607667732853</c:v>
                </c:pt>
                <c:pt idx="92">
                  <c:v>97985.968776555907</c:v>
                </c:pt>
                <c:pt idx="93">
                  <c:v>98006.982957410321</c:v>
                </c:pt>
                <c:pt idx="94">
                  <c:v>98028.001644989548</c:v>
                </c:pt>
                <c:pt idx="95">
                  <c:v>98049.024840260099</c:v>
                </c:pt>
                <c:pt idx="96">
                  <c:v>98070.052544188715</c:v>
                </c:pt>
                <c:pt idx="97">
                  <c:v>98091.084757742326</c:v>
                </c:pt>
                <c:pt idx="98">
                  <c:v>98112.121481888054</c:v>
                </c:pt>
                <c:pt idx="99">
                  <c:v>98133.162717593252</c:v>
                </c:pt>
                <c:pt idx="100">
                  <c:v>98154.208465825475</c:v>
                </c:pt>
                <c:pt idx="101">
                  <c:v>98175.2587275525</c:v>
                </c:pt>
                <c:pt idx="102">
                  <c:v>98196.313503742291</c:v>
                </c:pt>
                <c:pt idx="103">
                  <c:v>98217.372795363015</c:v>
                </c:pt>
                <c:pt idx="104">
                  <c:v>98238.436603383059</c:v>
                </c:pt>
                <c:pt idx="105">
                  <c:v>98259.504928770999</c:v>
                </c:pt>
                <c:pt idx="106">
                  <c:v>98280.577772495657</c:v>
                </c:pt>
                <c:pt idx="107">
                  <c:v>98301.655135526031</c:v>
                </c:pt>
                <c:pt idx="108">
                  <c:v>98322.737018831336</c:v>
                </c:pt>
                <c:pt idx="109">
                  <c:v>98343.823423380993</c:v>
                </c:pt>
                <c:pt idx="110">
                  <c:v>98364.914350144652</c:v>
                </c:pt>
                <c:pt idx="111">
                  <c:v>98386.009800092157</c:v>
                </c:pt>
                <c:pt idx="112">
                  <c:v>98407.109774193523</c:v>
                </c:pt>
                <c:pt idx="113">
                  <c:v>98428.214273419027</c:v>
                </c:pt>
                <c:pt idx="114">
                  <c:v>98449.323298739124</c:v>
                </c:pt>
                <c:pt idx="115">
                  <c:v>98470.436851124483</c:v>
                </c:pt>
                <c:pt idx="116">
                  <c:v>98491.554931545979</c:v>
                </c:pt>
                <c:pt idx="117">
                  <c:v>98512.677540974706</c:v>
                </c:pt>
                <c:pt idx="118">
                  <c:v>98533.804680381974</c:v>
                </c:pt>
                <c:pt idx="119">
                  <c:v>98554.93635073927</c:v>
                </c:pt>
                <c:pt idx="120">
                  <c:v>98576.072553018312</c:v>
                </c:pt>
                <c:pt idx="121">
                  <c:v>98597.213288191022</c:v>
                </c:pt>
                <c:pt idx="122">
                  <c:v>98618.358557229541</c:v>
                </c:pt>
                <c:pt idx="123">
                  <c:v>97647.647124768657</c:v>
                </c:pt>
                <c:pt idx="124">
                  <c:v>97668.588748781855</c:v>
                </c:pt>
                <c:pt idx="125">
                  <c:v>97689.534863959241</c:v>
                </c:pt>
                <c:pt idx="126">
                  <c:v>97710.485471263994</c:v>
                </c:pt>
                <c:pt idx="127">
                  <c:v>97731.440571659521</c:v>
                </c:pt>
                <c:pt idx="128">
                  <c:v>97752.400166109408</c:v>
                </c:pt>
                <c:pt idx="129">
                  <c:v>97773.364255577428</c:v>
                </c:pt>
                <c:pt idx="130">
                  <c:v>97794.33284102763</c:v>
                </c:pt>
                <c:pt idx="131">
                  <c:v>97815.305923424181</c:v>
                </c:pt>
                <c:pt idx="132">
                  <c:v>97836.283503731538</c:v>
                </c:pt>
                <c:pt idx="133">
                  <c:v>97857.265582914319</c:v>
                </c:pt>
                <c:pt idx="134">
                  <c:v>97878.252161937358</c:v>
                </c:pt>
                <c:pt idx="135">
                  <c:v>97899.243241765682</c:v>
                </c:pt>
                <c:pt idx="136">
                  <c:v>97920.238823364547</c:v>
                </c:pt>
                <c:pt idx="137">
                  <c:v>97941.238907699415</c:v>
                </c:pt>
                <c:pt idx="138">
                  <c:v>97962.243495735936</c:v>
                </c:pt>
                <c:pt idx="139">
                  <c:v>97983.252588439995</c:v>
                </c:pt>
                <c:pt idx="140">
                  <c:v>98004.266186777633</c:v>
                </c:pt>
                <c:pt idx="141">
                  <c:v>98025.284291715187</c:v>
                </c:pt>
                <c:pt idx="142">
                  <c:v>98046.306904219105</c:v>
                </c:pt>
                <c:pt idx="143">
                  <c:v>98067.334025256103</c:v>
                </c:pt>
                <c:pt idx="144">
                  <c:v>98088.365655793081</c:v>
                </c:pt>
                <c:pt idx="145">
                  <c:v>98109.401796797145</c:v>
                </c:pt>
                <c:pt idx="146">
                  <c:v>98130.442449235634</c:v>
                </c:pt>
                <c:pt idx="147">
                  <c:v>98151.487614076046</c:v>
                </c:pt>
                <c:pt idx="148">
                  <c:v>98172.537292286157</c:v>
                </c:pt>
                <c:pt idx="149">
                  <c:v>98193.591484833887</c:v>
                </c:pt>
                <c:pt idx="150">
                  <c:v>98214.650192687375</c:v>
                </c:pt>
                <c:pt idx="151">
                  <c:v>98235.713416814993</c:v>
                </c:pt>
                <c:pt idx="152">
                  <c:v>98256.781158185302</c:v>
                </c:pt>
                <c:pt idx="153">
                  <c:v>98277.853417767066</c:v>
                </c:pt>
                <c:pt idx="154">
                  <c:v>97307.068960191755</c:v>
                </c:pt>
                <c:pt idx="155">
                  <c:v>97327.937543429478</c:v>
                </c:pt>
                <c:pt idx="156">
                  <c:v>97348.810602166981</c:v>
                </c:pt>
                <c:pt idx="157">
                  <c:v>97369.688137364094</c:v>
                </c:pt>
                <c:pt idx="158">
                  <c:v>97390.570149980849</c:v>
                </c:pt>
                <c:pt idx="159">
                  <c:v>97411.456640977471</c:v>
                </c:pt>
                <c:pt idx="160">
                  <c:v>97432.347611314399</c:v>
                </c:pt>
                <c:pt idx="161">
                  <c:v>97453.243061952264</c:v>
                </c:pt>
                <c:pt idx="162">
                  <c:v>97474.142993851929</c:v>
                </c:pt>
                <c:pt idx="163">
                  <c:v>97495.047407974445</c:v>
                </c:pt>
                <c:pt idx="164">
                  <c:v>97515.95630528107</c:v>
                </c:pt>
                <c:pt idx="165">
                  <c:v>97536.869686733291</c:v>
                </c:pt>
                <c:pt idx="166">
                  <c:v>97557.787553292786</c:v>
                </c:pt>
                <c:pt idx="167">
                  <c:v>97578.709905921423</c:v>
                </c:pt>
                <c:pt idx="168">
                  <c:v>97599.636745581272</c:v>
                </c:pt>
                <c:pt idx="169">
                  <c:v>97620.568073234666</c:v>
                </c:pt>
                <c:pt idx="170">
                  <c:v>97641.503889844069</c:v>
                </c:pt>
                <c:pt idx="171">
                  <c:v>97662.444196372206</c:v>
                </c:pt>
                <c:pt idx="172">
                  <c:v>97683.388993781991</c:v>
                </c:pt>
                <c:pt idx="173">
                  <c:v>97704.33828303653</c:v>
                </c:pt>
                <c:pt idx="174">
                  <c:v>97725.292065099173</c:v>
                </c:pt>
                <c:pt idx="175">
                  <c:v>97746.250340933431</c:v>
                </c:pt>
                <c:pt idx="176">
                  <c:v>97767.213111503064</c:v>
                </c:pt>
                <c:pt idx="177">
                  <c:v>97788.180377771991</c:v>
                </c:pt>
                <c:pt idx="178">
                  <c:v>97809.152140704377</c:v>
                </c:pt>
                <c:pt idx="179">
                  <c:v>97830.128401264592</c:v>
                </c:pt>
                <c:pt idx="180">
                  <c:v>97851.109160417182</c:v>
                </c:pt>
                <c:pt idx="181">
                  <c:v>97872.094419126937</c:v>
                </c:pt>
                <c:pt idx="182">
                  <c:v>97893.08417835884</c:v>
                </c:pt>
                <c:pt idx="183">
                  <c:v>96922.217202740547</c:v>
                </c:pt>
                <c:pt idx="184">
                  <c:v>96943.003250238369</c:v>
                </c:pt>
                <c:pt idx="185">
                  <c:v>96963.793755535255</c:v>
                </c:pt>
                <c:pt idx="186">
                  <c:v>96984.588719587249</c:v>
                </c:pt>
                <c:pt idx="187">
                  <c:v>97005.388143350574</c:v>
                </c:pt>
                <c:pt idx="188">
                  <c:v>97026.192027781683</c:v>
                </c:pt>
                <c:pt idx="189">
                  <c:v>97047.000373837189</c:v>
                </c:pt>
                <c:pt idx="190">
                  <c:v>97067.813182473954</c:v>
                </c:pt>
                <c:pt idx="191">
                  <c:v>97088.630454649014</c:v>
                </c:pt>
                <c:pt idx="192">
                  <c:v>97109.452191319637</c:v>
                </c:pt>
                <c:pt idx="193">
                  <c:v>97130.278393443266</c:v>
                </c:pt>
                <c:pt idx="194">
                  <c:v>97151.109061977593</c:v>
                </c:pt>
                <c:pt idx="195">
                  <c:v>97171.944197880468</c:v>
                </c:pt>
                <c:pt idx="196">
                  <c:v>97192.783802109989</c:v>
                </c:pt>
                <c:pt idx="197">
                  <c:v>97213.627875624428</c:v>
                </c:pt>
                <c:pt idx="198">
                  <c:v>97234.476419382263</c:v>
                </c:pt>
                <c:pt idx="199">
                  <c:v>97255.329434342188</c:v>
                </c:pt>
                <c:pt idx="200">
                  <c:v>97276.186921463115</c:v>
                </c:pt>
                <c:pt idx="201">
                  <c:v>97297.048881704133</c:v>
                </c:pt>
                <c:pt idx="202">
                  <c:v>97317.915316024577</c:v>
                </c:pt>
                <c:pt idx="203">
                  <c:v>97338.786225383941</c:v>
                </c:pt>
                <c:pt idx="204">
                  <c:v>97359.661610741954</c:v>
                </c:pt>
                <c:pt idx="205">
                  <c:v>97380.541473058547</c:v>
                </c:pt>
                <c:pt idx="206">
                  <c:v>97401.425813293856</c:v>
                </c:pt>
                <c:pt idx="207">
                  <c:v>97422.31463240819</c:v>
                </c:pt>
                <c:pt idx="208">
                  <c:v>97443.207931362136</c:v>
                </c:pt>
                <c:pt idx="209">
                  <c:v>97464.105711116441</c:v>
                </c:pt>
                <c:pt idx="210">
                  <c:v>97485.00797263204</c:v>
                </c:pt>
                <c:pt idx="211">
                  <c:v>97505.914716870102</c:v>
                </c:pt>
                <c:pt idx="212">
                  <c:v>97526.825944791999</c:v>
                </c:pt>
                <c:pt idx="213">
                  <c:v>97547.741657359322</c:v>
                </c:pt>
                <c:pt idx="214">
                  <c:v>96576.800619196321</c:v>
                </c:pt>
                <c:pt idx="215">
                  <c:v>96597.51258826589</c:v>
                </c:pt>
                <c:pt idx="216">
                  <c:v>96618.2289992476</c:v>
                </c:pt>
                <c:pt idx="217">
                  <c:v>96638.949853094062</c:v>
                </c:pt>
                <c:pt idx="218">
                  <c:v>96659.675150758092</c:v>
                </c:pt>
                <c:pt idx="219">
                  <c:v>96680.404893192739</c:v>
                </c:pt>
                <c:pt idx="220">
                  <c:v>96701.139081351212</c:v>
                </c:pt>
                <c:pt idx="221">
                  <c:v>96721.877716186937</c:v>
                </c:pt>
                <c:pt idx="222">
                  <c:v>96742.620798653574</c:v>
                </c:pt>
                <c:pt idx="223">
                  <c:v>96763.368329704972</c:v>
                </c:pt>
                <c:pt idx="224">
                  <c:v>96784.120310295155</c:v>
                </c:pt>
                <c:pt idx="225">
                  <c:v>96804.876741378408</c:v>
                </c:pt>
                <c:pt idx="226">
                  <c:v>96825.637623909162</c:v>
                </c:pt>
                <c:pt idx="227">
                  <c:v>96846.402958842082</c:v>
                </c:pt>
                <c:pt idx="228">
                  <c:v>96867.172747132048</c:v>
                </c:pt>
                <c:pt idx="229">
                  <c:v>96887.946989734133</c:v>
                </c:pt>
                <c:pt idx="230">
                  <c:v>96908.725687603597</c:v>
                </c:pt>
                <c:pt idx="231">
                  <c:v>96929.508841695933</c:v>
                </c:pt>
                <c:pt idx="232">
                  <c:v>96950.296452966824</c:v>
                </c:pt>
                <c:pt idx="233">
                  <c:v>96971.088522372156</c:v>
                </c:pt>
                <c:pt idx="234">
                  <c:v>96991.885050868033</c:v>
                </c:pt>
                <c:pt idx="235">
                  <c:v>97012.686039410764</c:v>
                </c:pt>
                <c:pt idx="236">
                  <c:v>97033.491488956832</c:v>
                </c:pt>
                <c:pt idx="237">
                  <c:v>97054.301400462966</c:v>
                </c:pt>
                <c:pt idx="238">
                  <c:v>97075.115774886086</c:v>
                </c:pt>
                <c:pt idx="239">
                  <c:v>97095.934613183315</c:v>
                </c:pt>
                <c:pt idx="240">
                  <c:v>97116.757916311966</c:v>
                </c:pt>
                <c:pt idx="241">
                  <c:v>97137.585685229598</c:v>
                </c:pt>
                <c:pt idx="242">
                  <c:v>97158.417920893917</c:v>
                </c:pt>
                <c:pt idx="243">
                  <c:v>97179.254624262889</c:v>
                </c:pt>
                <c:pt idx="244">
                  <c:v>96208.234559957127</c:v>
                </c:pt>
                <c:pt idx="245">
                  <c:v>96228.867485935902</c:v>
                </c:pt>
                <c:pt idx="246">
                  <c:v>96249.50483687516</c:v>
                </c:pt>
                <c:pt idx="247">
                  <c:v>96270.14661372386</c:v>
                </c:pt>
                <c:pt idx="248">
                  <c:v>96290.792817431196</c:v>
                </c:pt>
                <c:pt idx="249">
                  <c:v>96311.443448946549</c:v>
                </c:pt>
                <c:pt idx="250">
                  <c:v>96332.098509219533</c:v>
                </c:pt>
                <c:pt idx="251">
                  <c:v>96352.757999199923</c:v>
                </c:pt>
                <c:pt idx="252">
                  <c:v>96373.421919837725</c:v>
                </c:pt>
                <c:pt idx="253">
                  <c:v>96394.090272083136</c:v>
                </c:pt>
                <c:pt idx="254">
                  <c:v>96414.763056886557</c:v>
                </c:pt>
                <c:pt idx="255">
                  <c:v>96435.440275198634</c:v>
                </c:pt>
                <c:pt idx="256">
                  <c:v>96456.121927970162</c:v>
                </c:pt>
                <c:pt idx="257">
                  <c:v>96476.80801615215</c:v>
                </c:pt>
                <c:pt idx="258">
                  <c:v>96497.498540695844</c:v>
                </c:pt>
                <c:pt idx="259">
                  <c:v>96518.193502552647</c:v>
                </c:pt>
                <c:pt idx="260">
                  <c:v>96538.892902674183</c:v>
                </c:pt>
                <c:pt idx="261">
                  <c:v>96559.596742012305</c:v>
                </c:pt>
                <c:pt idx="262">
                  <c:v>96580.30502151906</c:v>
                </c:pt>
                <c:pt idx="263">
                  <c:v>96601.01774214668</c:v>
                </c:pt>
                <c:pt idx="264">
                  <c:v>96621.734904847632</c:v>
                </c:pt>
                <c:pt idx="265">
                  <c:v>96642.456510574557</c:v>
                </c:pt>
                <c:pt idx="266">
                  <c:v>96663.1825602803</c:v>
                </c:pt>
                <c:pt idx="267">
                  <c:v>96683.913054917939</c:v>
                </c:pt>
                <c:pt idx="268">
                  <c:v>96704.647995440697</c:v>
                </c:pt>
                <c:pt idx="269">
                  <c:v>96725.387382802073</c:v>
                </c:pt>
                <c:pt idx="270">
                  <c:v>96746.131217955757</c:v>
                </c:pt>
                <c:pt idx="271">
                  <c:v>94966.003807498419</c:v>
                </c:pt>
                <c:pt idx="272">
                  <c:v>94986.370323275623</c:v>
                </c:pt>
                <c:pt idx="273">
                  <c:v>95006.741206878651</c:v>
                </c:pt>
                <c:pt idx="274">
                  <c:v>95027.116459244251</c:v>
                </c:pt>
                <c:pt idx="275">
                  <c:v>94055.634844971821</c:v>
                </c:pt>
                <c:pt idx="276">
                  <c:v>94075.806121999412</c:v>
                </c:pt>
                <c:pt idx="277">
                  <c:v>94095.981724981713</c:v>
                </c:pt>
                <c:pt idx="278">
                  <c:v>94116.161654846481</c:v>
                </c:pt>
                <c:pt idx="279">
                  <c:v>94136.345912521661</c:v>
                </c:pt>
                <c:pt idx="280">
                  <c:v>94156.534498935391</c:v>
                </c:pt>
                <c:pt idx="281">
                  <c:v>94176.727415016023</c:v>
                </c:pt>
                <c:pt idx="282">
                  <c:v>94196.924661692101</c:v>
                </c:pt>
                <c:pt idx="283">
                  <c:v>94217.126239892386</c:v>
                </c:pt>
                <c:pt idx="284">
                  <c:v>94237.332150545815</c:v>
                </c:pt>
                <c:pt idx="285">
                  <c:v>94257.542394581513</c:v>
                </c:pt>
                <c:pt idx="286">
                  <c:v>94277.756972928837</c:v>
                </c:pt>
                <c:pt idx="287">
                  <c:v>94297.975886517335</c:v>
                </c:pt>
                <c:pt idx="288">
                  <c:v>94318.199136276715</c:v>
                </c:pt>
                <c:pt idx="289">
                  <c:v>94338.426723136945</c:v>
                </c:pt>
                <c:pt idx="290">
                  <c:v>94358.658648028169</c:v>
                </c:pt>
                <c:pt idx="291">
                  <c:v>94378.894911880707</c:v>
                </c:pt>
                <c:pt idx="292">
                  <c:v>94399.135515625123</c:v>
                </c:pt>
                <c:pt idx="293">
                  <c:v>94419.380460192115</c:v>
                </c:pt>
                <c:pt idx="294">
                  <c:v>94439.629746512641</c:v>
                </c:pt>
                <c:pt idx="295">
                  <c:v>94459.883375517864</c:v>
                </c:pt>
                <c:pt idx="296">
                  <c:v>94480.141348139092</c:v>
                </c:pt>
                <c:pt idx="297">
                  <c:v>94500.403665307866</c:v>
                </c:pt>
                <c:pt idx="298">
                  <c:v>94520.670327955915</c:v>
                </c:pt>
                <c:pt idx="299">
                  <c:v>94540.941337015203</c:v>
                </c:pt>
                <c:pt idx="300">
                  <c:v>94561.216693417839</c:v>
                </c:pt>
                <c:pt idx="301">
                  <c:v>94581.496398096162</c:v>
                </c:pt>
                <c:pt idx="302">
                  <c:v>94601.780451982719</c:v>
                </c:pt>
                <c:pt idx="303">
                  <c:v>94622.068856010243</c:v>
                </c:pt>
                <c:pt idx="304">
                  <c:v>94642.361611111657</c:v>
                </c:pt>
                <c:pt idx="305">
                  <c:v>93670.797481882604</c:v>
                </c:pt>
                <c:pt idx="306">
                  <c:v>93690.886226257309</c:v>
                </c:pt>
                <c:pt idx="307">
                  <c:v>93710.979278886691</c:v>
                </c:pt>
                <c:pt idx="308">
                  <c:v>93731.076640694693</c:v>
                </c:pt>
                <c:pt idx="309">
                  <c:v>93751.178312605465</c:v>
                </c:pt>
                <c:pt idx="310">
                  <c:v>93771.284295543359</c:v>
                </c:pt>
                <c:pt idx="311">
                  <c:v>93791.39459043293</c:v>
                </c:pt>
                <c:pt idx="312">
                  <c:v>93811.509198198924</c:v>
                </c:pt>
                <c:pt idx="313">
                  <c:v>93831.628119766276</c:v>
                </c:pt>
                <c:pt idx="314">
                  <c:v>93851.751356060136</c:v>
                </c:pt>
                <c:pt idx="315">
                  <c:v>93871.878908005834</c:v>
                </c:pt>
                <c:pt idx="316">
                  <c:v>93892.010776528914</c:v>
                </c:pt>
                <c:pt idx="317">
                  <c:v>93912.146962555111</c:v>
                </c:pt>
                <c:pt idx="318">
                  <c:v>93932.287467010363</c:v>
                </c:pt>
                <c:pt idx="319">
                  <c:v>93952.432290820798</c:v>
                </c:pt>
                <c:pt idx="320">
                  <c:v>93972.58143491279</c:v>
                </c:pt>
                <c:pt idx="321">
                  <c:v>93992.734900212832</c:v>
                </c:pt>
                <c:pt idx="322">
                  <c:v>94012.892687647662</c:v>
                </c:pt>
                <c:pt idx="323">
                  <c:v>94033.054798144207</c:v>
                </c:pt>
                <c:pt idx="324">
                  <c:v>94053.221232629599</c:v>
                </c:pt>
                <c:pt idx="325">
                  <c:v>94073.391992031175</c:v>
                </c:pt>
                <c:pt idx="326">
                  <c:v>94093.567077276457</c:v>
                </c:pt>
                <c:pt idx="327">
                  <c:v>94113.74648929316</c:v>
                </c:pt>
                <c:pt idx="328">
                  <c:v>94133.930229009231</c:v>
                </c:pt>
                <c:pt idx="329">
                  <c:v>94154.118297352761</c:v>
                </c:pt>
                <c:pt idx="330">
                  <c:v>94174.310695252105</c:v>
                </c:pt>
                <c:pt idx="331">
                  <c:v>94194.507423635747</c:v>
                </c:pt>
                <c:pt idx="332">
                  <c:v>94214.708483432434</c:v>
                </c:pt>
                <c:pt idx="333">
                  <c:v>94234.913875571074</c:v>
                </c:pt>
                <c:pt idx="334">
                  <c:v>94255.123600980791</c:v>
                </c:pt>
                <c:pt idx="335">
                  <c:v>94275.337660590929</c:v>
                </c:pt>
                <c:pt idx="336">
                  <c:v>93303.694818993448</c:v>
                </c:pt>
                <c:pt idx="337">
                  <c:v>93323.704834119009</c:v>
                </c:pt>
                <c:pt idx="338">
                  <c:v>93343.719140614878</c:v>
                </c:pt>
                <c:pt idx="339">
                  <c:v>93363.737739401375</c:v>
                </c:pt>
                <c:pt idx="340">
                  <c:v>93383.76063139904</c:v>
                </c:pt>
                <c:pt idx="341">
                  <c:v>93403.787817528602</c:v>
                </c:pt>
                <c:pt idx="342">
                  <c:v>93423.81929871098</c:v>
                </c:pt>
                <c:pt idx="343">
                  <c:v>93443.855075867294</c:v>
                </c:pt>
                <c:pt idx="344">
                  <c:v>93463.895149918884</c:v>
                </c:pt>
                <c:pt idx="345">
                  <c:v>93483.939521787237</c:v>
                </c:pt>
                <c:pt idx="346">
                  <c:v>93503.988192394085</c:v>
                </c:pt>
                <c:pt idx="347">
                  <c:v>93524.041162661335</c:v>
                </c:pt>
                <c:pt idx="348">
                  <c:v>93544.098433511099</c:v>
                </c:pt>
                <c:pt idx="349">
                  <c:v>93564.160005865691</c:v>
                </c:pt>
                <c:pt idx="350">
                  <c:v>93584.225880647602</c:v>
                </c:pt>
                <c:pt idx="351">
                  <c:v>93604.296058779524</c:v>
                </c:pt>
                <c:pt idx="352">
                  <c:v>93624.370541184398</c:v>
                </c:pt>
                <c:pt idx="353">
                  <c:v>93644.449328785282</c:v>
                </c:pt>
                <c:pt idx="354">
                  <c:v>93664.532422505508</c:v>
                </c:pt>
                <c:pt idx="355">
                  <c:v>93684.619823268571</c:v>
                </c:pt>
                <c:pt idx="356">
                  <c:v>93704.711531998139</c:v>
                </c:pt>
                <c:pt idx="357">
                  <c:v>93724.807549618112</c:v>
                </c:pt>
                <c:pt idx="358">
                  <c:v>93744.907877052581</c:v>
                </c:pt>
                <c:pt idx="359">
                  <c:v>93765.012515225841</c:v>
                </c:pt>
                <c:pt idx="360">
                  <c:v>93785.121465062359</c:v>
                </c:pt>
                <c:pt idx="361">
                  <c:v>93805.234727486837</c:v>
                </c:pt>
                <c:pt idx="362">
                  <c:v>93825.352303424152</c:v>
                </c:pt>
                <c:pt idx="363">
                  <c:v>93845.474193799382</c:v>
                </c:pt>
                <c:pt idx="364">
                  <c:v>93865.600399537827</c:v>
                </c:pt>
                <c:pt idx="365">
                  <c:v>93885.730921564944</c:v>
                </c:pt>
                <c:pt idx="366">
                  <c:v>93905.865760806395</c:v>
                </c:pt>
                <c:pt idx="367">
                  <c:v>92934.143681850546</c:v>
                </c:pt>
                <c:pt idx="368">
                  <c:v>92954.074442624405</c:v>
                </c:pt>
                <c:pt idx="369">
                  <c:v>92974.009477771586</c:v>
                </c:pt>
                <c:pt idx="370">
                  <c:v>92993.9487882088</c:v>
                </c:pt>
                <c:pt idx="371">
                  <c:v>93013.892374852905</c:v>
                </c:pt>
                <c:pt idx="372">
                  <c:v>93033.840238620978</c:v>
                </c:pt>
                <c:pt idx="373">
                  <c:v>93053.792380430314</c:v>
                </c:pt>
                <c:pt idx="374">
                  <c:v>93073.748801198381</c:v>
                </c:pt>
                <c:pt idx="375">
                  <c:v>93093.709501842837</c:v>
                </c:pt>
                <c:pt idx="376">
                  <c:v>93113.674483281575</c:v>
                </c:pt>
                <c:pt idx="377">
                  <c:v>93133.64374643263</c:v>
                </c:pt>
                <c:pt idx="378">
                  <c:v>93153.617292214287</c:v>
                </c:pt>
                <c:pt idx="379">
                  <c:v>93173.59512154499</c:v>
                </c:pt>
                <c:pt idx="380">
                  <c:v>93193.577235343386</c:v>
                </c:pt>
                <c:pt idx="381">
                  <c:v>93213.563634528342</c:v>
                </c:pt>
                <c:pt idx="382">
                  <c:v>93233.554320018899</c:v>
                </c:pt>
                <c:pt idx="383">
                  <c:v>93253.5492927343</c:v>
                </c:pt>
                <c:pt idx="384">
                  <c:v>93273.548553593995</c:v>
                </c:pt>
                <c:pt idx="385">
                  <c:v>93293.552103517635</c:v>
                </c:pt>
                <c:pt idx="386">
                  <c:v>93313.559943425062</c:v>
                </c:pt>
                <c:pt idx="387">
                  <c:v>93333.572074236276</c:v>
                </c:pt>
                <c:pt idx="388">
                  <c:v>93353.588496871525</c:v>
                </c:pt>
                <c:pt idx="389">
                  <c:v>93373.609212251249</c:v>
                </c:pt>
                <c:pt idx="390">
                  <c:v>93393.634221296059</c:v>
                </c:pt>
                <c:pt idx="391">
                  <c:v>93413.663524926771</c:v>
                </c:pt>
                <c:pt idx="392">
                  <c:v>93433.697124064449</c:v>
                </c:pt>
                <c:pt idx="393">
                  <c:v>93453.735019630287</c:v>
                </c:pt>
                <c:pt idx="394">
                  <c:v>93473.777212545698</c:v>
                </c:pt>
                <c:pt idx="395">
                  <c:v>93493.823703732298</c:v>
                </c:pt>
                <c:pt idx="396">
                  <c:v>93513.874494111908</c:v>
                </c:pt>
                <c:pt idx="397">
                  <c:v>92542.068348269007</c:v>
                </c:pt>
                <c:pt idx="398">
                  <c:v>92561.91502412672</c:v>
                </c:pt>
                <c:pt idx="399">
                  <c:v>92581.765956324816</c:v>
                </c:pt>
                <c:pt idx="400">
                  <c:v>92601.621145776095</c:v>
                </c:pt>
                <c:pt idx="401">
                  <c:v>92621.4805933936</c:v>
                </c:pt>
                <c:pt idx="402">
                  <c:v>92641.344300090539</c:v>
                </c:pt>
                <c:pt idx="403">
                  <c:v>92661.212266780305</c:v>
                </c:pt>
                <c:pt idx="404">
                  <c:v>92681.084494376511</c:v>
                </c:pt>
                <c:pt idx="405">
                  <c:v>92700.96098379296</c:v>
                </c:pt>
                <c:pt idx="406">
                  <c:v>92720.841735943643</c:v>
                </c:pt>
                <c:pt idx="407">
                  <c:v>92740.726751742739</c:v>
                </c:pt>
                <c:pt idx="408">
                  <c:v>92760.616032104634</c:v>
                </c:pt>
                <c:pt idx="409">
                  <c:v>92780.509577943929</c:v>
                </c:pt>
                <c:pt idx="410">
                  <c:v>92800.407390175402</c:v>
                </c:pt>
                <c:pt idx="411">
                  <c:v>92820.309469714019</c:v>
                </c:pt>
                <c:pt idx="412">
                  <c:v>92840.215817474949</c:v>
                </c:pt>
                <c:pt idx="413">
                  <c:v>92860.126434373582</c:v>
                </c:pt>
                <c:pt idx="414">
                  <c:v>92880.041321325451</c:v>
                </c:pt>
                <c:pt idx="415">
                  <c:v>92899.960479246336</c:v>
                </c:pt>
                <c:pt idx="416">
                  <c:v>92919.88390905218</c:v>
                </c:pt>
                <c:pt idx="417">
                  <c:v>92939.811611659155</c:v>
                </c:pt>
                <c:pt idx="418">
                  <c:v>92959.743587983598</c:v>
                </c:pt>
                <c:pt idx="419">
                  <c:v>92979.679838942058</c:v>
                </c:pt>
                <c:pt idx="420">
                  <c:v>92999.620365451279</c:v>
                </c:pt>
                <c:pt idx="421">
                  <c:v>93019.565168428206</c:v>
                </c:pt>
                <c:pt idx="422">
                  <c:v>93039.514248789957</c:v>
                </c:pt>
                <c:pt idx="423">
                  <c:v>93059.467607453887</c:v>
                </c:pt>
                <c:pt idx="424">
                  <c:v>93079.425245337508</c:v>
                </c:pt>
                <c:pt idx="425">
                  <c:v>93099.387163358551</c:v>
                </c:pt>
                <c:pt idx="426">
                  <c:v>93119.353362434937</c:v>
                </c:pt>
                <c:pt idx="427">
                  <c:v>93139.323843484788</c:v>
                </c:pt>
                <c:pt idx="428">
                  <c:v>92167.437371088919</c:v>
                </c:pt>
                <c:pt idx="429">
                  <c:v>92187.203703166742</c:v>
                </c:pt>
                <c:pt idx="430">
                  <c:v>92206.974274354317</c:v>
                </c:pt>
                <c:pt idx="431">
                  <c:v>92226.749085560776</c:v>
                </c:pt>
                <c:pt idx="432">
                  <c:v>92246.528137695452</c:v>
                </c:pt>
                <c:pt idx="433">
                  <c:v>92266.311431667855</c:v>
                </c:pt>
                <c:pt idx="434">
                  <c:v>92286.098968387683</c:v>
                </c:pt>
                <c:pt idx="435">
                  <c:v>92305.890748764839</c:v>
                </c:pt>
                <c:pt idx="436">
                  <c:v>92325.686773709444</c:v>
                </c:pt>
                <c:pt idx="437">
                  <c:v>92345.487044131791</c:v>
                </c:pt>
                <c:pt idx="438">
                  <c:v>92365.291560942351</c:v>
                </c:pt>
                <c:pt idx="439">
                  <c:v>92385.100325051812</c:v>
                </c:pt>
                <c:pt idx="440">
                  <c:v>92404.91333737105</c:v>
                </c:pt>
                <c:pt idx="441">
                  <c:v>92424.730598811177</c:v>
                </c:pt>
                <c:pt idx="442">
                  <c:v>92444.552110283403</c:v>
                </c:pt>
                <c:pt idx="443">
                  <c:v>92464.377872699246</c:v>
                </c:pt>
                <c:pt idx="444">
                  <c:v>92484.207886970355</c:v>
                </c:pt>
                <c:pt idx="445">
                  <c:v>92504.042154008581</c:v>
                </c:pt>
                <c:pt idx="446">
                  <c:v>92523.88067472598</c:v>
                </c:pt>
                <c:pt idx="447">
                  <c:v>92543.723450034813</c:v>
                </c:pt>
                <c:pt idx="448">
                  <c:v>92563.570480847498</c:v>
                </c:pt>
                <c:pt idx="449">
                  <c:v>92583.421768076689</c:v>
                </c:pt>
                <c:pt idx="450">
                  <c:v>92603.277312635226</c:v>
                </c:pt>
                <c:pt idx="451">
                  <c:v>92623.137115436126</c:v>
                </c:pt>
                <c:pt idx="452">
                  <c:v>92643.001177392638</c:v>
                </c:pt>
                <c:pt idx="453">
                  <c:v>92662.869499418186</c:v>
                </c:pt>
                <c:pt idx="454">
                  <c:v>92682.742082426368</c:v>
                </c:pt>
                <c:pt idx="455">
                  <c:v>92702.618927331001</c:v>
                </c:pt>
                <c:pt idx="456">
                  <c:v>92722.50003504612</c:v>
                </c:pt>
                <c:pt idx="457">
                  <c:v>92742.385406485919</c:v>
                </c:pt>
                <c:pt idx="458">
                  <c:v>91770.413806227269</c:v>
                </c:pt>
                <c:pt idx="459">
                  <c:v>91790.094992185695</c:v>
                </c:pt>
                <c:pt idx="460">
                  <c:v>91809.78039899336</c:v>
                </c:pt>
                <c:pt idx="461">
                  <c:v>91829.470027555464</c:v>
                </c:pt>
                <c:pt idx="462">
                  <c:v>91849.163878777414</c:v>
                </c:pt>
                <c:pt idx="463">
                  <c:v>91868.861953564803</c:v>
                </c:pt>
                <c:pt idx="464">
                  <c:v>91888.564252823402</c:v>
                </c:pt>
                <c:pt idx="465">
                  <c:v>91908.270777459242</c:v>
                </c:pt>
                <c:pt idx="466">
                  <c:v>91927.981528378456</c:v>
                </c:pt>
                <c:pt idx="467">
                  <c:v>91947.696506487453</c:v>
                </c:pt>
                <c:pt idx="468">
                  <c:v>91967.415712692775</c:v>
                </c:pt>
                <c:pt idx="469">
                  <c:v>91987.139147901195</c:v>
                </c:pt>
                <c:pt idx="470">
                  <c:v>92006.866813019675</c:v>
                </c:pt>
                <c:pt idx="471">
                  <c:v>92026.598708955353</c:v>
                </c:pt>
                <c:pt idx="472">
                  <c:v>92046.334836615584</c:v>
                </c:pt>
                <c:pt idx="473">
                  <c:v>92066.075196907928</c:v>
                </c:pt>
                <c:pt idx="474">
                  <c:v>92085.81979074009</c:v>
                </c:pt>
                <c:pt idx="475">
                  <c:v>92105.568619020007</c:v>
                </c:pt>
                <c:pt idx="476">
                  <c:v>92125.321682655805</c:v>
                </c:pt>
                <c:pt idx="477">
                  <c:v>92145.078982555802</c:v>
                </c:pt>
                <c:pt idx="478">
                  <c:v>92164.840519628517</c:v>
                </c:pt>
                <c:pt idx="479">
                  <c:v>92184.606294782658</c:v>
                </c:pt>
                <c:pt idx="480">
                  <c:v>92204.376308927109</c:v>
                </c:pt>
                <c:pt idx="481">
                  <c:v>92224.150562970986</c:v>
                </c:pt>
                <c:pt idx="482">
                  <c:v>92243.929057823581</c:v>
                </c:pt>
                <c:pt idx="483">
                  <c:v>92263.711794394389</c:v>
                </c:pt>
                <c:pt idx="484">
                  <c:v>92283.498773593106</c:v>
                </c:pt>
                <c:pt idx="485">
                  <c:v>92303.289996329593</c:v>
                </c:pt>
                <c:pt idx="486">
                  <c:v>92323.085463513911</c:v>
                </c:pt>
                <c:pt idx="487">
                  <c:v>92342.885176056341</c:v>
                </c:pt>
                <c:pt idx="488">
                  <c:v>92362.689134867338</c:v>
                </c:pt>
                <c:pt idx="489">
                  <c:v>91390.636104520076</c:v>
                </c:pt>
                <c:pt idx="490">
                  <c:v>91410.235842926282</c:v>
                </c:pt>
                <c:pt idx="491">
                  <c:v>91429.839784714393</c:v>
                </c:pt>
                <c:pt idx="492">
                  <c:v>91449.447930785856</c:v>
                </c:pt>
                <c:pt idx="493">
                  <c:v>91469.060282042352</c:v>
                </c:pt>
                <c:pt idx="494">
                  <c:v>91488.676839385706</c:v>
                </c:pt>
                <c:pt idx="495">
                  <c:v>91508.297603717961</c:v>
                </c:pt>
                <c:pt idx="496">
                  <c:v>91527.922575941368</c:v>
                </c:pt>
                <c:pt idx="497">
                  <c:v>91547.551756958346</c:v>
                </c:pt>
                <c:pt idx="498">
                  <c:v>91567.185147671524</c:v>
                </c:pt>
                <c:pt idx="499">
                  <c:v>91586.822748983715</c:v>
                </c:pt>
                <c:pt idx="500">
                  <c:v>91606.464561797926</c:v>
                </c:pt>
                <c:pt idx="501">
                  <c:v>91626.110587017363</c:v>
                </c:pt>
                <c:pt idx="502">
                  <c:v>91645.760825545425</c:v>
                </c:pt>
                <c:pt idx="503">
                  <c:v>91665.415278285698</c:v>
                </c:pt>
                <c:pt idx="504">
                  <c:v>91685.073946141958</c:v>
                </c:pt>
                <c:pt idx="505">
                  <c:v>91704.736830018199</c:v>
                </c:pt>
                <c:pt idx="506">
                  <c:v>91724.403930818589</c:v>
                </c:pt>
                <c:pt idx="507">
                  <c:v>91744.075249447487</c:v>
                </c:pt>
                <c:pt idx="508">
                  <c:v>91763.750786809469</c:v>
                </c:pt>
                <c:pt idx="509">
                  <c:v>91783.430543809271</c:v>
                </c:pt>
                <c:pt idx="510">
                  <c:v>91803.114521351847</c:v>
                </c:pt>
                <c:pt idx="511">
                  <c:v>91822.802720342341</c:v>
                </c:pt>
                <c:pt idx="512">
                  <c:v>91842.4951416861</c:v>
                </c:pt>
                <c:pt idx="513">
                  <c:v>91862.191786288648</c:v>
                </c:pt>
                <c:pt idx="514">
                  <c:v>91881.892655055693</c:v>
                </c:pt>
                <c:pt idx="515">
                  <c:v>91901.597748893182</c:v>
                </c:pt>
                <c:pt idx="516">
                  <c:v>91921.307068707218</c:v>
                </c:pt>
                <c:pt idx="517">
                  <c:v>91941.020615404093</c:v>
                </c:pt>
                <c:pt idx="518">
                  <c:v>91960.738389890335</c:v>
                </c:pt>
                <c:pt idx="519">
                  <c:v>91980.460393072615</c:v>
                </c:pt>
                <c:pt idx="520">
                  <c:v>91008.325389520323</c:v>
                </c:pt>
                <c:pt idx="521">
                  <c:v>91027.843137141448</c:v>
                </c:pt>
                <c:pt idx="522">
                  <c:v>91047.365070560641</c:v>
                </c:pt>
                <c:pt idx="523">
                  <c:v>91066.891190675597</c:v>
                </c:pt>
                <c:pt idx="524">
                  <c:v>91086.421498384181</c:v>
                </c:pt>
                <c:pt idx="525">
                  <c:v>91105.955994584481</c:v>
                </c:pt>
                <c:pt idx="526">
                  <c:v>91125.494680174757</c:v>
                </c:pt>
                <c:pt idx="527">
                  <c:v>91145.037556053474</c:v>
                </c:pt>
                <c:pt idx="528">
                  <c:v>91164.584623119299</c:v>
                </c:pt>
                <c:pt idx="529">
                  <c:v>91184.135882271075</c:v>
                </c:pt>
                <c:pt idx="530">
                  <c:v>91203.69133440782</c:v>
                </c:pt>
                <c:pt idx="531">
                  <c:v>91223.250980428798</c:v>
                </c:pt>
                <c:pt idx="532">
                  <c:v>91242.814821233405</c:v>
                </c:pt>
                <c:pt idx="533">
                  <c:v>91262.382857721284</c:v>
                </c:pt>
                <c:pt idx="534">
                  <c:v>91281.955090792224</c:v>
                </c:pt>
                <c:pt idx="535">
                  <c:v>91301.531521346245</c:v>
                </c:pt>
                <c:pt idx="536">
                  <c:v>91321.11215028353</c:v>
                </c:pt>
                <c:pt idx="537">
                  <c:v>91340.696978504493</c:v>
                </c:pt>
                <c:pt idx="538">
                  <c:v>91360.286006909679</c:v>
                </c:pt>
                <c:pt idx="539">
                  <c:v>91379.879236399895</c:v>
                </c:pt>
                <c:pt idx="540">
                  <c:v>91399.476667876093</c:v>
                </c:pt>
                <c:pt idx="541">
                  <c:v>91419.078302239446</c:v>
                </c:pt>
                <c:pt idx="542">
                  <c:v>91438.684140391313</c:v>
                </c:pt>
                <c:pt idx="543">
                  <c:v>91458.294183233244</c:v>
                </c:pt>
                <c:pt idx="544">
                  <c:v>91477.908431666961</c:v>
                </c:pt>
                <c:pt idx="545">
                  <c:v>91497.526886594409</c:v>
                </c:pt>
                <c:pt idx="546">
                  <c:v>91517.149548917732</c:v>
                </c:pt>
                <c:pt idx="547">
                  <c:v>91536.776419539237</c:v>
                </c:pt>
                <c:pt idx="548">
                  <c:v>90564.546263023934</c:v>
                </c:pt>
                <c:pt idx="549">
                  <c:v>90583.968837275446</c:v>
                </c:pt>
                <c:pt idx="550">
                  <c:v>90603.395576914016</c:v>
                </c:pt>
                <c:pt idx="551">
                  <c:v>90622.826482832999</c:v>
                </c:pt>
                <c:pt idx="552">
                  <c:v>90642.261555925856</c:v>
                </c:pt>
                <c:pt idx="553">
                  <c:v>90661.70079708632</c:v>
                </c:pt>
                <c:pt idx="554">
                  <c:v>90681.144207208257</c:v>
                </c:pt>
                <c:pt idx="555">
                  <c:v>90700.591787185753</c:v>
                </c:pt>
                <c:pt idx="556">
                  <c:v>90720.043537913094</c:v>
                </c:pt>
                <c:pt idx="557">
                  <c:v>90739.499460284715</c:v>
                </c:pt>
                <c:pt idx="558">
                  <c:v>90758.95955519531</c:v>
                </c:pt>
                <c:pt idx="559">
                  <c:v>90778.423823539677</c:v>
                </c:pt>
                <c:pt idx="560">
                  <c:v>90797.89226621289</c:v>
                </c:pt>
                <c:pt idx="561">
                  <c:v>90817.364884110168</c:v>
                </c:pt>
                <c:pt idx="562">
                  <c:v>90836.841678126948</c:v>
                </c:pt>
                <c:pt idx="563">
                  <c:v>90856.322649158828</c:v>
                </c:pt>
                <c:pt idx="564">
                  <c:v>90875.807798101625</c:v>
                </c:pt>
                <c:pt idx="565">
                  <c:v>90895.297125851343</c:v>
                </c:pt>
                <c:pt idx="566">
                  <c:v>90914.790633304176</c:v>
                </c:pt>
                <c:pt idx="567">
                  <c:v>90934.288321356493</c:v>
                </c:pt>
                <c:pt idx="568">
                  <c:v>90953.790190904881</c:v>
                </c:pt>
                <c:pt idx="569">
                  <c:v>90973.296242846103</c:v>
                </c:pt>
                <c:pt idx="570">
                  <c:v>90992.806478077109</c:v>
                </c:pt>
                <c:pt idx="571">
                  <c:v>91012.320897495068</c:v>
                </c:pt>
                <c:pt idx="572">
                  <c:v>91031.83950199731</c:v>
                </c:pt>
                <c:pt idx="573">
                  <c:v>91051.362292481397</c:v>
                </c:pt>
                <c:pt idx="574">
                  <c:v>91070.889269845036</c:v>
                </c:pt>
                <c:pt idx="575">
                  <c:v>91090.420434986168</c:v>
                </c:pt>
                <c:pt idx="576">
                  <c:v>91109.955788802894</c:v>
                </c:pt>
                <c:pt idx="577">
                  <c:v>91129.495332193532</c:v>
                </c:pt>
                <c:pt idx="578">
                  <c:v>91149.039066056575</c:v>
                </c:pt>
                <c:pt idx="579">
                  <c:v>90176.725754953208</c:v>
                </c:pt>
                <c:pt idx="580">
                  <c:v>90196.06515678321</c:v>
                </c:pt>
                <c:pt idx="581">
                  <c:v>90215.408706163056</c:v>
                </c:pt>
                <c:pt idx="582">
                  <c:v>90234.756403982203</c:v>
                </c:pt>
                <c:pt idx="583">
                  <c:v>90254.108251130339</c:v>
                </c:pt>
                <c:pt idx="584">
                  <c:v>90273.464248497345</c:v>
                </c:pt>
                <c:pt idx="585">
                  <c:v>90292.824396973272</c:v>
                </c:pt>
                <c:pt idx="586">
                  <c:v>90312.188697448379</c:v>
                </c:pt>
                <c:pt idx="587">
                  <c:v>90331.557150813111</c:v>
                </c:pt>
                <c:pt idx="588">
                  <c:v>90350.929757958089</c:v>
                </c:pt>
                <c:pt idx="589">
                  <c:v>90370.306519774123</c:v>
                </c:pt>
                <c:pt idx="590">
                  <c:v>90389.687437152257</c:v>
                </c:pt>
                <c:pt idx="591">
                  <c:v>90409.072510983693</c:v>
                </c:pt>
                <c:pt idx="592">
                  <c:v>90428.461742159809</c:v>
                </c:pt>
                <c:pt idx="593">
                  <c:v>90447.855131572214</c:v>
                </c:pt>
                <c:pt idx="594">
                  <c:v>90467.252680112681</c:v>
                </c:pt>
                <c:pt idx="595">
                  <c:v>90486.654388673182</c:v>
                </c:pt>
                <c:pt idx="596">
                  <c:v>90506.060258145881</c:v>
                </c:pt>
                <c:pt idx="597">
                  <c:v>90525.47028942313</c:v>
                </c:pt>
                <c:pt idx="598">
                  <c:v>90544.884483397473</c:v>
                </c:pt>
                <c:pt idx="599">
                  <c:v>90564.302840961653</c:v>
                </c:pt>
                <c:pt idx="600">
                  <c:v>90583.725363008605</c:v>
                </c:pt>
                <c:pt idx="601">
                  <c:v>90603.152050431425</c:v>
                </c:pt>
                <c:pt idx="602">
                  <c:v>90622.582904123439</c:v>
                </c:pt>
                <c:pt idx="603">
                  <c:v>90642.017924978136</c:v>
                </c:pt>
                <c:pt idx="604">
                  <c:v>90661.457113889235</c:v>
                </c:pt>
                <c:pt idx="605">
                  <c:v>90680.900471750603</c:v>
                </c:pt>
                <c:pt idx="606">
                  <c:v>90700.347999456324</c:v>
                </c:pt>
                <c:pt idx="607">
                  <c:v>90719.799697900671</c:v>
                </c:pt>
                <c:pt idx="608">
                  <c:v>90739.255567978093</c:v>
                </c:pt>
                <c:pt idx="609">
                  <c:v>89766.85437424574</c:v>
                </c:pt>
                <c:pt idx="610">
                  <c:v>89786.105874599365</c:v>
                </c:pt>
                <c:pt idx="611">
                  <c:v>89805.361503651366</c:v>
                </c:pt>
                <c:pt idx="612">
                  <c:v>89824.621262287197</c:v>
                </c:pt>
                <c:pt idx="613">
                  <c:v>89843.885151392475</c:v>
                </c:pt>
                <c:pt idx="614">
                  <c:v>89863.153171853031</c:v>
                </c:pt>
                <c:pt idx="615">
                  <c:v>89882.42532455489</c:v>
                </c:pt>
                <c:pt idx="616">
                  <c:v>89901.701610384247</c:v>
                </c:pt>
                <c:pt idx="617">
                  <c:v>89920.982030227489</c:v>
                </c:pt>
                <c:pt idx="618">
                  <c:v>89940.266584971221</c:v>
                </c:pt>
                <c:pt idx="619">
                  <c:v>89959.555275502222</c:v>
                </c:pt>
                <c:pt idx="620">
                  <c:v>89978.84810270743</c:v>
                </c:pt>
                <c:pt idx="621">
                  <c:v>89998.145067474019</c:v>
                </c:pt>
                <c:pt idx="622">
                  <c:v>90017.446170689334</c:v>
                </c:pt>
                <c:pt idx="623">
                  <c:v>90036.751413240912</c:v>
                </c:pt>
                <c:pt idx="624">
                  <c:v>90056.060796016478</c:v>
                </c:pt>
                <c:pt idx="625">
                  <c:v>90075.374319903945</c:v>
                </c:pt>
                <c:pt idx="626">
                  <c:v>90094.691985791433</c:v>
                </c:pt>
                <c:pt idx="627">
                  <c:v>90114.013794567218</c:v>
                </c:pt>
                <c:pt idx="628">
                  <c:v>90133.339747119826</c:v>
                </c:pt>
                <c:pt idx="629">
                  <c:v>90152.669844337899</c:v>
                </c:pt>
                <c:pt idx="630">
                  <c:v>90172.004087110327</c:v>
                </c:pt>
                <c:pt idx="631">
                  <c:v>93364.139848648221</c:v>
                </c:pt>
                <c:pt idx="632">
                  <c:v>93384.16282688269</c:v>
                </c:pt>
                <c:pt idx="633">
                  <c:v>93404.190099267551</c:v>
                </c:pt>
                <c:pt idx="634">
                  <c:v>93424.221666723708</c:v>
                </c:pt>
                <c:pt idx="635">
                  <c:v>93444.257530172312</c:v>
                </c:pt>
                <c:pt idx="636">
                  <c:v>93464.297690534688</c:v>
                </c:pt>
                <c:pt idx="637">
                  <c:v>93484.34214873235</c:v>
                </c:pt>
                <c:pt idx="638">
                  <c:v>93504.390905687033</c:v>
                </c:pt>
                <c:pt idx="639">
                  <c:v>93524.443962320627</c:v>
                </c:pt>
                <c:pt idx="640">
                  <c:v>92552.640083217731</c:v>
                </c:pt>
                <c:pt idx="641">
                  <c:v>92572.489026301584</c:v>
                </c:pt>
                <c:pt idx="642">
                  <c:v>92592.342226212044</c:v>
                </c:pt>
                <c:pt idx="643">
                  <c:v>92612.19968386204</c:v>
                </c:pt>
                <c:pt idx="644">
                  <c:v>92632.061400164705</c:v>
                </c:pt>
                <c:pt idx="645">
                  <c:v>92651.927376033345</c:v>
                </c:pt>
                <c:pt idx="646">
                  <c:v>92671.797612381459</c:v>
                </c:pt>
                <c:pt idx="647">
                  <c:v>92691.672110122759</c:v>
                </c:pt>
                <c:pt idx="648">
                  <c:v>92711.550870171166</c:v>
                </c:pt>
                <c:pt idx="649">
                  <c:v>92731.433893440757</c:v>
                </c:pt>
                <c:pt idx="650">
                  <c:v>92751.321180845844</c:v>
                </c:pt>
                <c:pt idx="651">
                  <c:v>92771.212733300912</c:v>
                </c:pt>
                <c:pt idx="652">
                  <c:v>92791.108551720637</c:v>
                </c:pt>
                <c:pt idx="653">
                  <c:v>92811.008637019928</c:v>
                </c:pt>
                <c:pt idx="654">
                  <c:v>92830.912990113851</c:v>
                </c:pt>
                <c:pt idx="655">
                  <c:v>92850.82161191768</c:v>
                </c:pt>
                <c:pt idx="656">
                  <c:v>92870.734503346888</c:v>
                </c:pt>
                <c:pt idx="657">
                  <c:v>92890.651665317157</c:v>
                </c:pt>
                <c:pt idx="658">
                  <c:v>92910.573098744324</c:v>
                </c:pt>
                <c:pt idx="659">
                  <c:v>92930.498804544477</c:v>
                </c:pt>
                <c:pt idx="660">
                  <c:v>92950.428783633848</c:v>
                </c:pt>
                <c:pt idx="661">
                  <c:v>92970.363036928917</c:v>
                </c:pt>
                <c:pt idx="662">
                  <c:v>92990.301565346323</c:v>
                </c:pt>
                <c:pt idx="663">
                  <c:v>93010.244369802909</c:v>
                </c:pt>
                <c:pt idx="664">
                  <c:v>93030.191451215724</c:v>
                </c:pt>
                <c:pt idx="665">
                  <c:v>93050.142810502002</c:v>
                </c:pt>
                <c:pt idx="666">
                  <c:v>93070.0984485792</c:v>
                </c:pt>
                <c:pt idx="667">
                  <c:v>93090.05836636493</c:v>
                </c:pt>
                <c:pt idx="668">
                  <c:v>93110.022564777057</c:v>
                </c:pt>
                <c:pt idx="669">
                  <c:v>93129.991044733557</c:v>
                </c:pt>
                <c:pt idx="670">
                  <c:v>92158.102570815186</c:v>
                </c:pt>
                <c:pt idx="671">
                  <c:v>92177.866900941255</c:v>
                </c:pt>
                <c:pt idx="672">
                  <c:v>92197.635469747751</c:v>
                </c:pt>
                <c:pt idx="673">
                  <c:v>92217.408278143688</c:v>
                </c:pt>
                <c:pt idx="674">
                  <c:v>92237.185327038329</c:v>
                </c:pt>
                <c:pt idx="675">
                  <c:v>92256.966617341066</c:v>
                </c:pt>
                <c:pt idx="676">
                  <c:v>92276.75214996154</c:v>
                </c:pt>
                <c:pt idx="677">
                  <c:v>92296.541925809535</c:v>
                </c:pt>
                <c:pt idx="678">
                  <c:v>92316.335945795072</c:v>
                </c:pt>
                <c:pt idx="679">
                  <c:v>92336.134210828372</c:v>
                </c:pt>
                <c:pt idx="680">
                  <c:v>92355.936721819802</c:v>
                </c:pt>
                <c:pt idx="681">
                  <c:v>92375.743479679964</c:v>
                </c:pt>
                <c:pt idx="682">
                  <c:v>92395.554485319648</c:v>
                </c:pt>
                <c:pt idx="683">
                  <c:v>92415.369739649846</c:v>
                </c:pt>
                <c:pt idx="684">
                  <c:v>92435.189243581728</c:v>
                </c:pt>
                <c:pt idx="685">
                  <c:v>92455.012998026665</c:v>
                </c:pt>
                <c:pt idx="686">
                  <c:v>92474.841003896247</c:v>
                </c:pt>
                <c:pt idx="687">
                  <c:v>92494.673262102209</c:v>
                </c:pt>
                <c:pt idx="688">
                  <c:v>92514.509773556536</c:v>
                </c:pt>
                <c:pt idx="689">
                  <c:v>92534.350539171384</c:v>
                </c:pt>
                <c:pt idx="690">
                  <c:v>92554.195559859087</c:v>
                </c:pt>
                <c:pt idx="691">
                  <c:v>92574.044836532208</c:v>
                </c:pt>
                <c:pt idx="692">
                  <c:v>92593.898370103489</c:v>
                </c:pt>
                <c:pt idx="693">
                  <c:v>92613.756161485842</c:v>
                </c:pt>
                <c:pt idx="694">
                  <c:v>92633.618211592431</c:v>
                </c:pt>
                <c:pt idx="695">
                  <c:v>92653.484521336577</c:v>
                </c:pt>
                <c:pt idx="696">
                  <c:v>92673.35509163182</c:v>
                </c:pt>
                <c:pt idx="697">
                  <c:v>92693.229923391875</c:v>
                </c:pt>
                <c:pt idx="698">
                  <c:v>92713.10901753066</c:v>
                </c:pt>
                <c:pt idx="699">
                  <c:v>92732.992374962298</c:v>
                </c:pt>
                <c:pt idx="700">
                  <c:v>92752.879996601085</c:v>
                </c:pt>
                <c:pt idx="701">
                  <c:v>91780.910647024008</c:v>
                </c:pt>
                <c:pt idx="702">
                  <c:v>91800.594084146695</c:v>
                </c:pt>
                <c:pt idx="703">
                  <c:v>91820.281742601408</c:v>
                </c:pt>
                <c:pt idx="704">
                  <c:v>91839.973623293452</c:v>
                </c:pt>
                <c:pt idx="705">
                  <c:v>91859.669727128334</c:v>
                </c:pt>
                <c:pt idx="706">
                  <c:v>91879.37005501175</c:v>
                </c:pt>
                <c:pt idx="707">
                  <c:v>91899.074607849587</c:v>
                </c:pt>
                <c:pt idx="708">
                  <c:v>91918.783386547962</c:v>
                </c:pt>
                <c:pt idx="709">
                  <c:v>91938.496392013141</c:v>
                </c:pt>
                <c:pt idx="710">
                  <c:v>91958.213625151591</c:v>
                </c:pt>
                <c:pt idx="711">
                  <c:v>91977.935086869998</c:v>
                </c:pt>
                <c:pt idx="712">
                  <c:v>91997.660778075209</c:v>
                </c:pt>
                <c:pt idx="713">
                  <c:v>92017.390699674303</c:v>
                </c:pt>
                <c:pt idx="714">
                  <c:v>92037.124852574532</c:v>
                </c:pt>
                <c:pt idx="715">
                  <c:v>92056.863237683356</c:v>
                </c:pt>
                <c:pt idx="716">
                  <c:v>92076.60585590839</c:v>
                </c:pt>
                <c:pt idx="717">
                  <c:v>92096.352708157487</c:v>
                </c:pt>
                <c:pt idx="718">
                  <c:v>92116.103795338699</c:v>
                </c:pt>
                <c:pt idx="719">
                  <c:v>92135.85911836024</c:v>
                </c:pt>
                <c:pt idx="720">
                  <c:v>92155.61867813053</c:v>
                </c:pt>
                <c:pt idx="721">
                  <c:v>92175.382475558188</c:v>
                </c:pt>
                <c:pt idx="722">
                  <c:v>92195.150511552027</c:v>
                </c:pt>
                <c:pt idx="723">
                  <c:v>92214.922787021045</c:v>
                </c:pt>
                <c:pt idx="724">
                  <c:v>92234.699302874462</c:v>
                </c:pt>
                <c:pt idx="725">
                  <c:v>92254.480060021669</c:v>
                </c:pt>
                <c:pt idx="726">
                  <c:v>92274.265059372265</c:v>
                </c:pt>
                <c:pt idx="727">
                  <c:v>92294.054301836019</c:v>
                </c:pt>
                <c:pt idx="728">
                  <c:v>92313.847788322921</c:v>
                </c:pt>
                <c:pt idx="729">
                  <c:v>92333.64551974315</c:v>
                </c:pt>
                <c:pt idx="730">
                  <c:v>92353.447497007088</c:v>
                </c:pt>
                <c:pt idx="731">
                  <c:v>92373.253721025292</c:v>
                </c:pt>
                <c:pt idx="732">
                  <c:v>91401.202956371024</c:v>
                </c:pt>
                <c:pt idx="733">
                  <c:v>91420.804960956142</c:v>
                </c:pt>
                <c:pt idx="734">
                  <c:v>91440.41116940917</c:v>
                </c:pt>
                <c:pt idx="735">
                  <c:v>91460.021582631671</c:v>
                </c:pt>
                <c:pt idx="736">
                  <c:v>91479.636201525398</c:v>
                </c:pt>
                <c:pt idx="737">
                  <c:v>91499.255026992309</c:v>
                </c:pt>
                <c:pt idx="738">
                  <c:v>91518.878059934548</c:v>
                </c:pt>
                <c:pt idx="739">
                  <c:v>91538.505301254467</c:v>
                </c:pt>
                <c:pt idx="740">
                  <c:v>91558.136751854603</c:v>
                </c:pt>
                <c:pt idx="741">
                  <c:v>91577.772412637656</c:v>
                </c:pt>
                <c:pt idx="742">
                  <c:v>91597.412284506587</c:v>
                </c:pt>
                <c:pt idx="743">
                  <c:v>91617.056368364472</c:v>
                </c:pt>
                <c:pt idx="744">
                  <c:v>91636.704665114637</c:v>
                </c:pt>
                <c:pt idx="745">
                  <c:v>91656.357175660567</c:v>
                </c:pt>
                <c:pt idx="746">
                  <c:v>91676.013900905979</c:v>
                </c:pt>
                <c:pt idx="747">
                  <c:v>91695.67484175475</c:v>
                </c:pt>
                <c:pt idx="748">
                  <c:v>91715.339999110976</c:v>
                </c:pt>
                <c:pt idx="749">
                  <c:v>91735.009373878915</c:v>
                </c:pt>
                <c:pt idx="750">
                  <c:v>91754.682966963039</c:v>
                </c:pt>
                <c:pt idx="751">
                  <c:v>91774.360779268012</c:v>
                </c:pt>
                <c:pt idx="752">
                  <c:v>91794.042811698702</c:v>
                </c:pt>
                <c:pt idx="753">
                  <c:v>91813.72906516018</c:v>
                </c:pt>
                <c:pt idx="754">
                  <c:v>91833.419540557661</c:v>
                </c:pt>
                <c:pt idx="755">
                  <c:v>91853.11423879661</c:v>
                </c:pt>
                <c:pt idx="756">
                  <c:v>91872.813160782636</c:v>
                </c:pt>
                <c:pt idx="757">
                  <c:v>91892.516307421582</c:v>
                </c:pt>
                <c:pt idx="758">
                  <c:v>91912.223679619477</c:v>
                </c:pt>
                <c:pt idx="759">
                  <c:v>91931.93527828253</c:v>
                </c:pt>
                <c:pt idx="760">
                  <c:v>91951.651104317149</c:v>
                </c:pt>
                <c:pt idx="761">
                  <c:v>91971.371158629976</c:v>
                </c:pt>
                <c:pt idx="762">
                  <c:v>90999.234205790257</c:v>
                </c:pt>
                <c:pt idx="763">
                  <c:v>91018.750003705907</c:v>
                </c:pt>
                <c:pt idx="764">
                  <c:v>91038.269987001491</c:v>
                </c:pt>
                <c:pt idx="765">
                  <c:v>91057.794156574615</c:v>
                </c:pt>
                <c:pt idx="766">
                  <c:v>91077.322513323044</c:v>
                </c:pt>
                <c:pt idx="767">
                  <c:v>91096.855058144793</c:v>
                </c:pt>
                <c:pt idx="768">
                  <c:v>91116.391791938018</c:v>
                </c:pt>
                <c:pt idx="769">
                  <c:v>91135.932715601113</c:v>
                </c:pt>
                <c:pt idx="770">
                  <c:v>91155.477830032629</c:v>
                </c:pt>
                <c:pt idx="771">
                  <c:v>91175.027136131321</c:v>
                </c:pt>
                <c:pt idx="772">
                  <c:v>91194.580634796148</c:v>
                </c:pt>
                <c:pt idx="773">
                  <c:v>91214.138326926244</c:v>
                </c:pt>
                <c:pt idx="774">
                  <c:v>91233.700213420947</c:v>
                </c:pt>
                <c:pt idx="775">
                  <c:v>91253.266295179797</c:v>
                </c:pt>
                <c:pt idx="776">
                  <c:v>91272.836573102511</c:v>
                </c:pt>
                <c:pt idx="777">
                  <c:v>91292.411048088979</c:v>
                </c:pt>
                <c:pt idx="778">
                  <c:v>91311.989721039339</c:v>
                </c:pt>
                <c:pt idx="779">
                  <c:v>91331.572592853874</c:v>
                </c:pt>
                <c:pt idx="780">
                  <c:v>91351.159664433071</c:v>
                </c:pt>
                <c:pt idx="781">
                  <c:v>91370.750936677621</c:v>
                </c:pt>
                <c:pt idx="782">
                  <c:v>91390.346410488404</c:v>
                </c:pt>
                <c:pt idx="783">
                  <c:v>91409.946086766504</c:v>
                </c:pt>
                <c:pt idx="784">
                  <c:v>91429.549966413193</c:v>
                </c:pt>
                <c:pt idx="785">
                  <c:v>91449.158050329919</c:v>
                </c:pt>
                <c:pt idx="786">
                  <c:v>91468.770339418319</c:v>
                </c:pt>
                <c:pt idx="787">
                  <c:v>91488.386834580248</c:v>
                </c:pt>
                <c:pt idx="788">
                  <c:v>91508.007536717763</c:v>
                </c:pt>
                <c:pt idx="789">
                  <c:v>91527.632446733071</c:v>
                </c:pt>
                <c:pt idx="790">
                  <c:v>91547.261565528621</c:v>
                </c:pt>
                <c:pt idx="791">
                  <c:v>91566.894894007026</c:v>
                </c:pt>
                <c:pt idx="792">
                  <c:v>91586.532433071072</c:v>
                </c:pt>
                <c:pt idx="793">
                  <c:v>90614.312947286278</c:v>
                </c:pt>
                <c:pt idx="794">
                  <c:v>90633.746194556748</c:v>
                </c:pt>
                <c:pt idx="795">
                  <c:v>90653.183609503249</c:v>
                </c:pt>
                <c:pt idx="796">
                  <c:v>90672.625193019587</c:v>
                </c:pt>
                <c:pt idx="797">
                  <c:v>90692.070945999731</c:v>
                </c:pt>
                <c:pt idx="798">
                  <c:v>90711.520869337895</c:v>
                </c:pt>
                <c:pt idx="799">
                  <c:v>90730.974963928456</c:v>
                </c:pt>
                <c:pt idx="800">
                  <c:v>90750.433230665978</c:v>
                </c:pt>
                <c:pt idx="801">
                  <c:v>90769.895670445228</c:v>
                </c:pt>
                <c:pt idx="802">
                  <c:v>90789.362284161165</c:v>
                </c:pt>
                <c:pt idx="803">
                  <c:v>90808.83307270892</c:v>
                </c:pt>
                <c:pt idx="804">
                  <c:v>90828.308036983857</c:v>
                </c:pt>
                <c:pt idx="805">
                  <c:v>90847.787177881488</c:v>
                </c:pt>
                <c:pt idx="806">
                  <c:v>90867.27049629754</c:v>
                </c:pt>
                <c:pt idx="807">
                  <c:v>90886.757993127918</c:v>
                </c:pt>
                <c:pt idx="808">
                  <c:v>90906.249669268756</c:v>
                </c:pt>
                <c:pt idx="809">
                  <c:v>90925.745525616323</c:v>
                </c:pt>
                <c:pt idx="810">
                  <c:v>90945.245563067147</c:v>
                </c:pt>
                <c:pt idx="811">
                  <c:v>90964.749782517887</c:v>
                </c:pt>
                <c:pt idx="812">
                  <c:v>90984.258184865423</c:v>
                </c:pt>
                <c:pt idx="813">
                  <c:v>91003.770771006821</c:v>
                </c:pt>
                <c:pt idx="814">
                  <c:v>91023.287541839352</c:v>
                </c:pt>
                <c:pt idx="815">
                  <c:v>91042.808498260449</c:v>
                </c:pt>
                <c:pt idx="816">
                  <c:v>91062.333641167788</c:v>
                </c:pt>
                <c:pt idx="817">
                  <c:v>91081.862971459195</c:v>
                </c:pt>
                <c:pt idx="818">
                  <c:v>91101.396490032683</c:v>
                </c:pt>
                <c:pt idx="819">
                  <c:v>91120.934197786497</c:v>
                </c:pt>
                <c:pt idx="820">
                  <c:v>91140.476095619044</c:v>
                </c:pt>
                <c:pt idx="821">
                  <c:v>91160.022184428934</c:v>
                </c:pt>
                <c:pt idx="822">
                  <c:v>91179.572465114979</c:v>
                </c:pt>
                <c:pt idx="823">
                  <c:v>90207.265702238656</c:v>
                </c:pt>
                <c:pt idx="824">
                  <c:v>90226.611653700034</c:v>
                </c:pt>
                <c:pt idx="825">
                  <c:v>90245.961754115895</c:v>
                </c:pt>
                <c:pt idx="826">
                  <c:v>90265.316004376014</c:v>
                </c:pt>
                <c:pt idx="827">
                  <c:v>90284.674405370373</c:v>
                </c:pt>
                <c:pt idx="828">
                  <c:v>90304.036957989127</c:v>
                </c:pt>
                <c:pt idx="829">
                  <c:v>90323.403663122648</c:v>
                </c:pt>
                <c:pt idx="830">
                  <c:v>90342.7745216615</c:v>
                </c:pt>
                <c:pt idx="831">
                  <c:v>90362.149534496421</c:v>
                </c:pt>
                <c:pt idx="832">
                  <c:v>90381.528702518335</c:v>
                </c:pt>
                <c:pt idx="833">
                  <c:v>90400.912026618375</c:v>
                </c:pt>
                <c:pt idx="834">
                  <c:v>90420.299507687858</c:v>
                </c:pt>
                <c:pt idx="835">
                  <c:v>90439.691146618308</c:v>
                </c:pt>
                <c:pt idx="836">
                  <c:v>90459.086944301394</c:v>
                </c:pt>
                <c:pt idx="837">
                  <c:v>90478.486901629032</c:v>
                </c:pt>
                <c:pt idx="838">
                  <c:v>90497.891019493298</c:v>
                </c:pt>
                <c:pt idx="839">
                  <c:v>90517.299298786456</c:v>
                </c:pt>
                <c:pt idx="840">
                  <c:v>90536.711740400962</c:v>
                </c:pt>
                <c:pt idx="841">
                  <c:v>90556.128345229503</c:v>
                </c:pt>
                <c:pt idx="842">
                  <c:v>90575.549114164896</c:v>
                </c:pt>
                <c:pt idx="843">
                  <c:v>90594.974048100223</c:v>
                </c:pt>
                <c:pt idx="844">
                  <c:v>90614.403147928664</c:v>
                </c:pt>
                <c:pt idx="845">
                  <c:v>90633.836414543679</c:v>
                </c:pt>
                <c:pt idx="846">
                  <c:v>90653.273848838857</c:v>
                </c:pt>
                <c:pt idx="847">
                  <c:v>90672.71545170802</c:v>
                </c:pt>
                <c:pt idx="848">
                  <c:v>90692.161224045165</c:v>
                </c:pt>
                <c:pt idx="849">
                  <c:v>90711.611166744449</c:v>
                </c:pt>
                <c:pt idx="850">
                  <c:v>90731.065280700306</c:v>
                </c:pt>
                <c:pt idx="851">
                  <c:v>90750.523566807271</c:v>
                </c:pt>
                <c:pt idx="852">
                  <c:v>90769.986025960112</c:v>
                </c:pt>
                <c:pt idx="853">
                  <c:v>90789.452659053786</c:v>
                </c:pt>
                <c:pt idx="854">
                  <c:v>89817.062230645941</c:v>
                </c:pt>
                <c:pt idx="855">
                  <c:v>89836.324498632806</c:v>
                </c:pt>
                <c:pt idx="856">
                  <c:v>89855.590897627291</c:v>
                </c:pt>
                <c:pt idx="857">
                  <c:v>89874.861428515331</c:v>
                </c:pt>
                <c:pt idx="858">
                  <c:v>89894.136092183049</c:v>
                </c:pt>
                <c:pt idx="859">
                  <c:v>89913.414889516775</c:v>
                </c:pt>
                <c:pt idx="860">
                  <c:v>89932.697821403024</c:v>
                </c:pt>
                <c:pt idx="861">
                  <c:v>89951.984888728475</c:v>
                </c:pt>
                <c:pt idx="862">
                  <c:v>89971.276092380038</c:v>
                </c:pt>
                <c:pt idx="863">
                  <c:v>89990.571433244797</c:v>
                </c:pt>
                <c:pt idx="864">
                  <c:v>90009.870912210012</c:v>
                </c:pt>
                <c:pt idx="865">
                  <c:v>90029.174530163145</c:v>
                </c:pt>
                <c:pt idx="866">
                  <c:v>90048.482287991865</c:v>
                </c:pt>
                <c:pt idx="867">
                  <c:v>90067.794186583997</c:v>
                </c:pt>
                <c:pt idx="868">
                  <c:v>90087.110226827572</c:v>
                </c:pt>
                <c:pt idx="869">
                  <c:v>90106.430409610839</c:v>
                </c:pt>
                <c:pt idx="870">
                  <c:v>90125.754735822193</c:v>
                </c:pt>
                <c:pt idx="871">
                  <c:v>90145.083206350231</c:v>
                </c:pt>
                <c:pt idx="872">
                  <c:v>90164.415822083756</c:v>
                </c:pt>
                <c:pt idx="873">
                  <c:v>90183.752583911744</c:v>
                </c:pt>
                <c:pt idx="874">
                  <c:v>90203.09349272339</c:v>
                </c:pt>
                <c:pt idx="875">
                  <c:v>90222.438549408034</c:v>
                </c:pt>
                <c:pt idx="876">
                  <c:v>90241.78775485525</c:v>
                </c:pt>
                <c:pt idx="877">
                  <c:v>90261.141109954784</c:v>
                </c:pt>
                <c:pt idx="878">
                  <c:v>90280.498615596589</c:v>
                </c:pt>
                <c:pt idx="879">
                  <c:v>90299.860272670776</c:v>
                </c:pt>
                <c:pt idx="880">
                  <c:v>90319.226082067689</c:v>
                </c:pt>
                <c:pt idx="881">
                  <c:v>90338.596044677804</c:v>
                </c:pt>
                <c:pt idx="882">
                  <c:v>90357.970161391859</c:v>
                </c:pt>
                <c:pt idx="883">
                  <c:v>90377.348433100735</c:v>
                </c:pt>
                <c:pt idx="884">
                  <c:v>90396.730860695519</c:v>
                </c:pt>
                <c:pt idx="885">
                  <c:v>89424.256208729959</c:v>
                </c:pt>
                <c:pt idx="886">
                  <c:v>89443.434235096429</c:v>
                </c:pt>
                <c:pt idx="887">
                  <c:v>89462.616374403966</c:v>
                </c:pt>
                <c:pt idx="888">
                  <c:v>89481.802627534635</c:v>
                </c:pt>
                <c:pt idx="889">
                  <c:v>89500.992995370674</c:v>
                </c:pt>
                <c:pt idx="890">
                  <c:v>89520.187478794556</c:v>
                </c:pt>
                <c:pt idx="891">
                  <c:v>89539.386078688898</c:v>
                </c:pt>
                <c:pt idx="892">
                  <c:v>89558.588795936521</c:v>
                </c:pt>
                <c:pt idx="893">
                  <c:v>89577.795631420435</c:v>
                </c:pt>
                <c:pt idx="894">
                  <c:v>89597.006586023854</c:v>
                </c:pt>
                <c:pt idx="895">
                  <c:v>89616.221660630166</c:v>
                </c:pt>
                <c:pt idx="896">
                  <c:v>89635.440856122936</c:v>
                </c:pt>
                <c:pt idx="897">
                  <c:v>89654.664173385943</c:v>
                </c:pt>
                <c:pt idx="898">
                  <c:v>89673.891613303145</c:v>
                </c:pt>
                <c:pt idx="899">
                  <c:v>89693.123176758701</c:v>
                </c:pt>
                <c:pt idx="900">
                  <c:v>89712.358864636946</c:v>
                </c:pt>
                <c:pt idx="901">
                  <c:v>89731.598677822403</c:v>
                </c:pt>
                <c:pt idx="902">
                  <c:v>89750.842617199785</c:v>
                </c:pt>
                <c:pt idx="903">
                  <c:v>89770.090683654023</c:v>
                </c:pt>
                <c:pt idx="904">
                  <c:v>89789.342878070194</c:v>
                </c:pt>
                <c:pt idx="905">
                  <c:v>89808.599201333593</c:v>
                </c:pt>
                <c:pt idx="906">
                  <c:v>89827.859654329703</c:v>
                </c:pt>
                <c:pt idx="907">
                  <c:v>89847.124237944168</c:v>
                </c:pt>
                <c:pt idx="908">
                  <c:v>89866.392953062867</c:v>
                </c:pt>
                <c:pt idx="909">
                  <c:v>89885.665800571835</c:v>
                </c:pt>
                <c:pt idx="910">
                  <c:v>89904.942781357313</c:v>
                </c:pt>
                <c:pt idx="911">
                  <c:v>89924.223896305732</c:v>
                </c:pt>
                <c:pt idx="912">
                  <c:v>89943.509146303695</c:v>
                </c:pt>
                <c:pt idx="913">
                  <c:v>88970.937295900498</c:v>
                </c:pt>
                <c:pt idx="914">
                  <c:v>88990.018102984075</c:v>
                </c:pt>
                <c:pt idx="915">
                  <c:v>89009.103002158954</c:v>
                </c:pt>
                <c:pt idx="916">
                  <c:v>89028.191994302731</c:v>
                </c:pt>
                <c:pt idx="917">
                  <c:v>89047.285080293193</c:v>
                </c:pt>
                <c:pt idx="918">
                  <c:v>89066.382261008315</c:v>
                </c:pt>
                <c:pt idx="919">
                  <c:v>89085.483537326232</c:v>
                </c:pt>
                <c:pt idx="920">
                  <c:v>89104.588910125327</c:v>
                </c:pt>
                <c:pt idx="921">
                  <c:v>89123.698380284113</c:v>
                </c:pt>
                <c:pt idx="922">
                  <c:v>89142.811948681323</c:v>
                </c:pt>
                <c:pt idx="923">
                  <c:v>89161.929616195863</c:v>
                </c:pt>
                <c:pt idx="924">
                  <c:v>89181.051383706828</c:v>
                </c:pt>
                <c:pt idx="925">
                  <c:v>89200.177252093519</c:v>
                </c:pt>
                <c:pt idx="926">
                  <c:v>89219.307222235424</c:v>
                </c:pt>
                <c:pt idx="927">
                  <c:v>89238.441295012191</c:v>
                </c:pt>
                <c:pt idx="928">
                  <c:v>89257.579471303688</c:v>
                </c:pt>
                <c:pt idx="929">
                  <c:v>89276.721751989957</c:v>
                </c:pt>
                <c:pt idx="930">
                  <c:v>89295.868137951227</c:v>
                </c:pt>
                <c:pt idx="931">
                  <c:v>89315.01863006792</c:v>
                </c:pt>
                <c:pt idx="932">
                  <c:v>89334.173229220643</c:v>
                </c:pt>
                <c:pt idx="933">
                  <c:v>89353.331936290211</c:v>
                </c:pt>
                <c:pt idx="934">
                  <c:v>89372.494752157596</c:v>
                </c:pt>
                <c:pt idx="935">
                  <c:v>89391.661677703989</c:v>
                </c:pt>
                <c:pt idx="936">
                  <c:v>89410.832713810742</c:v>
                </c:pt>
                <c:pt idx="937">
                  <c:v>89430.007861359423</c:v>
                </c:pt>
                <c:pt idx="938">
                  <c:v>89449.187121231778</c:v>
                </c:pt>
                <c:pt idx="939">
                  <c:v>89468.37049430974</c:v>
                </c:pt>
                <c:pt idx="940">
                  <c:v>89487.557981475431</c:v>
                </c:pt>
                <c:pt idx="941">
                  <c:v>89506.749583611148</c:v>
                </c:pt>
                <c:pt idx="942">
                  <c:v>89525.945301599393</c:v>
                </c:pt>
                <c:pt idx="943">
                  <c:v>89545.14513632287</c:v>
                </c:pt>
                <c:pt idx="944">
                  <c:v>88572.487852326944</c:v>
                </c:pt>
                <c:pt idx="945">
                  <c:v>88591.483207495592</c:v>
                </c:pt>
                <c:pt idx="946">
                  <c:v>88610.482636429428</c:v>
                </c:pt>
                <c:pt idx="947">
                  <c:v>88629.486140002118</c:v>
                </c:pt>
                <c:pt idx="948">
                  <c:v>88648.493719087506</c:v>
                </c:pt>
                <c:pt idx="949">
                  <c:v>88667.505374559638</c:v>
                </c:pt>
                <c:pt idx="950">
                  <c:v>88686.521107292749</c:v>
                </c:pt>
                <c:pt idx="951">
                  <c:v>88705.540918161249</c:v>
                </c:pt>
                <c:pt idx="952">
                  <c:v>88724.564808039737</c:v>
                </c:pt>
                <c:pt idx="953">
                  <c:v>88743.592777803002</c:v>
                </c:pt>
                <c:pt idx="954">
                  <c:v>88762.624828326021</c:v>
                </c:pt>
                <c:pt idx="955">
                  <c:v>88781.660960483976</c:v>
                </c:pt>
                <c:pt idx="956">
                  <c:v>88800.701175152179</c:v>
                </c:pt>
                <c:pt idx="957">
                  <c:v>88819.745473206203</c:v>
                </c:pt>
                <c:pt idx="958">
                  <c:v>88838.79385552177</c:v>
                </c:pt>
                <c:pt idx="959">
                  <c:v>88857.846322974787</c:v>
                </c:pt>
                <c:pt idx="960">
                  <c:v>88876.902876441352</c:v>
                </c:pt>
                <c:pt idx="961">
                  <c:v>88895.963516797783</c:v>
                </c:pt>
                <c:pt idx="962">
                  <c:v>88915.028244920541</c:v>
                </c:pt>
                <c:pt idx="963">
                  <c:v>88934.097061686291</c:v>
                </c:pt>
                <c:pt idx="964">
                  <c:v>88953.169967971873</c:v>
                </c:pt>
                <c:pt idx="965">
                  <c:v>88972.246964654361</c:v>
                </c:pt>
                <c:pt idx="966">
                  <c:v>88991.328052610959</c:v>
                </c:pt>
                <c:pt idx="967">
                  <c:v>89010.413232719118</c:v>
                </c:pt>
                <c:pt idx="968">
                  <c:v>89029.502505856406</c:v>
                </c:pt>
                <c:pt idx="969">
                  <c:v>89048.595872900652</c:v>
                </c:pt>
                <c:pt idx="970">
                  <c:v>89067.693334729833</c:v>
                </c:pt>
                <c:pt idx="971">
                  <c:v>89086.794892222111</c:v>
                </c:pt>
                <c:pt idx="972">
                  <c:v>89105.900546255827</c:v>
                </c:pt>
                <c:pt idx="973">
                  <c:v>89125.010297709581</c:v>
                </c:pt>
                <c:pt idx="974">
                  <c:v>88152.262911124562</c:v>
                </c:pt>
                <c:pt idx="975">
                  <c:v>88171.168144380616</c:v>
                </c:pt>
                <c:pt idx="976">
                  <c:v>88190.077432074206</c:v>
                </c:pt>
                <c:pt idx="977">
                  <c:v>88208.990775074853</c:v>
                </c:pt>
                <c:pt idx="978">
                  <c:v>88227.908174252269</c:v>
                </c:pt>
                <c:pt idx="979">
                  <c:v>88246.82963047635</c:v>
                </c:pt>
                <c:pt idx="980">
                  <c:v>88265.755144617171</c:v>
                </c:pt>
                <c:pt idx="981">
                  <c:v>88284.684717545009</c:v>
                </c:pt>
                <c:pt idx="982">
                  <c:v>88303.618350130302</c:v>
                </c:pt>
                <c:pt idx="983">
                  <c:v>88322.556043243691</c:v>
                </c:pt>
                <c:pt idx="984">
                  <c:v>88341.497797756005</c:v>
                </c:pt>
                <c:pt idx="985">
                  <c:v>88360.44361453825</c:v>
                </c:pt>
                <c:pt idx="986">
                  <c:v>88379.393494461619</c:v>
                </c:pt>
                <c:pt idx="987">
                  <c:v>88398.347438397512</c:v>
                </c:pt>
                <c:pt idx="988">
                  <c:v>88417.305447217499</c:v>
                </c:pt>
                <c:pt idx="989">
                  <c:v>88436.267521793343</c:v>
                </c:pt>
                <c:pt idx="990">
                  <c:v>88455.233662996994</c:v>
                </c:pt>
                <c:pt idx="991">
                  <c:v>88474.203871700563</c:v>
                </c:pt>
                <c:pt idx="992">
                  <c:v>88493.178148776395</c:v>
                </c:pt>
                <c:pt idx="993">
                  <c:v>88512.156495096991</c:v>
                </c:pt>
                <c:pt idx="994">
                  <c:v>88531.138911535032</c:v>
                </c:pt>
                <c:pt idx="995">
                  <c:v>88550.125398963428</c:v>
                </c:pt>
                <c:pt idx="996">
                  <c:v>88569.115958255221</c:v>
                </c:pt>
                <c:pt idx="997">
                  <c:v>88588.110590283672</c:v>
                </c:pt>
                <c:pt idx="998">
                  <c:v>88607.109295922215</c:v>
                </c:pt>
                <c:pt idx="999">
                  <c:v>88626.112076044505</c:v>
                </c:pt>
                <c:pt idx="1000">
                  <c:v>88645.118931524354</c:v>
                </c:pt>
                <c:pt idx="1001">
                  <c:v>88664.129863235765</c:v>
                </c:pt>
                <c:pt idx="1002">
                  <c:v>88683.14487205293</c:v>
                </c:pt>
                <c:pt idx="1003">
                  <c:v>88702.163958850244</c:v>
                </c:pt>
                <c:pt idx="1004">
                  <c:v>88721.187124502248</c:v>
                </c:pt>
                <c:pt idx="1005">
                  <c:v>87748.353133546203</c:v>
                </c:pt>
                <c:pt idx="1006">
                  <c:v>87767.171743857951</c:v>
                </c:pt>
                <c:pt idx="1007">
                  <c:v>87785.994390029984</c:v>
                </c:pt>
                <c:pt idx="1008">
                  <c:v>87804.821072927836</c:v>
                </c:pt>
                <c:pt idx="1009">
                  <c:v>87823.651793417244</c:v>
                </c:pt>
                <c:pt idx="1010">
                  <c:v>87842.486552364106</c:v>
                </c:pt>
                <c:pt idx="1011">
                  <c:v>87861.325350634506</c:v>
                </c:pt>
                <c:pt idx="1012">
                  <c:v>87880.168189094751</c:v>
                </c:pt>
                <c:pt idx="1013">
                  <c:v>87899.015068611276</c:v>
                </c:pt>
                <c:pt idx="1014">
                  <c:v>87917.865990050734</c:v>
                </c:pt>
                <c:pt idx="1015">
                  <c:v>87936.720954279968</c:v>
                </c:pt>
                <c:pt idx="1016">
                  <c:v>87955.579962165983</c:v>
                </c:pt>
                <c:pt idx="1017">
                  <c:v>87974.443014575998</c:v>
                </c:pt>
                <c:pt idx="1018">
                  <c:v>87993.310112377425</c:v>
                </c:pt>
                <c:pt idx="1019">
                  <c:v>88012.18125643782</c:v>
                </c:pt>
                <c:pt idx="1020">
                  <c:v>88031.056447624956</c:v>
                </c:pt>
                <c:pt idx="1021">
                  <c:v>88049.935686806784</c:v>
                </c:pt>
                <c:pt idx="1022">
                  <c:v>88068.818974851441</c:v>
                </c:pt>
                <c:pt idx="1023">
                  <c:v>88087.706312627241</c:v>
                </c:pt>
                <c:pt idx="1024">
                  <c:v>88106.597701002698</c:v>
                </c:pt>
                <c:pt idx="1025">
                  <c:v>88125.49314084652</c:v>
                </c:pt>
                <c:pt idx="1026">
                  <c:v>88144.392633027572</c:v>
                </c:pt>
                <c:pt idx="1027">
                  <c:v>88163.296178414937</c:v>
                </c:pt>
                <c:pt idx="1028">
                  <c:v>88182.203777877861</c:v>
                </c:pt>
                <c:pt idx="1029">
                  <c:v>88201.115432285806</c:v>
                </c:pt>
                <c:pt idx="1030">
                  <c:v>88220.031142508378</c:v>
                </c:pt>
                <c:pt idx="1031">
                  <c:v>88238.950909415391</c:v>
                </c:pt>
                <c:pt idx="1032">
                  <c:v>88257.874733876859</c:v>
                </c:pt>
                <c:pt idx="1033">
                  <c:v>88276.802616762958</c:v>
                </c:pt>
                <c:pt idx="1034">
                  <c:v>88295.734558944067</c:v>
                </c:pt>
                <c:pt idx="1035">
                  <c:v>87322.809324953225</c:v>
                </c:pt>
                <c:pt idx="1036">
                  <c:v>87341.5366726621</c:v>
                </c:pt>
                <c:pt idx="1037">
                  <c:v>87360.268036658992</c:v>
                </c:pt>
                <c:pt idx="1038">
                  <c:v>87379.003417805216</c:v>
                </c:pt>
                <c:pt idx="1039">
                  <c:v>87397.742816962331</c:v>
                </c:pt>
                <c:pt idx="1040">
                  <c:v>87416.486234992029</c:v>
                </c:pt>
                <c:pt idx="1041">
                  <c:v>87435.233672756178</c:v>
                </c:pt>
                <c:pt idx="1042">
                  <c:v>87453.985131116875</c:v>
                </c:pt>
                <c:pt idx="1043">
                  <c:v>87472.74061093638</c:v>
                </c:pt>
                <c:pt idx="1044">
                  <c:v>87491.500113077142</c:v>
                </c:pt>
                <c:pt idx="1045">
                  <c:v>87510.263638401797</c:v>
                </c:pt>
                <c:pt idx="1046">
                  <c:v>87529.031187773158</c:v>
                </c:pt>
                <c:pt idx="1047">
                  <c:v>87547.802762054213</c:v>
                </c:pt>
                <c:pt idx="1048">
                  <c:v>87566.578362108165</c:v>
                </c:pt>
                <c:pt idx="1049">
                  <c:v>87585.357988798394</c:v>
                </c:pt>
                <c:pt idx="1050">
                  <c:v>87604.141642988427</c:v>
                </c:pt>
                <c:pt idx="1051">
                  <c:v>87622.92932554202</c:v>
                </c:pt>
                <c:pt idx="1052">
                  <c:v>87641.721037323121</c:v>
                </c:pt>
                <c:pt idx="1053">
                  <c:v>87660.516779195808</c:v>
                </c:pt>
                <c:pt idx="1054">
                  <c:v>87679.316552024407</c:v>
                </c:pt>
                <c:pt idx="1055">
                  <c:v>87698.120356673389</c:v>
                </c:pt>
                <c:pt idx="1056">
                  <c:v>87716.928194007429</c:v>
                </c:pt>
                <c:pt idx="1057">
                  <c:v>87735.740064891361</c:v>
                </c:pt>
                <c:pt idx="1058">
                  <c:v>87754.555970190253</c:v>
                </c:pt>
                <c:pt idx="1059">
                  <c:v>87773.375910769304</c:v>
                </c:pt>
                <c:pt idx="1060">
                  <c:v>87792.199887493945</c:v>
                </c:pt>
                <c:pt idx="1061">
                  <c:v>87811.027901229754</c:v>
                </c:pt>
                <c:pt idx="1062">
                  <c:v>87829.85995284254</c:v>
                </c:pt>
                <c:pt idx="1063">
                  <c:v>87848.696043198244</c:v>
                </c:pt>
                <c:pt idx="1064">
                  <c:v>87867.53617316304</c:v>
                </c:pt>
                <c:pt idx="1065">
                  <c:v>87886.380343603247</c:v>
                </c:pt>
                <c:pt idx="1066">
                  <c:v>86913.367319047873</c:v>
                </c:pt>
                <c:pt idx="1067">
                  <c:v>86932.006857364555</c:v>
                </c:pt>
                <c:pt idx="1068">
                  <c:v>86950.650393137548</c:v>
                </c:pt>
                <c:pt idx="1069">
                  <c:v>86969.297927224165</c:v>
                </c:pt>
                <c:pt idx="1070">
                  <c:v>86987.949460481861</c:v>
                </c:pt>
                <c:pt idx="1071">
                  <c:v>87006.604993768313</c:v>
                </c:pt>
                <c:pt idx="1072">
                  <c:v>87025.26452794137</c:v>
                </c:pt>
                <c:pt idx="1073">
                  <c:v>87043.928063859072</c:v>
                </c:pt>
                <c:pt idx="1074">
                  <c:v>87062.595602379646</c:v>
                </c:pt>
                <c:pt idx="1075">
                  <c:v>87081.267144361482</c:v>
                </c:pt>
                <c:pt idx="1076">
                  <c:v>87099.942690663171</c:v>
                </c:pt>
                <c:pt idx="1077">
                  <c:v>87118.62224214348</c:v>
                </c:pt>
                <c:pt idx="1078">
                  <c:v>87137.305799661364</c:v>
                </c:pt>
                <c:pt idx="1079">
                  <c:v>87155.99336407597</c:v>
                </c:pt>
                <c:pt idx="1080">
                  <c:v>87174.684936246616</c:v>
                </c:pt>
                <c:pt idx="1081">
                  <c:v>87193.380517032812</c:v>
                </c:pt>
                <c:pt idx="1082">
                  <c:v>87212.080107294256</c:v>
                </c:pt>
                <c:pt idx="1083">
                  <c:v>87230.78370789082</c:v>
                </c:pt>
                <c:pt idx="1084">
                  <c:v>87249.491319682551</c:v>
                </c:pt>
                <c:pt idx="1085">
                  <c:v>87268.202943529715</c:v>
                </c:pt>
                <c:pt idx="1086">
                  <c:v>87286.918580292724</c:v>
                </c:pt>
                <c:pt idx="1087">
                  <c:v>87305.638230832206</c:v>
                </c:pt>
                <c:pt idx="1088">
                  <c:v>87324.361896008966</c:v>
                </c:pt>
                <c:pt idx="1089">
                  <c:v>87343.089576683968</c:v>
                </c:pt>
                <c:pt idx="1090">
                  <c:v>87361.821273718393</c:v>
                </c:pt>
                <c:pt idx="1091">
                  <c:v>87380.556987973599</c:v>
                </c:pt>
                <c:pt idx="1092">
                  <c:v>87399.296720311104</c:v>
                </c:pt>
                <c:pt idx="1093">
                  <c:v>87418.040471592656</c:v>
                </c:pt>
                <c:pt idx="1094">
                  <c:v>87436.788242680152</c:v>
                </c:pt>
                <c:pt idx="1095">
                  <c:v>87455.540034435675</c:v>
                </c:pt>
                <c:pt idx="1096">
                  <c:v>87474.295847721514</c:v>
                </c:pt>
                <c:pt idx="1097">
                  <c:v>86501.194447062575</c:v>
                </c:pt>
                <c:pt idx="1098">
                  <c:v>86519.745590322462</c:v>
                </c:pt>
                <c:pt idx="1099">
                  <c:v>86538.300712081356</c:v>
                </c:pt>
                <c:pt idx="1100">
                  <c:v>86556.859813192495</c:v>
                </c:pt>
                <c:pt idx="1101">
                  <c:v>86575.422894509291</c:v>
                </c:pt>
                <c:pt idx="1102">
                  <c:v>86593.989956885343</c:v>
                </c:pt>
                <c:pt idx="1103">
                  <c:v>86612.561001174428</c:v>
                </c:pt>
                <c:pt idx="1104">
                  <c:v>86631.136028230525</c:v>
                </c:pt>
                <c:pt idx="1105">
                  <c:v>86649.715038907772</c:v>
                </c:pt>
                <c:pt idx="1106">
                  <c:v>86668.298034060499</c:v>
                </c:pt>
                <c:pt idx="1107">
                  <c:v>86686.885014543237</c:v>
                </c:pt>
                <c:pt idx="1108">
                  <c:v>86705.475981210664</c:v>
                </c:pt>
                <c:pt idx="1109">
                  <c:v>86724.070934917676</c:v>
                </c:pt>
                <c:pt idx="1110">
                  <c:v>86742.669876519329</c:v>
                </c:pt>
                <c:pt idx="1111">
                  <c:v>86761.272806870867</c:v>
                </c:pt>
                <c:pt idx="1112">
                  <c:v>86779.879726827741</c:v>
                </c:pt>
                <c:pt idx="1113">
                  <c:v>86798.490637245559</c:v>
                </c:pt>
                <c:pt idx="1114">
                  <c:v>86817.105538980119</c:v>
                </c:pt>
                <c:pt idx="1115">
                  <c:v>86835.724432887393</c:v>
                </c:pt>
                <c:pt idx="1116">
                  <c:v>86854.347319823559</c:v>
                </c:pt>
                <c:pt idx="1117">
                  <c:v>86872.974200644967</c:v>
                </c:pt>
                <c:pt idx="1118">
                  <c:v>86891.605076208143</c:v>
                </c:pt>
                <c:pt idx="1119">
                  <c:v>86910.239947369788</c:v>
                </c:pt>
                <c:pt idx="1120">
                  <c:v>86928.878814986849</c:v>
                </c:pt>
                <c:pt idx="1121">
                  <c:v>86947.521679916361</c:v>
                </c:pt>
                <c:pt idx="1122">
                  <c:v>86966.168543015621</c:v>
                </c:pt>
                <c:pt idx="1123">
                  <c:v>86984.819405142072</c:v>
                </c:pt>
                <c:pt idx="1124">
                  <c:v>87003.474267153346</c:v>
                </c:pt>
                <c:pt idx="1125">
                  <c:v>87022.133129907263</c:v>
                </c:pt>
                <c:pt idx="1126">
                  <c:v>87040.795994261818</c:v>
                </c:pt>
                <c:pt idx="1127">
                  <c:v>86067.601624737712</c:v>
                </c:pt>
                <c:pt idx="1128">
                  <c:v>86086.059779194213</c:v>
                </c:pt>
                <c:pt idx="1129">
                  <c:v>86104.521892207238</c:v>
                </c:pt>
                <c:pt idx="1130">
                  <c:v>86122.987964625747</c:v>
                </c:pt>
                <c:pt idx="1131">
                  <c:v>86141.457997298887</c:v>
                </c:pt>
                <c:pt idx="1132">
                  <c:v>86159.931991075937</c:v>
                </c:pt>
                <c:pt idx="1133">
                  <c:v>86178.409946806438</c:v>
                </c:pt>
                <c:pt idx="1134">
                  <c:v>86196.891865340061</c:v>
                </c:pt>
                <c:pt idx="1135">
                  <c:v>86215.377747526698</c:v>
                </c:pt>
                <c:pt idx="1136">
                  <c:v>86233.867594216368</c:v>
                </c:pt>
                <c:pt idx="1137">
                  <c:v>86252.361406259311</c:v>
                </c:pt>
                <c:pt idx="1138">
                  <c:v>86270.859184505956</c:v>
                </c:pt>
                <c:pt idx="1139">
                  <c:v>86289.360929806877</c:v>
                </c:pt>
                <c:pt idx="1140">
                  <c:v>86307.866643012865</c:v>
                </c:pt>
                <c:pt idx="1141">
                  <c:v>84536.368065841889</c:v>
                </c:pt>
                <c:pt idx="1142">
                  <c:v>84554.49783023051</c:v>
                </c:pt>
                <c:pt idx="1143">
                  <c:v>84572.631482748766</c:v>
                </c:pt>
                <c:pt idx="1144">
                  <c:v>84590.769024230496</c:v>
                </c:pt>
                <c:pt idx="1145">
                  <c:v>84608.910455509715</c:v>
                </c:pt>
                <c:pt idx="1146">
                  <c:v>84627.055777420668</c:v>
                </c:pt>
                <c:pt idx="1147">
                  <c:v>84645.20499079772</c:v>
                </c:pt>
                <c:pt idx="1148">
                  <c:v>84663.358096475451</c:v>
                </c:pt>
                <c:pt idx="1149">
                  <c:v>84681.515095288589</c:v>
                </c:pt>
                <c:pt idx="1150">
                  <c:v>84699.675988072078</c:v>
                </c:pt>
                <c:pt idx="1151">
                  <c:v>84717.840775661025</c:v>
                </c:pt>
                <c:pt idx="1152">
                  <c:v>84736.009458890694</c:v>
                </c:pt>
                <c:pt idx="1153">
                  <c:v>84754.182038596584</c:v>
                </c:pt>
                <c:pt idx="1154">
                  <c:v>84772.358515614294</c:v>
                </c:pt>
                <c:pt idx="1155">
                  <c:v>84790.538890779673</c:v>
                </c:pt>
                <c:pt idx="1156">
                  <c:v>84808.723164928728</c:v>
                </c:pt>
                <c:pt idx="1157">
                  <c:v>84826.911338897626</c:v>
                </c:pt>
                <c:pt idx="1158">
                  <c:v>83853.24217718521</c:v>
                </c:pt>
                <c:pt idx="1159">
                  <c:v>83871.225437628949</c:v>
                </c:pt>
                <c:pt idx="1160">
                  <c:v>83889.212554782905</c:v>
                </c:pt>
                <c:pt idx="1161">
                  <c:v>83907.203529474195</c:v>
                </c:pt>
                <c:pt idx="1162">
                  <c:v>83925.198362530107</c:v>
                </c:pt>
                <c:pt idx="1163">
                  <c:v>83943.197054778124</c:v>
                </c:pt>
                <c:pt idx="1164">
                  <c:v>83961.19960704587</c:v>
                </c:pt>
                <c:pt idx="1165">
                  <c:v>83979.206020161189</c:v>
                </c:pt>
                <c:pt idx="1166">
                  <c:v>83997.216294952086</c:v>
                </c:pt>
                <c:pt idx="1167">
                  <c:v>84015.230432246724</c:v>
                </c:pt>
                <c:pt idx="1168">
                  <c:v>84033.248432873472</c:v>
                </c:pt>
                <c:pt idx="1169">
                  <c:v>84051.270297660856</c:v>
                </c:pt>
                <c:pt idx="1170">
                  <c:v>84069.29602743758</c:v>
                </c:pt>
                <c:pt idx="1171">
                  <c:v>84087.325623032564</c:v>
                </c:pt>
                <c:pt idx="1172">
                  <c:v>84105.35908527486</c:v>
                </c:pt>
                <c:pt idx="1173">
                  <c:v>84123.396414993695</c:v>
                </c:pt>
                <c:pt idx="1174">
                  <c:v>84141.437613018526</c:v>
                </c:pt>
                <c:pt idx="1175">
                  <c:v>84159.482680178917</c:v>
                </c:pt>
                <c:pt idx="1176">
                  <c:v>84177.531617304674</c:v>
                </c:pt>
                <c:pt idx="1177">
                  <c:v>84195.584425225752</c:v>
                </c:pt>
                <c:pt idx="1178">
                  <c:v>84213.64110477228</c:v>
                </c:pt>
                <c:pt idx="1179">
                  <c:v>84231.70165677456</c:v>
                </c:pt>
                <c:pt idx="1180">
                  <c:v>84249.766082063114</c:v>
                </c:pt>
                <c:pt idx="1181">
                  <c:v>84267.83438146858</c:v>
                </c:pt>
                <c:pt idx="1182">
                  <c:v>84285.906555821828</c:v>
                </c:pt>
                <c:pt idx="1183">
                  <c:v>84303.982605953875</c:v>
                </c:pt>
                <c:pt idx="1184">
                  <c:v>84322.062532695927</c:v>
                </c:pt>
                <c:pt idx="1185">
                  <c:v>84340.146336879348</c:v>
                </c:pt>
                <c:pt idx="1186">
                  <c:v>84358.234019335738</c:v>
                </c:pt>
                <c:pt idx="1187">
                  <c:v>84376.325580896795</c:v>
                </c:pt>
                <c:pt idx="1188">
                  <c:v>83402.55978605694</c:v>
                </c:pt>
                <c:pt idx="1189">
                  <c:v>83420.446392649174</c:v>
                </c:pt>
                <c:pt idx="1190">
                  <c:v>83438.336835223134</c:v>
                </c:pt>
                <c:pt idx="1191">
                  <c:v>83456.231114601484</c:v>
                </c:pt>
                <c:pt idx="1192">
                  <c:v>83474.129231607076</c:v>
                </c:pt>
                <c:pt idx="1193">
                  <c:v>83492.031187062938</c:v>
                </c:pt>
                <c:pt idx="1194">
                  <c:v>83509.936981792256</c:v>
                </c:pt>
                <c:pt idx="1195">
                  <c:v>83527.846616618408</c:v>
                </c:pt>
                <c:pt idx="1196">
                  <c:v>83545.760092364944</c:v>
                </c:pt>
                <c:pt idx="1197">
                  <c:v>83563.67740985562</c:v>
                </c:pt>
                <c:pt idx="1198">
                  <c:v>83581.598569914306</c:v>
                </c:pt>
                <c:pt idx="1199">
                  <c:v>83599.523573365092</c:v>
                </c:pt>
                <c:pt idx="1200">
                  <c:v>83617.452421032242</c:v>
                </c:pt>
                <c:pt idx="1201">
                  <c:v>83635.38511374018</c:v>
                </c:pt>
                <c:pt idx="1202">
                  <c:v>83653.321652313534</c:v>
                </c:pt>
                <c:pt idx="1203">
                  <c:v>83671.262037577093</c:v>
                </c:pt>
                <c:pt idx="1204">
                  <c:v>83689.206270355804</c:v>
                </c:pt>
                <c:pt idx="1205">
                  <c:v>83707.154351474834</c:v>
                </c:pt>
                <c:pt idx="1206">
                  <c:v>83725.106281759494</c:v>
                </c:pt>
                <c:pt idx="1207">
                  <c:v>83743.062062035271</c:v>
                </c:pt>
                <c:pt idx="1208">
                  <c:v>83761.021693127841</c:v>
                </c:pt>
                <c:pt idx="1209">
                  <c:v>83778.985175863039</c:v>
                </c:pt>
                <c:pt idx="1210">
                  <c:v>83796.95251106692</c:v>
                </c:pt>
                <c:pt idx="1211">
                  <c:v>83814.923699565654</c:v>
                </c:pt>
                <c:pt idx="1212">
                  <c:v>83832.898742185658</c:v>
                </c:pt>
                <c:pt idx="1213">
                  <c:v>83850.877639753468</c:v>
                </c:pt>
                <c:pt idx="1214">
                  <c:v>83868.860393095834</c:v>
                </c:pt>
                <c:pt idx="1215">
                  <c:v>83886.847003039686</c:v>
                </c:pt>
                <c:pt idx="1216">
                  <c:v>83904.837470412094</c:v>
                </c:pt>
                <c:pt idx="1217">
                  <c:v>83922.831796040322</c:v>
                </c:pt>
                <c:pt idx="1218">
                  <c:v>83940.829980751834</c:v>
                </c:pt>
                <c:pt idx="1219">
                  <c:v>82966.970789036714</c:v>
                </c:pt>
                <c:pt idx="1220">
                  <c:v>82984.763978723699</c:v>
                </c:pt>
                <c:pt idx="1221">
                  <c:v>83002.560984358104</c:v>
                </c:pt>
                <c:pt idx="1222">
                  <c:v>83020.361806758316</c:v>
                </c:pt>
                <c:pt idx="1223">
                  <c:v>83038.166446742893</c:v>
                </c:pt>
                <c:pt idx="1224">
                  <c:v>83055.974905130526</c:v>
                </c:pt>
                <c:pt idx="1225">
                  <c:v>83073.78718274014</c:v>
                </c:pt>
                <c:pt idx="1226">
                  <c:v>83091.603280390817</c:v>
                </c:pt>
                <c:pt idx="1227">
                  <c:v>83109.423198901801</c:v>
                </c:pt>
                <c:pt idx="1228">
                  <c:v>83127.246939092496</c:v>
                </c:pt>
                <c:pt idx="1229">
                  <c:v>83145.074501782525</c:v>
                </c:pt>
                <c:pt idx="1230">
                  <c:v>83162.905887791669</c:v>
                </c:pt>
                <c:pt idx="1231">
                  <c:v>83180.74109793987</c:v>
                </c:pt>
                <c:pt idx="1232">
                  <c:v>83198.580133047246</c:v>
                </c:pt>
                <c:pt idx="1233">
                  <c:v>83216.422993934117</c:v>
                </c:pt>
                <c:pt idx="1234">
                  <c:v>83234.269681420978</c:v>
                </c:pt>
                <c:pt idx="1235">
                  <c:v>83252.120196328469</c:v>
                </c:pt>
                <c:pt idx="1236">
                  <c:v>83269.974539477422</c:v>
                </c:pt>
                <c:pt idx="1237">
                  <c:v>83287.832711688839</c:v>
                </c:pt>
                <c:pt idx="1238">
                  <c:v>83305.694713783916</c:v>
                </c:pt>
                <c:pt idx="1239">
                  <c:v>83323.56054658402</c:v>
                </c:pt>
                <c:pt idx="1240">
                  <c:v>83341.430210910665</c:v>
                </c:pt>
                <c:pt idx="1241">
                  <c:v>83359.303707585583</c:v>
                </c:pt>
                <c:pt idx="1242">
                  <c:v>83377.181037430666</c:v>
                </c:pt>
                <c:pt idx="1243">
                  <c:v>83395.062201267967</c:v>
                </c:pt>
                <c:pt idx="1244">
                  <c:v>83412.947199919756</c:v>
                </c:pt>
                <c:pt idx="1245">
                  <c:v>83430.83603420842</c:v>
                </c:pt>
                <c:pt idx="1246">
                  <c:v>83448.728704956578</c:v>
                </c:pt>
                <c:pt idx="1247">
                  <c:v>83466.625212986968</c:v>
                </c:pt>
                <c:pt idx="1248">
                  <c:v>83484.525559122572</c:v>
                </c:pt>
                <c:pt idx="1249">
                  <c:v>83502.429744186491</c:v>
                </c:pt>
                <c:pt idx="1250">
                  <c:v>82528.476532664528</c:v>
                </c:pt>
                <c:pt idx="1251">
                  <c:v>82546.175682381057</c:v>
                </c:pt>
                <c:pt idx="1252">
                  <c:v>82563.8786278771</c:v>
                </c:pt>
                <c:pt idx="1253">
                  <c:v>82581.58536996672</c:v>
                </c:pt>
                <c:pt idx="1254">
                  <c:v>82599.295909464112</c:v>
                </c:pt>
                <c:pt idx="1255">
                  <c:v>82617.010247183687</c:v>
                </c:pt>
                <c:pt idx="1256">
                  <c:v>82634.728383940019</c:v>
                </c:pt>
                <c:pt idx="1257">
                  <c:v>82652.45032054784</c:v>
                </c:pt>
                <c:pt idx="1258">
                  <c:v>82670.1760578221</c:v>
                </c:pt>
                <c:pt idx="1259">
                  <c:v>82687.905596577868</c:v>
                </c:pt>
                <c:pt idx="1260">
                  <c:v>82705.638937630414</c:v>
                </c:pt>
                <c:pt idx="1261">
                  <c:v>82723.376081795184</c:v>
                </c:pt>
                <c:pt idx="1262">
                  <c:v>82741.117029887799</c:v>
                </c:pt>
                <c:pt idx="1263">
                  <c:v>82758.861782724052</c:v>
                </c:pt>
                <c:pt idx="1264">
                  <c:v>82776.610341119929</c:v>
                </c:pt>
                <c:pt idx="1265">
                  <c:v>82794.362705891574</c:v>
                </c:pt>
                <c:pt idx="1266">
                  <c:v>82812.11887785529</c:v>
                </c:pt>
                <c:pt idx="1267">
                  <c:v>82829.878857827571</c:v>
                </c:pt>
                <c:pt idx="1268">
                  <c:v>82847.642646625085</c:v>
                </c:pt>
                <c:pt idx="1269">
                  <c:v>82865.41024506469</c:v>
                </c:pt>
                <c:pt idx="1270">
                  <c:v>82883.181653963416</c:v>
                </c:pt>
                <c:pt idx="1271">
                  <c:v>82900.956874138443</c:v>
                </c:pt>
                <c:pt idx="1272">
                  <c:v>82918.735906407121</c:v>
                </c:pt>
                <c:pt idx="1273">
                  <c:v>82936.51875158702</c:v>
                </c:pt>
                <c:pt idx="1274">
                  <c:v>82954.305410495857</c:v>
                </c:pt>
                <c:pt idx="1275">
                  <c:v>82972.095883951537</c:v>
                </c:pt>
                <c:pt idx="1276">
                  <c:v>82989.890172772124</c:v>
                </c:pt>
                <c:pt idx="1277">
                  <c:v>83007.688277775858</c:v>
                </c:pt>
                <c:pt idx="1278">
                  <c:v>82033.628963443654</c:v>
                </c:pt>
                <c:pt idx="1279">
                  <c:v>82051.22198759504</c:v>
                </c:pt>
                <c:pt idx="1280">
                  <c:v>82068.818784766117</c:v>
                </c:pt>
                <c:pt idx="1281">
                  <c:v>82086.419355766076</c:v>
                </c:pt>
                <c:pt idx="1282">
                  <c:v>82104.023701404236</c:v>
                </c:pt>
                <c:pt idx="1283">
                  <c:v>82121.631822490133</c:v>
                </c:pt>
                <c:pt idx="1284">
                  <c:v>82139.243719833452</c:v>
                </c:pt>
                <c:pt idx="1285">
                  <c:v>82156.85939424402</c:v>
                </c:pt>
                <c:pt idx="1286">
                  <c:v>82174.4788465319</c:v>
                </c:pt>
                <c:pt idx="1287">
                  <c:v>82192.102077507298</c:v>
                </c:pt>
                <c:pt idx="1288">
                  <c:v>82209.72908798061</c:v>
                </c:pt>
                <c:pt idx="1289">
                  <c:v>82227.359878762363</c:v>
                </c:pt>
                <c:pt idx="1290">
                  <c:v>82244.994450663304</c:v>
                </c:pt>
                <c:pt idx="1291">
                  <c:v>82262.632804494337</c:v>
                </c:pt>
                <c:pt idx="1292">
                  <c:v>82280.274941066513</c:v>
                </c:pt>
                <c:pt idx="1293">
                  <c:v>82297.920861191102</c:v>
                </c:pt>
                <c:pt idx="1294">
                  <c:v>82315.570565679547</c:v>
                </c:pt>
                <c:pt idx="1295">
                  <c:v>82333.224055343409</c:v>
                </c:pt>
                <c:pt idx="1296">
                  <c:v>82350.881330994496</c:v>
                </c:pt>
                <c:pt idx="1297">
                  <c:v>82368.542393444732</c:v>
                </c:pt>
                <c:pt idx="1298">
                  <c:v>82386.207243506258</c:v>
                </c:pt>
                <c:pt idx="1299">
                  <c:v>82403.875881991349</c:v>
                </c:pt>
                <c:pt idx="1300">
                  <c:v>82421.548309712482</c:v>
                </c:pt>
                <c:pt idx="1301">
                  <c:v>82439.224527482307</c:v>
                </c:pt>
                <c:pt idx="1302">
                  <c:v>82456.904536113623</c:v>
                </c:pt>
                <c:pt idx="1303">
                  <c:v>82474.588336419431</c:v>
                </c:pt>
                <c:pt idx="1304">
                  <c:v>82492.275929212905</c:v>
                </c:pt>
                <c:pt idx="1305">
                  <c:v>82509.967315307382</c:v>
                </c:pt>
                <c:pt idx="1306">
                  <c:v>82527.662495516386</c:v>
                </c:pt>
                <c:pt idx="1307">
                  <c:v>82545.361470653603</c:v>
                </c:pt>
                <c:pt idx="1308">
                  <c:v>82563.064241532891</c:v>
                </c:pt>
                <c:pt idx="1309">
                  <c:v>81588.909572630786</c:v>
                </c:pt>
                <c:pt idx="1310">
                  <c:v>81606.407221762391</c:v>
                </c:pt>
                <c:pt idx="1311">
                  <c:v>81623.908623459487</c:v>
                </c:pt>
                <c:pt idx="1312">
                  <c:v>81641.413778526825</c:v>
                </c:pt>
                <c:pt idx="1313">
                  <c:v>81658.922687769358</c:v>
                </c:pt>
                <c:pt idx="1314">
                  <c:v>81676.435351992244</c:v>
                </c:pt>
                <c:pt idx="1315">
                  <c:v>81693.951772000742</c:v>
                </c:pt>
                <c:pt idx="1316">
                  <c:v>81711.471948600331</c:v>
                </c:pt>
                <c:pt idx="1317">
                  <c:v>81728.995882596661</c:v>
                </c:pt>
                <c:pt idx="1318">
                  <c:v>81746.523574795559</c:v>
                </c:pt>
                <c:pt idx="1319">
                  <c:v>81764.055026002985</c:v>
                </c:pt>
                <c:pt idx="1320">
                  <c:v>81781.590237025128</c:v>
                </c:pt>
                <c:pt idx="1321">
                  <c:v>81657.299062004095</c:v>
                </c:pt>
                <c:pt idx="1322">
                  <c:v>81674.811378022365</c:v>
                </c:pt>
                <c:pt idx="1323">
                  <c:v>81692.327449751596</c:v>
                </c:pt>
                <c:pt idx="1324">
                  <c:v>81709.847277997236</c:v>
                </c:pt>
                <c:pt idx="1325">
                  <c:v>81727.370863564895</c:v>
                </c:pt>
                <c:pt idx="1326">
                  <c:v>81744.898207260398</c:v>
                </c:pt>
                <c:pt idx="1327">
                  <c:v>81762.429309889703</c:v>
                </c:pt>
                <c:pt idx="1328">
                  <c:v>81779.964172258944</c:v>
                </c:pt>
                <c:pt idx="1329">
                  <c:v>81797.502795174456</c:v>
                </c:pt>
                <c:pt idx="1330">
                  <c:v>81815.045179442735</c:v>
                </c:pt>
                <c:pt idx="1331">
                  <c:v>81832.591325870424</c:v>
                </c:pt>
                <c:pt idx="1332">
                  <c:v>81850.141235264367</c:v>
                </c:pt>
                <c:pt idx="1333">
                  <c:v>81867.694908431586</c:v>
                </c:pt>
                <c:pt idx="1334">
                  <c:v>81885.252346179244</c:v>
                </c:pt>
                <c:pt idx="1335">
                  <c:v>81902.813549314713</c:v>
                </c:pt>
                <c:pt idx="1336">
                  <c:v>81920.378518645535</c:v>
                </c:pt>
                <c:pt idx="1337">
                  <c:v>81937.947254979401</c:v>
                </c:pt>
                <c:pt idx="1338">
                  <c:v>81955.519759124159</c:v>
                </c:pt>
                <c:pt idx="1339">
                  <c:v>80981.234795550379</c:v>
                </c:pt>
                <c:pt idx="1340">
                  <c:v>80998.602122067183</c:v>
                </c:pt>
                <c:pt idx="1341">
                  <c:v>81015.973173200327</c:v>
                </c:pt>
                <c:pt idx="1342">
                  <c:v>81033.347949748582</c:v>
                </c:pt>
                <c:pt idx="1343">
                  <c:v>81050.726452510935</c:v>
                </c:pt>
                <c:pt idx="1344">
                  <c:v>81068.108682286489</c:v>
                </c:pt>
                <c:pt idx="1345">
                  <c:v>81085.494639874552</c:v>
                </c:pt>
                <c:pt idx="1346">
                  <c:v>81102.884326074607</c:v>
                </c:pt>
                <c:pt idx="1347">
                  <c:v>81120.277741686266</c:v>
                </c:pt>
                <c:pt idx="1348">
                  <c:v>81137.674887509362</c:v>
                </c:pt>
                <c:pt idx="1349">
                  <c:v>81155.075764343885</c:v>
                </c:pt>
                <c:pt idx="1350">
                  <c:v>81172.480372989987</c:v>
                </c:pt>
                <c:pt idx="1351">
                  <c:v>81189.888714247994</c:v>
                </c:pt>
                <c:pt idx="1352">
                  <c:v>81207.300788918408</c:v>
                </c:pt>
                <c:pt idx="1353">
                  <c:v>81224.716597801918</c:v>
                </c:pt>
                <c:pt idx="1354">
                  <c:v>81242.136141699346</c:v>
                </c:pt>
                <c:pt idx="1355">
                  <c:v>81259.559421411701</c:v>
                </c:pt>
                <c:pt idx="1356">
                  <c:v>81276.986437740183</c:v>
                </c:pt>
                <c:pt idx="1357">
                  <c:v>81294.417191486151</c:v>
                </c:pt>
                <c:pt idx="1358">
                  <c:v>81311.851683451139</c:v>
                </c:pt>
                <c:pt idx="1359">
                  <c:v>81329.289914436828</c:v>
                </c:pt>
                <c:pt idx="1360">
                  <c:v>81346.731885245114</c:v>
                </c:pt>
                <c:pt idx="1361">
                  <c:v>81364.177596678026</c:v>
                </c:pt>
                <c:pt idx="1362">
                  <c:v>81381.627049537812</c:v>
                </c:pt>
                <c:pt idx="1363">
                  <c:v>81399.080244626835</c:v>
                </c:pt>
                <c:pt idx="1364">
                  <c:v>81416.537182747677</c:v>
                </c:pt>
                <c:pt idx="1365">
                  <c:v>81433.997864703066</c:v>
                </c:pt>
                <c:pt idx="1366">
                  <c:v>81451.462291295902</c:v>
                </c:pt>
                <c:pt idx="1367">
                  <c:v>81468.930463329278</c:v>
                </c:pt>
                <c:pt idx="1368">
                  <c:v>81486.402381606429</c:v>
                </c:pt>
                <c:pt idx="1369">
                  <c:v>81503.878046930797</c:v>
                </c:pt>
                <c:pt idx="1370">
                  <c:v>80529.496223768438</c:v>
                </c:pt>
                <c:pt idx="1371">
                  <c:v>80546.766669924051</c:v>
                </c:pt>
                <c:pt idx="1372">
                  <c:v>80564.040819918926</c:v>
                </c:pt>
                <c:pt idx="1373">
                  <c:v>80581.318674547409</c:v>
                </c:pt>
                <c:pt idx="1374">
                  <c:v>80598.60023460399</c:v>
                </c:pt>
                <c:pt idx="1375">
                  <c:v>80615.885500883334</c:v>
                </c:pt>
                <c:pt idx="1376">
                  <c:v>80633.174474180283</c:v>
                </c:pt>
                <c:pt idx="1377">
                  <c:v>80650.467155289851</c:v>
                </c:pt>
                <c:pt idx="1378">
                  <c:v>80667.763545007227</c:v>
                </c:pt>
                <c:pt idx="1379">
                  <c:v>80685.06364412776</c:v>
                </c:pt>
                <c:pt idx="1380">
                  <c:v>80702.367453446976</c:v>
                </c:pt>
                <c:pt idx="1381">
                  <c:v>80719.674973760557</c:v>
                </c:pt>
                <c:pt idx="1382">
                  <c:v>80736.986205864363</c:v>
                </c:pt>
                <c:pt idx="1383">
                  <c:v>80754.301150554442</c:v>
                </c:pt>
                <c:pt idx="1384">
                  <c:v>80771.619808626987</c:v>
                </c:pt>
                <c:pt idx="1385">
                  <c:v>80788.942180878395</c:v>
                </c:pt>
                <c:pt idx="1386">
                  <c:v>80806.268268105181</c:v>
                </c:pt>
                <c:pt idx="1387">
                  <c:v>80823.598071104105</c:v>
                </c:pt>
                <c:pt idx="1388">
                  <c:v>80840.931590672044</c:v>
                </c:pt>
                <c:pt idx="1389">
                  <c:v>80858.268827606036</c:v>
                </c:pt>
                <c:pt idx="1390">
                  <c:v>80875.609782703308</c:v>
                </c:pt>
                <c:pt idx="1391">
                  <c:v>80892.954456761276</c:v>
                </c:pt>
                <c:pt idx="1392">
                  <c:v>80910.302850577515</c:v>
                </c:pt>
                <c:pt idx="1393">
                  <c:v>80927.654964949776</c:v>
                </c:pt>
                <c:pt idx="1394">
                  <c:v>80945.010800675955</c:v>
                </c:pt>
                <c:pt idx="1395">
                  <c:v>80962.370358554152</c:v>
                </c:pt>
                <c:pt idx="1396">
                  <c:v>80979.733639382612</c:v>
                </c:pt>
                <c:pt idx="1397">
                  <c:v>80997.100643959784</c:v>
                </c:pt>
                <c:pt idx="1398">
                  <c:v>81014.471373084249</c:v>
                </c:pt>
                <c:pt idx="1399">
                  <c:v>81031.845827554775</c:v>
                </c:pt>
                <c:pt idx="1400">
                  <c:v>80057.362771832792</c:v>
                </c:pt>
                <c:pt idx="1401">
                  <c:v>80074.531963718327</c:v>
                </c:pt>
                <c:pt idx="1402">
                  <c:v>80091.704837728015</c:v>
                </c:pt>
                <c:pt idx="1403">
                  <c:v>80108.881394651544</c:v>
                </c:pt>
                <c:pt idx="1404">
                  <c:v>80126.061635278747</c:v>
                </c:pt>
                <c:pt idx="1405">
                  <c:v>80143.245560399635</c:v>
                </c:pt>
                <c:pt idx="1406">
                  <c:v>80160.433170804405</c:v>
                </c:pt>
                <c:pt idx="1407">
                  <c:v>80177.6244672834</c:v>
                </c:pt>
                <c:pt idx="1408">
                  <c:v>80194.819450627125</c:v>
                </c:pt>
                <c:pt idx="1409">
                  <c:v>80212.018121626301</c:v>
                </c:pt>
                <c:pt idx="1410">
                  <c:v>80229.220481071752</c:v>
                </c:pt>
                <c:pt idx="1411">
                  <c:v>80246.426529754521</c:v>
                </c:pt>
                <c:pt idx="1412">
                  <c:v>80263.636268465794</c:v>
                </c:pt>
                <c:pt idx="1413">
                  <c:v>80280.84969799695</c:v>
                </c:pt>
                <c:pt idx="1414">
                  <c:v>80298.066819139523</c:v>
                </c:pt>
                <c:pt idx="1415">
                  <c:v>80315.287632685227</c:v>
                </c:pt>
                <c:pt idx="1416">
                  <c:v>80332.512139425933</c:v>
                </c:pt>
                <c:pt idx="1417">
                  <c:v>80349.740340153701</c:v>
                </c:pt>
                <c:pt idx="1418">
                  <c:v>80366.972235660738</c:v>
                </c:pt>
                <c:pt idx="1419">
                  <c:v>80384.207826739424</c:v>
                </c:pt>
                <c:pt idx="1420">
                  <c:v>80401.447114182316</c:v>
                </c:pt>
                <c:pt idx="1421">
                  <c:v>80418.690098782143</c:v>
                </c:pt>
                <c:pt idx="1422">
                  <c:v>80435.936781331809</c:v>
                </c:pt>
                <c:pt idx="1423">
                  <c:v>80453.187162624366</c:v>
                </c:pt>
                <c:pt idx="1424">
                  <c:v>80470.441243453053</c:v>
                </c:pt>
                <c:pt idx="1425">
                  <c:v>80487.699024611298</c:v>
                </c:pt>
                <c:pt idx="1426">
                  <c:v>80504.960506892661</c:v>
                </c:pt>
                <c:pt idx="1427">
                  <c:v>80522.225691090876</c:v>
                </c:pt>
                <c:pt idx="1428">
                  <c:v>80539.494577999882</c:v>
                </c:pt>
                <c:pt idx="1429">
                  <c:v>80556.767168413746</c:v>
                </c:pt>
                <c:pt idx="1430">
                  <c:v>80574.043463126756</c:v>
                </c:pt>
                <c:pt idx="1431">
                  <c:v>79599.462226595802</c:v>
                </c:pt>
                <c:pt idx="1432">
                  <c:v>79616.533216616401</c:v>
                </c:pt>
                <c:pt idx="1433">
                  <c:v>79633.607867700688</c:v>
                </c:pt>
                <c:pt idx="1434">
                  <c:v>79650.686180633813</c:v>
                </c:pt>
                <c:pt idx="1435">
                  <c:v>79667.768156201084</c:v>
                </c:pt>
                <c:pt idx="1436">
                  <c:v>79684.853795188028</c:v>
                </c:pt>
                <c:pt idx="1437">
                  <c:v>79701.943098380289</c:v>
                </c:pt>
                <c:pt idx="1438">
                  <c:v>79719.036066563684</c:v>
                </c:pt>
                <c:pt idx="1439">
                  <c:v>79736.13270052422</c:v>
                </c:pt>
                <c:pt idx="1440">
                  <c:v>79753.233001048065</c:v>
                </c:pt>
                <c:pt idx="1441">
                  <c:v>79770.336968921561</c:v>
                </c:pt>
                <c:pt idx="1442">
                  <c:v>79787.444604931225</c:v>
                </c:pt>
                <c:pt idx="1443">
                  <c:v>79804.555909863702</c:v>
                </c:pt>
                <c:pt idx="1444">
                  <c:v>79821.670884505846</c:v>
                </c:pt>
                <c:pt idx="1445">
                  <c:v>79838.789529644666</c:v>
                </c:pt>
                <c:pt idx="1446">
                  <c:v>79855.911846067334</c:v>
                </c:pt>
                <c:pt idx="1447">
                  <c:v>79873.037834561197</c:v>
                </c:pt>
                <c:pt idx="1448">
                  <c:v>79890.167495913774</c:v>
                </c:pt>
                <c:pt idx="1449">
                  <c:v>79907.300830912747</c:v>
                </c:pt>
                <c:pt idx="1450">
                  <c:v>79924.43784034597</c:v>
                </c:pt>
                <c:pt idx="1451">
                  <c:v>79941.578525001489</c:v>
                </c:pt>
                <c:pt idx="1452">
                  <c:v>79958.722885667477</c:v>
                </c:pt>
                <c:pt idx="1453">
                  <c:v>79975.870923132301</c:v>
                </c:pt>
                <c:pt idx="1454">
                  <c:v>79993.022638184484</c:v>
                </c:pt>
                <c:pt idx="1455">
                  <c:v>80010.178031612726</c:v>
                </c:pt>
                <c:pt idx="1456">
                  <c:v>80027.337104205901</c:v>
                </c:pt>
                <c:pt idx="1457">
                  <c:v>80044.499856753057</c:v>
                </c:pt>
                <c:pt idx="1458">
                  <c:v>80061.666290043388</c:v>
                </c:pt>
                <c:pt idx="1459">
                  <c:v>80078.836404866262</c:v>
                </c:pt>
                <c:pt idx="1460">
                  <c:v>80096.010202011239</c:v>
                </c:pt>
                <c:pt idx="1461">
                  <c:v>80113.187682268021</c:v>
                </c:pt>
                <c:pt idx="1462">
                  <c:v>79138.507610088986</c:v>
                </c:pt>
                <c:pt idx="1463">
                  <c:v>79155.479743265096</c:v>
                </c:pt>
                <c:pt idx="1464">
                  <c:v>79172.455516303948</c:v>
                </c:pt>
                <c:pt idx="1465">
                  <c:v>79189.43492998615</c:v>
                </c:pt>
                <c:pt idx="1466">
                  <c:v>79206.417985092456</c:v>
                </c:pt>
                <c:pt idx="1467">
                  <c:v>79223.404682403823</c:v>
                </c:pt>
                <c:pt idx="1468">
                  <c:v>79240.39502270137</c:v>
                </c:pt>
                <c:pt idx="1469">
                  <c:v>79257.38900676636</c:v>
                </c:pt>
                <c:pt idx="1470">
                  <c:v>79274.386635380259</c:v>
                </c:pt>
                <c:pt idx="1471">
                  <c:v>77957.588451027405</c:v>
                </c:pt>
                <c:pt idx="1472">
                  <c:v>77974.307322955065</c:v>
                </c:pt>
                <c:pt idx="1473">
                  <c:v>77991.029780430777</c:v>
                </c:pt>
                <c:pt idx="1474">
                  <c:v>78007.755824223481</c:v>
                </c:pt>
                <c:pt idx="1475">
                  <c:v>78024.485455102302</c:v>
                </c:pt>
                <c:pt idx="1476">
                  <c:v>78041.218673836556</c:v>
                </c:pt>
                <c:pt idx="1477">
                  <c:v>78057.955481195691</c:v>
                </c:pt>
                <c:pt idx="1478">
                  <c:v>78074.695877949314</c:v>
                </c:pt>
                <c:pt idx="1479">
                  <c:v>78091.439864867207</c:v>
                </c:pt>
                <c:pt idx="1480">
                  <c:v>78108.187442719325</c:v>
                </c:pt>
                <c:pt idx="1481">
                  <c:v>78124.938612275801</c:v>
                </c:pt>
                <c:pt idx="1482">
                  <c:v>78141.693374306895</c:v>
                </c:pt>
                <c:pt idx="1483">
                  <c:v>78158.451729583059</c:v>
                </c:pt>
                <c:pt idx="1484">
                  <c:v>78175.213678874905</c:v>
                </c:pt>
                <c:pt idx="1485">
                  <c:v>78191.979222953232</c:v>
                </c:pt>
                <c:pt idx="1486">
                  <c:v>78208.748362588958</c:v>
                </c:pt>
                <c:pt idx="1487">
                  <c:v>78225.521098553174</c:v>
                </c:pt>
                <c:pt idx="1488">
                  <c:v>78242.297431617175</c:v>
                </c:pt>
                <c:pt idx="1489">
                  <c:v>78259.077362552402</c:v>
                </c:pt>
                <c:pt idx="1490">
                  <c:v>78275.860892130455</c:v>
                </c:pt>
                <c:pt idx="1491">
                  <c:v>78292.64802112311</c:v>
                </c:pt>
                <c:pt idx="1492">
                  <c:v>77317.577513964774</c:v>
                </c:pt>
                <c:pt idx="1493">
                  <c:v>77334.159128428451</c:v>
                </c:pt>
                <c:pt idx="1494">
                  <c:v>77350.744299003782</c:v>
                </c:pt>
                <c:pt idx="1495">
                  <c:v>77367.333026453402</c:v>
                </c:pt>
                <c:pt idx="1496">
                  <c:v>77383.925311540152</c:v>
                </c:pt>
                <c:pt idx="1497">
                  <c:v>77400.521155026989</c:v>
                </c:pt>
                <c:pt idx="1498">
                  <c:v>77417.12055767703</c:v>
                </c:pt>
                <c:pt idx="1499">
                  <c:v>77433.72352025361</c:v>
                </c:pt>
                <c:pt idx="1500">
                  <c:v>77450.330043520167</c:v>
                </c:pt>
                <c:pt idx="1501">
                  <c:v>77466.940128240356</c:v>
                </c:pt>
                <c:pt idx="1502">
                  <c:v>77483.553775177963</c:v>
                </c:pt>
                <c:pt idx="1503">
                  <c:v>77500.170985096935</c:v>
                </c:pt>
                <c:pt idx="1504">
                  <c:v>77516.791758761407</c:v>
                </c:pt>
                <c:pt idx="1505">
                  <c:v>77533.416096935645</c:v>
                </c:pt>
                <c:pt idx="1506">
                  <c:v>77550.044000384121</c:v>
                </c:pt>
                <c:pt idx="1507">
                  <c:v>77566.675469871421</c:v>
                </c:pt>
                <c:pt idx="1508">
                  <c:v>77583.310506162336</c:v>
                </c:pt>
                <c:pt idx="1509">
                  <c:v>77599.949110021829</c:v>
                </c:pt>
                <c:pt idx="1510">
                  <c:v>77616.591282214969</c:v>
                </c:pt>
                <c:pt idx="1511">
                  <c:v>77633.237023507041</c:v>
                </c:pt>
                <c:pt idx="1512">
                  <c:v>77649.886334663461</c:v>
                </c:pt>
                <c:pt idx="1513">
                  <c:v>77666.539216449848</c:v>
                </c:pt>
                <c:pt idx="1514">
                  <c:v>77683.195669631968</c:v>
                </c:pt>
                <c:pt idx="1515">
                  <c:v>77699.855694975733</c:v>
                </c:pt>
                <c:pt idx="1516">
                  <c:v>77716.519293247227</c:v>
                </c:pt>
                <c:pt idx="1517">
                  <c:v>77733.186465212711</c:v>
                </c:pt>
                <c:pt idx="1518">
                  <c:v>77749.85721163862</c:v>
                </c:pt>
                <c:pt idx="1519">
                  <c:v>77766.531533291505</c:v>
                </c:pt>
                <c:pt idx="1520">
                  <c:v>77783.209430938121</c:v>
                </c:pt>
                <c:pt idx="1521">
                  <c:v>77799.890905345397</c:v>
                </c:pt>
                <c:pt idx="1522">
                  <c:v>77816.575957280395</c:v>
                </c:pt>
                <c:pt idx="1523">
                  <c:v>76841.403351172863</c:v>
                </c:pt>
                <c:pt idx="1524">
                  <c:v>76857.882844791093</c:v>
                </c:pt>
                <c:pt idx="1525">
                  <c:v>76874.365872620008</c:v>
                </c:pt>
                <c:pt idx="1526">
                  <c:v>76890.852435417575</c:v>
                </c:pt>
                <c:pt idx="1527">
                  <c:v>76907.342533941905</c:v>
                </c:pt>
                <c:pt idx="1528">
                  <c:v>76923.836168951282</c:v>
                </c:pt>
                <c:pt idx="1529">
                  <c:v>76940.333341204125</c:v>
                </c:pt>
                <c:pt idx="1530">
                  <c:v>76956.834051459038</c:v>
                </c:pt>
                <c:pt idx="1531">
                  <c:v>76973.338300474818</c:v>
                </c:pt>
                <c:pt idx="1532">
                  <c:v>76989.846089010345</c:v>
                </c:pt>
                <c:pt idx="1533">
                  <c:v>77006.357417824751</c:v>
                </c:pt>
                <c:pt idx="1534">
                  <c:v>77022.872287677266</c:v>
                </c:pt>
                <c:pt idx="1535">
                  <c:v>77039.390699327312</c:v>
                </c:pt>
                <c:pt idx="1536">
                  <c:v>77055.912653534469</c:v>
                </c:pt>
                <c:pt idx="1537">
                  <c:v>77072.43815105845</c:v>
                </c:pt>
                <c:pt idx="1538">
                  <c:v>77088.967192659198</c:v>
                </c:pt>
                <c:pt idx="1539">
                  <c:v>77105.499779096761</c:v>
                </c:pt>
                <c:pt idx="1540">
                  <c:v>77122.035911131374</c:v>
                </c:pt>
                <c:pt idx="1541">
                  <c:v>77138.575589523418</c:v>
                </c:pt>
                <c:pt idx="1542">
                  <c:v>77155.118815033449</c:v>
                </c:pt>
                <c:pt idx="1543">
                  <c:v>77171.665588422198</c:v>
                </c:pt>
                <c:pt idx="1544">
                  <c:v>77188.215910450541</c:v>
                </c:pt>
                <c:pt idx="1545">
                  <c:v>77204.769781879528</c:v>
                </c:pt>
                <c:pt idx="1546">
                  <c:v>77221.327203470355</c:v>
                </c:pt>
                <c:pt idx="1547">
                  <c:v>77237.888175984408</c:v>
                </c:pt>
                <c:pt idx="1548">
                  <c:v>77254.452700183232</c:v>
                </c:pt>
                <c:pt idx="1549">
                  <c:v>77271.020776828489</c:v>
                </c:pt>
                <c:pt idx="1550">
                  <c:v>77287.592406682073</c:v>
                </c:pt>
                <c:pt idx="1551">
                  <c:v>77304.167590505996</c:v>
                </c:pt>
                <c:pt idx="1552">
                  <c:v>77320.746329062444</c:v>
                </c:pt>
                <c:pt idx="1553">
                  <c:v>76345.467386776261</c:v>
                </c:pt>
                <c:pt idx="1554">
                  <c:v>76361.840521410864</c:v>
                </c:pt>
                <c:pt idx="1555">
                  <c:v>76378.217167446288</c:v>
                </c:pt>
                <c:pt idx="1556">
                  <c:v>76394.597325635608</c:v>
                </c:pt>
                <c:pt idx="1557">
                  <c:v>76410.980996732033</c:v>
                </c:pt>
                <c:pt idx="1558">
                  <c:v>76427.368181488971</c:v>
                </c:pt>
                <c:pt idx="1559">
                  <c:v>76443.758880659938</c:v>
                </c:pt>
                <c:pt idx="1560">
                  <c:v>76460.153094998634</c:v>
                </c:pt>
                <c:pt idx="1561">
                  <c:v>76476.55082525895</c:v>
                </c:pt>
                <c:pt idx="1562">
                  <c:v>76492.952072194908</c:v>
                </c:pt>
                <c:pt idx="1563">
                  <c:v>76509.356836560692</c:v>
                </c:pt>
                <c:pt idx="1564">
                  <c:v>76525.765119110656</c:v>
                </c:pt>
                <c:pt idx="1565">
                  <c:v>76542.176920599319</c:v>
                </c:pt>
                <c:pt idx="1566">
                  <c:v>76558.592241781356</c:v>
                </c:pt>
                <c:pt idx="1567">
                  <c:v>76575.011083411591</c:v>
                </c:pt>
                <c:pt idx="1568">
                  <c:v>76591.433446245035</c:v>
                </c:pt>
                <c:pt idx="1569">
                  <c:v>76607.85933103686</c:v>
                </c:pt>
                <c:pt idx="1570">
                  <c:v>76624.288738542367</c:v>
                </c:pt>
                <c:pt idx="1571">
                  <c:v>76640.72166951705</c:v>
                </c:pt>
                <c:pt idx="1572">
                  <c:v>76657.158124716545</c:v>
                </c:pt>
                <c:pt idx="1573">
                  <c:v>76673.598104896664</c:v>
                </c:pt>
                <c:pt idx="1574">
                  <c:v>76690.041610813409</c:v>
                </c:pt>
                <c:pt idx="1575">
                  <c:v>76706.488643222896</c:v>
                </c:pt>
                <c:pt idx="1576">
                  <c:v>76722.939202881404</c:v>
                </c:pt>
                <c:pt idx="1577">
                  <c:v>76739.393290545384</c:v>
                </c:pt>
                <c:pt idx="1578">
                  <c:v>76755.850906971478</c:v>
                </c:pt>
                <c:pt idx="1579">
                  <c:v>76772.312052916488</c:v>
                </c:pt>
                <c:pt idx="1580">
                  <c:v>76788.776729137331</c:v>
                </c:pt>
                <c:pt idx="1581">
                  <c:v>76805.244936391115</c:v>
                </c:pt>
                <c:pt idx="1582">
                  <c:v>76821.716675435106</c:v>
                </c:pt>
                <c:pt idx="1583">
                  <c:v>76838.19194702676</c:v>
                </c:pt>
                <c:pt idx="1584">
                  <c:v>75862.809515586123</c:v>
                </c:pt>
                <c:pt idx="1585">
                  <c:v>75879.079138871879</c:v>
                </c:pt>
                <c:pt idx="1586">
                  <c:v>75895.35225135932</c:v>
                </c:pt>
                <c:pt idx="1587">
                  <c:v>75911.628853796719</c:v>
                </c:pt>
                <c:pt idx="1588">
                  <c:v>75927.908946932541</c:v>
                </c:pt>
                <c:pt idx="1589">
                  <c:v>75944.192531515408</c:v>
                </c:pt>
                <c:pt idx="1590">
                  <c:v>75960.479608294103</c:v>
                </c:pt>
                <c:pt idx="1591">
                  <c:v>75258.477933497736</c:v>
                </c:pt>
                <c:pt idx="1592">
                  <c:v>75274.617951154025</c:v>
                </c:pt>
                <c:pt idx="1593">
                  <c:v>75290.761430216618</c:v>
                </c:pt>
                <c:pt idx="1594">
                  <c:v>75306.908371427853</c:v>
                </c:pt>
                <c:pt idx="1595">
                  <c:v>75323.058775530226</c:v>
                </c:pt>
                <c:pt idx="1596">
                  <c:v>75339.212643266379</c:v>
                </c:pt>
                <c:pt idx="1597">
                  <c:v>75355.369975379144</c:v>
                </c:pt>
                <c:pt idx="1598">
                  <c:v>75371.530772611499</c:v>
                </c:pt>
                <c:pt idx="1599">
                  <c:v>75387.69503570658</c:v>
                </c:pt>
                <c:pt idx="1600">
                  <c:v>75403.862765407655</c:v>
                </c:pt>
                <c:pt idx="1601">
                  <c:v>75420.033962458183</c:v>
                </c:pt>
                <c:pt idx="1602">
                  <c:v>75436.20862760178</c:v>
                </c:pt>
                <c:pt idx="1603">
                  <c:v>75452.386761582224</c:v>
                </c:pt>
                <c:pt idx="1604">
                  <c:v>75468.568365143452</c:v>
                </c:pt>
                <c:pt idx="1605">
                  <c:v>75484.753439029533</c:v>
                </c:pt>
                <c:pt idx="1606">
                  <c:v>75500.94198398474</c:v>
                </c:pt>
                <c:pt idx="1607">
                  <c:v>75517.13400075346</c:v>
                </c:pt>
                <c:pt idx="1608">
                  <c:v>75533.329490080287</c:v>
                </c:pt>
                <c:pt idx="1609">
                  <c:v>75549.528452709928</c:v>
                </c:pt>
                <c:pt idx="1610">
                  <c:v>75565.730889387283</c:v>
                </c:pt>
                <c:pt idx="1611">
                  <c:v>75581.936800857395</c:v>
                </c:pt>
                <c:pt idx="1612">
                  <c:v>75598.146187865481</c:v>
                </c:pt>
                <c:pt idx="1613">
                  <c:v>75614.359051156891</c:v>
                </c:pt>
                <c:pt idx="1614">
                  <c:v>75630.575391477149</c:v>
                </c:pt>
                <c:pt idx="1615">
                  <c:v>74654.933973234438</c:v>
                </c:pt>
                <c:pt idx="1616">
                  <c:v>74670.944554175527</c:v>
                </c:pt>
                <c:pt idx="1617">
                  <c:v>74686.958568763774</c:v>
                </c:pt>
                <c:pt idx="1618">
                  <c:v>74702.976017735549</c:v>
                </c:pt>
                <c:pt idx="1619">
                  <c:v>74718.996901827428</c:v>
                </c:pt>
                <c:pt idx="1620">
                  <c:v>74735.0212217761</c:v>
                </c:pt>
                <c:pt idx="1621">
                  <c:v>72611.204145386917</c:v>
                </c:pt>
                <c:pt idx="1622">
                  <c:v>72626.776425734992</c:v>
                </c:pt>
                <c:pt idx="1623">
                  <c:v>72642.352045731808</c:v>
                </c:pt>
                <c:pt idx="1624">
                  <c:v>72657.931006093568</c:v>
                </c:pt>
                <c:pt idx="1625">
                  <c:v>72673.513307536647</c:v>
                </c:pt>
                <c:pt idx="1626">
                  <c:v>72689.098950777596</c:v>
                </c:pt>
                <c:pt idx="1627">
                  <c:v>72704.687936533097</c:v>
                </c:pt>
                <c:pt idx="1628">
                  <c:v>72720.280265519978</c:v>
                </c:pt>
                <c:pt idx="1629">
                  <c:v>72735.87593845524</c:v>
                </c:pt>
                <c:pt idx="1630">
                  <c:v>72751.474956056001</c:v>
                </c:pt>
                <c:pt idx="1631">
                  <c:v>72767.077319039614</c:v>
                </c:pt>
                <c:pt idx="1632">
                  <c:v>72782.683028123487</c:v>
                </c:pt>
                <c:pt idx="1633">
                  <c:v>72798.292084025263</c:v>
                </c:pt>
                <c:pt idx="1634">
                  <c:v>72813.904487462671</c:v>
                </c:pt>
                <c:pt idx="1635">
                  <c:v>72829.520239153659</c:v>
                </c:pt>
                <c:pt idx="1636">
                  <c:v>72845.139339816276</c:v>
                </c:pt>
                <c:pt idx="1637">
                  <c:v>72860.761790168763</c:v>
                </c:pt>
                <c:pt idx="1638">
                  <c:v>72876.387590929487</c:v>
                </c:pt>
                <c:pt idx="1639">
                  <c:v>72892.016742816981</c:v>
                </c:pt>
                <c:pt idx="1640">
                  <c:v>72907.649246549932</c:v>
                </c:pt>
                <c:pt idx="1641">
                  <c:v>72923.285102847178</c:v>
                </c:pt>
                <c:pt idx="1642">
                  <c:v>72938.924312427727</c:v>
                </c:pt>
                <c:pt idx="1643">
                  <c:v>72954.566876010707</c:v>
                </c:pt>
                <c:pt idx="1644">
                  <c:v>71978.35155797792</c:v>
                </c:pt>
                <c:pt idx="1645">
                  <c:v>71993.78811604972</c:v>
                </c:pt>
                <c:pt idx="1646">
                  <c:v>72009.227984663099</c:v>
                </c:pt>
                <c:pt idx="1647">
                  <c:v>72024.67116452803</c:v>
                </c:pt>
                <c:pt idx="1648">
                  <c:v>72040.117656354647</c:v>
                </c:pt>
                <c:pt idx="1649">
                  <c:v>72055.567460853243</c:v>
                </c:pt>
                <c:pt idx="1650">
                  <c:v>72071.020578734271</c:v>
                </c:pt>
                <c:pt idx="1651">
                  <c:v>72086.477010708302</c:v>
                </c:pt>
                <c:pt idx="1652">
                  <c:v>72101.936757486081</c:v>
                </c:pt>
                <c:pt idx="1653">
                  <c:v>72117.399819778511</c:v>
                </c:pt>
                <c:pt idx="1654">
                  <c:v>72132.86619829663</c:v>
                </c:pt>
                <c:pt idx="1655">
                  <c:v>72148.335893751646</c:v>
                </c:pt>
                <c:pt idx="1656">
                  <c:v>72163.808906854916</c:v>
                </c:pt>
                <c:pt idx="1657">
                  <c:v>72179.285238317942</c:v>
                </c:pt>
                <c:pt idx="1658">
                  <c:v>72194.764888852384</c:v>
                </c:pt>
                <c:pt idx="1659">
                  <c:v>72210.247859170064</c:v>
                </c:pt>
                <c:pt idx="1660">
                  <c:v>72225.73414998292</c:v>
                </c:pt>
                <c:pt idx="1661">
                  <c:v>72241.223762003108</c:v>
                </c:pt>
                <c:pt idx="1662">
                  <c:v>72256.716695942872</c:v>
                </c:pt>
                <c:pt idx="1663">
                  <c:v>72272.21295251463</c:v>
                </c:pt>
                <c:pt idx="1664">
                  <c:v>72287.712532430975</c:v>
                </c:pt>
                <c:pt idx="1665">
                  <c:v>72303.215436404615</c:v>
                </c:pt>
                <c:pt idx="1666">
                  <c:v>72318.721665148463</c:v>
                </c:pt>
                <c:pt idx="1667">
                  <c:v>72334.231219375521</c:v>
                </c:pt>
                <c:pt idx="1668">
                  <c:v>72349.744099798991</c:v>
                </c:pt>
                <c:pt idx="1669">
                  <c:v>72365.260307132208</c:v>
                </c:pt>
                <c:pt idx="1670">
                  <c:v>72380.779842088668</c:v>
                </c:pt>
                <c:pt idx="1671">
                  <c:v>72396.302705382026</c:v>
                </c:pt>
                <c:pt idx="1672">
                  <c:v>72411.828897726053</c:v>
                </c:pt>
                <c:pt idx="1673">
                  <c:v>72427.358419834738</c:v>
                </c:pt>
                <c:pt idx="1674">
                  <c:v>72442.891272422145</c:v>
                </c:pt>
                <c:pt idx="1675">
                  <c:v>71466.566219865039</c:v>
                </c:pt>
                <c:pt idx="1676">
                  <c:v>71481.893019878757</c:v>
                </c:pt>
                <c:pt idx="1677">
                  <c:v>71497.223106895195</c:v>
                </c:pt>
                <c:pt idx="1678">
                  <c:v>71512.556481619307</c:v>
                </c:pt>
                <c:pt idx="1679">
                  <c:v>71527.893144756163</c:v>
                </c:pt>
                <c:pt idx="1680">
                  <c:v>71543.23309701102</c:v>
                </c:pt>
                <c:pt idx="1681">
                  <c:v>71558.576339089268</c:v>
                </c:pt>
                <c:pt idx="1682">
                  <c:v>71573.922871696428</c:v>
                </c:pt>
                <c:pt idx="1683">
                  <c:v>71589.272695538195</c:v>
                </c:pt>
                <c:pt idx="1684">
                  <c:v>71604.625811320424</c:v>
                </c:pt>
                <c:pt idx="1685">
                  <c:v>71619.982219749087</c:v>
                </c:pt>
                <c:pt idx="1686">
                  <c:v>71635.341921530329</c:v>
                </c:pt>
                <c:pt idx="1687">
                  <c:v>71650.704917370473</c:v>
                </c:pt>
                <c:pt idx="1688">
                  <c:v>71666.071207975954</c:v>
                </c:pt>
                <c:pt idx="1689">
                  <c:v>71681.440794053371</c:v>
                </c:pt>
                <c:pt idx="1690">
                  <c:v>71696.813676309452</c:v>
                </c:pt>
                <c:pt idx="1691">
                  <c:v>71712.189855451114</c:v>
                </c:pt>
                <c:pt idx="1692">
                  <c:v>71727.56933218542</c:v>
                </c:pt>
                <c:pt idx="1693">
                  <c:v>71742.952107219564</c:v>
                </c:pt>
                <c:pt idx="1694">
                  <c:v>71758.338181260915</c:v>
                </c:pt>
                <c:pt idx="1695">
                  <c:v>71773.727555017002</c:v>
                </c:pt>
                <c:pt idx="1696">
                  <c:v>71789.12022919544</c:v>
                </c:pt>
                <c:pt idx="1697">
                  <c:v>71804.516204504063</c:v>
                </c:pt>
                <c:pt idx="1698">
                  <c:v>71819.915481650823</c:v>
                </c:pt>
                <c:pt idx="1699">
                  <c:v>71835.31806134386</c:v>
                </c:pt>
                <c:pt idx="1700">
                  <c:v>71850.723944291429</c:v>
                </c:pt>
                <c:pt idx="1701">
                  <c:v>71866.133131201947</c:v>
                </c:pt>
                <c:pt idx="1702">
                  <c:v>71881.545622783975</c:v>
                </c:pt>
                <c:pt idx="1703">
                  <c:v>71896.961419746265</c:v>
                </c:pt>
                <c:pt idx="1704">
                  <c:v>71912.380522797655</c:v>
                </c:pt>
                <c:pt idx="1705">
                  <c:v>70935.941696309688</c:v>
                </c:pt>
                <c:pt idx="1706">
                  <c:v>70951.154697992446</c:v>
                </c:pt>
                <c:pt idx="1707">
                  <c:v>70966.370962272631</c:v>
                </c:pt>
                <c:pt idx="1708">
                  <c:v>70981.590489849928</c:v>
                </c:pt>
                <c:pt idx="1709">
                  <c:v>70996.813281424184</c:v>
                </c:pt>
                <c:pt idx="1710">
                  <c:v>71012.039337695416</c:v>
                </c:pt>
                <c:pt idx="1711">
                  <c:v>71027.268659363763</c:v>
                </c:pt>
                <c:pt idx="1712">
                  <c:v>71042.501247129519</c:v>
                </c:pt>
                <c:pt idx="1713">
                  <c:v>71057.737101693157</c:v>
                </c:pt>
                <c:pt idx="1714">
                  <c:v>71072.976223755264</c:v>
                </c:pt>
                <c:pt idx="1715">
                  <c:v>71088.218614016601</c:v>
                </c:pt>
                <c:pt idx="1716">
                  <c:v>71103.464273178062</c:v>
                </c:pt>
                <c:pt idx="1717">
                  <c:v>71118.7132019407</c:v>
                </c:pt>
                <c:pt idx="1718">
                  <c:v>71133.965401005713</c:v>
                </c:pt>
                <c:pt idx="1719">
                  <c:v>71149.22087107446</c:v>
                </c:pt>
                <c:pt idx="1720">
                  <c:v>71164.47961284843</c:v>
                </c:pt>
                <c:pt idx="1721">
                  <c:v>71179.741627029303</c:v>
                </c:pt>
                <c:pt idx="1722">
                  <c:v>71195.006914318859</c:v>
                </c:pt>
                <c:pt idx="1723">
                  <c:v>71210.275475419068</c:v>
                </c:pt>
                <c:pt idx="1724">
                  <c:v>71225.547311032031</c:v>
                </c:pt>
                <c:pt idx="1725">
                  <c:v>71240.822421860008</c:v>
                </c:pt>
                <c:pt idx="1726">
                  <c:v>71256.100808605406</c:v>
                </c:pt>
                <c:pt idx="1727">
                  <c:v>71271.382471970763</c:v>
                </c:pt>
                <c:pt idx="1728">
                  <c:v>71286.667412658804</c:v>
                </c:pt>
                <c:pt idx="1729">
                  <c:v>71301.955631372373</c:v>
                </c:pt>
                <c:pt idx="1730">
                  <c:v>71317.247128814503</c:v>
                </c:pt>
                <c:pt idx="1731">
                  <c:v>71332.54190568834</c:v>
                </c:pt>
                <c:pt idx="1732">
                  <c:v>71347.83996269718</c:v>
                </c:pt>
                <c:pt idx="1733">
                  <c:v>71363.141300544507</c:v>
                </c:pt>
                <c:pt idx="1734">
                  <c:v>71378.445919933918</c:v>
                </c:pt>
                <c:pt idx="1735">
                  <c:v>71393.753821569189</c:v>
                </c:pt>
                <c:pt idx="1736">
                  <c:v>70417.203769816711</c:v>
                </c:pt>
                <c:pt idx="1737">
                  <c:v>70432.305522381459</c:v>
                </c:pt>
                <c:pt idx="1738">
                  <c:v>70447.410513685012</c:v>
                </c:pt>
                <c:pt idx="1739">
                  <c:v>70462.518744421963</c:v>
                </c:pt>
                <c:pt idx="1740">
                  <c:v>70477.630215287019</c:v>
                </c:pt>
                <c:pt idx="1741">
                  <c:v>70492.744926975094</c:v>
                </c:pt>
                <c:pt idx="1742">
                  <c:v>70507.862880181216</c:v>
                </c:pt>
                <c:pt idx="1743">
                  <c:v>70522.984075600543</c:v>
                </c:pt>
                <c:pt idx="1744">
                  <c:v>70538.108513928411</c:v>
                </c:pt>
                <c:pt idx="1745">
                  <c:v>70553.2361958603</c:v>
                </c:pt>
                <c:pt idx="1746">
                  <c:v>70568.367122091833</c:v>
                </c:pt>
                <c:pt idx="1747">
                  <c:v>70583.501293318783</c:v>
                </c:pt>
                <c:pt idx="1748">
                  <c:v>70598.638710237108</c:v>
                </c:pt>
                <c:pt idx="1749">
                  <c:v>70613.779373542842</c:v>
                </c:pt>
                <c:pt idx="1750">
                  <c:v>70628.923283932221</c:v>
                </c:pt>
                <c:pt idx="1751">
                  <c:v>70644.070442101613</c:v>
                </c:pt>
                <c:pt idx="1752">
                  <c:v>70659.220848747558</c:v>
                </c:pt>
                <c:pt idx="1753">
                  <c:v>70674.374504566716</c:v>
                </c:pt>
                <c:pt idx="1754">
                  <c:v>70689.531410255906</c:v>
                </c:pt>
                <c:pt idx="1755">
                  <c:v>70704.691566512105</c:v>
                </c:pt>
                <c:pt idx="1756">
                  <c:v>70719.854974032438</c:v>
                </c:pt>
                <c:pt idx="1757">
                  <c:v>70735.021633514159</c:v>
                </c:pt>
                <c:pt idx="1758">
                  <c:v>70750.191545654714</c:v>
                </c:pt>
                <c:pt idx="1759">
                  <c:v>70765.364711151662</c:v>
                </c:pt>
                <c:pt idx="1760">
                  <c:v>70780.541130702695</c:v>
                </c:pt>
                <c:pt idx="1761">
                  <c:v>70795.720805005709</c:v>
                </c:pt>
                <c:pt idx="1762">
                  <c:v>70810.903734758729</c:v>
                </c:pt>
                <c:pt idx="1763">
                  <c:v>70826.089920659884</c:v>
                </c:pt>
                <c:pt idx="1764">
                  <c:v>70841.279363407521</c:v>
                </c:pt>
                <c:pt idx="1765">
                  <c:v>70856.472063700101</c:v>
                </c:pt>
                <c:pt idx="1766">
                  <c:v>69879.806785898734</c:v>
                </c:pt>
                <c:pt idx="1767">
                  <c:v>69894.793287703083</c:v>
                </c:pt>
                <c:pt idx="1768">
                  <c:v>69909.783003529432</c:v>
                </c:pt>
                <c:pt idx="1769">
                  <c:v>69924.77593406706</c:v>
                </c:pt>
                <c:pt idx="1770">
                  <c:v>69939.772080005394</c:v>
                </c:pt>
                <c:pt idx="1771">
                  <c:v>71412.194453338627</c:v>
                </c:pt>
                <c:pt idx="1772">
                  <c:v>71427.509592722257</c:v>
                </c:pt>
                <c:pt idx="1773">
                  <c:v>71442.828016607877</c:v>
                </c:pt>
                <c:pt idx="1774">
                  <c:v>71458.14972569987</c:v>
                </c:pt>
                <c:pt idx="1775">
                  <c:v>71473.474720702798</c:v>
                </c:pt>
                <c:pt idx="1776">
                  <c:v>71488.803002321351</c:v>
                </c:pt>
                <c:pt idx="1777">
                  <c:v>71504.13457126038</c:v>
                </c:pt>
                <c:pt idx="1778">
                  <c:v>71519.469428224911</c:v>
                </c:pt>
                <c:pt idx="1779">
                  <c:v>71534.807573920072</c:v>
                </c:pt>
                <c:pt idx="1780">
                  <c:v>71550.14900905118</c:v>
                </c:pt>
                <c:pt idx="1781">
                  <c:v>71565.493734323696</c:v>
                </c:pt>
                <c:pt idx="1782">
                  <c:v>71580.8417504432</c:v>
                </c:pt>
                <c:pt idx="1783">
                  <c:v>71596.193058115474</c:v>
                </c:pt>
                <c:pt idx="1784">
                  <c:v>71611.547658046416</c:v>
                </c:pt>
                <c:pt idx="1785">
                  <c:v>71626.905550942101</c:v>
                </c:pt>
                <c:pt idx="1786">
                  <c:v>71642.266737508733</c:v>
                </c:pt>
                <c:pt idx="1787">
                  <c:v>71657.631218452691</c:v>
                </c:pt>
                <c:pt idx="1788">
                  <c:v>71672.998994480484</c:v>
                </c:pt>
                <c:pt idx="1789">
                  <c:v>71688.370066298769</c:v>
                </c:pt>
                <c:pt idx="1790">
                  <c:v>71703.74443461436</c:v>
                </c:pt>
                <c:pt idx="1791">
                  <c:v>71719.122100134249</c:v>
                </c:pt>
                <c:pt idx="1792">
                  <c:v>71734.503063565542</c:v>
                </c:pt>
                <c:pt idx="1793">
                  <c:v>71749.88732561552</c:v>
                </c:pt>
                <c:pt idx="1794">
                  <c:v>71765.27488699161</c:v>
                </c:pt>
                <c:pt idx="1795">
                  <c:v>71780.665748401385</c:v>
                </c:pt>
                <c:pt idx="1796">
                  <c:v>71796.059910552576</c:v>
                </c:pt>
                <c:pt idx="1797">
                  <c:v>70819.596137815533</c:v>
                </c:pt>
                <c:pt idx="1798">
                  <c:v>70834.784187899219</c:v>
                </c:pt>
                <c:pt idx="1799">
                  <c:v>70849.97549522917</c:v>
                </c:pt>
                <c:pt idx="1800">
                  <c:v>70865.170060503937</c:v>
                </c:pt>
                <c:pt idx="1801">
                  <c:v>71743.685249072587</c:v>
                </c:pt>
                <c:pt idx="1802">
                  <c:v>71759.07148034437</c:v>
                </c:pt>
                <c:pt idx="1803">
                  <c:v>71774.461011364576</c:v>
                </c:pt>
                <c:pt idx="1804">
                  <c:v>71789.853842840879</c:v>
                </c:pt>
                <c:pt idx="1805">
                  <c:v>71805.2499754811</c:v>
                </c:pt>
                <c:pt idx="1806">
                  <c:v>71820.649409993217</c:v>
                </c:pt>
                <c:pt idx="1807">
                  <c:v>71836.052147085342</c:v>
                </c:pt>
                <c:pt idx="1808">
                  <c:v>71851.45818746576</c:v>
                </c:pt>
                <c:pt idx="1809">
                  <c:v>71866.867531842887</c:v>
                </c:pt>
                <c:pt idx="1810">
                  <c:v>71882.2801809253</c:v>
                </c:pt>
                <c:pt idx="1811">
                  <c:v>71897.696135421735</c:v>
                </c:pt>
                <c:pt idx="1812">
                  <c:v>71913.115396041074</c:v>
                </c:pt>
                <c:pt idx="1813">
                  <c:v>71928.537963492374</c:v>
                </c:pt>
                <c:pt idx="1814">
                  <c:v>71943.963838484779</c:v>
                </c:pt>
                <c:pt idx="1815">
                  <c:v>71959.393021727665</c:v>
                </c:pt>
                <c:pt idx="1816">
                  <c:v>71974.825513930497</c:v>
                </c:pt>
                <c:pt idx="1817">
                  <c:v>71990.261315802942</c:v>
                </c:pt>
                <c:pt idx="1818">
                  <c:v>72005.700428054784</c:v>
                </c:pt>
                <c:pt idx="1819">
                  <c:v>72021.142851395969</c:v>
                </c:pt>
                <c:pt idx="1820">
                  <c:v>72036.5885865366</c:v>
                </c:pt>
                <c:pt idx="1821">
                  <c:v>72052.037634186927</c:v>
                </c:pt>
                <c:pt idx="1822">
                  <c:v>72067.489995057345</c:v>
                </c:pt>
                <c:pt idx="1823">
                  <c:v>72082.945669858425</c:v>
                </c:pt>
                <c:pt idx="1824">
                  <c:v>72098.404659300882</c:v>
                </c:pt>
                <c:pt idx="1825">
                  <c:v>72113.866964095563</c:v>
                </c:pt>
                <c:pt idx="1826">
                  <c:v>72129.332584953489</c:v>
                </c:pt>
                <c:pt idx="1827">
                  <c:v>72144.801522585811</c:v>
                </c:pt>
                <c:pt idx="1828">
                  <c:v>71168.412541366371</c:v>
                </c:pt>
                <c:pt idx="1829">
                  <c:v>71183.675399007509</c:v>
                </c:pt>
                <c:pt idx="1830">
                  <c:v>71198.941529938224</c:v>
                </c:pt>
                <c:pt idx="1831">
                  <c:v>71214.21093486053</c:v>
                </c:pt>
                <c:pt idx="1832">
                  <c:v>71229.483614476543</c:v>
                </c:pt>
                <c:pt idx="1833">
                  <c:v>71244.759569488568</c:v>
                </c:pt>
                <c:pt idx="1834">
                  <c:v>71260.038800599054</c:v>
                </c:pt>
                <c:pt idx="1835">
                  <c:v>71275.321308510596</c:v>
                </c:pt>
                <c:pt idx="1836">
                  <c:v>71290.607093925952</c:v>
                </c:pt>
                <c:pt idx="1837">
                  <c:v>71305.896157547992</c:v>
                </c:pt>
                <c:pt idx="1838">
                  <c:v>71321.188500079777</c:v>
                </c:pt>
                <c:pt idx="1839">
                  <c:v>71336.484122224516</c:v>
                </c:pt>
                <c:pt idx="1840">
                  <c:v>71351.783024685545</c:v>
                </c:pt>
                <c:pt idx="1841">
                  <c:v>71367.085208166376</c:v>
                </c:pt>
                <c:pt idx="1842">
                  <c:v>71382.390673370654</c:v>
                </c:pt>
                <c:pt idx="1843">
                  <c:v>71397.699421002166</c:v>
                </c:pt>
                <c:pt idx="1844">
                  <c:v>71413.011451764876</c:v>
                </c:pt>
                <c:pt idx="1845">
                  <c:v>71428.326766362909</c:v>
                </c:pt>
                <c:pt idx="1846">
                  <c:v>71443.645365500503</c:v>
                </c:pt>
                <c:pt idx="1847">
                  <c:v>71458.967249882058</c:v>
                </c:pt>
                <c:pt idx="1848">
                  <c:v>71474.292420212136</c:v>
                </c:pt>
                <c:pt idx="1849">
                  <c:v>71489.620877195455</c:v>
                </c:pt>
                <c:pt idx="1850">
                  <c:v>71504.952621536853</c:v>
                </c:pt>
                <c:pt idx="1851">
                  <c:v>71520.287653941356</c:v>
                </c:pt>
                <c:pt idx="1852">
                  <c:v>71535.625975114119</c:v>
                </c:pt>
                <c:pt idx="1853">
                  <c:v>71550.96758576046</c:v>
                </c:pt>
                <c:pt idx="1854">
                  <c:v>71566.312486585841</c:v>
                </c:pt>
                <c:pt idx="1855">
                  <c:v>71581.66067829587</c:v>
                </c:pt>
                <c:pt idx="1856">
                  <c:v>71597.012161596329</c:v>
                </c:pt>
                <c:pt idx="1857">
                  <c:v>71612.366937193132</c:v>
                </c:pt>
                <c:pt idx="1858">
                  <c:v>70635.863769454838</c:v>
                </c:pt>
                <c:pt idx="1859">
                  <c:v>70651.012416088561</c:v>
                </c:pt>
                <c:pt idx="1860">
                  <c:v>70666.164311518034</c:v>
                </c:pt>
                <c:pt idx="1861">
                  <c:v>70678.724135883327</c:v>
                </c:pt>
                <c:pt idx="1862">
                  <c:v>70693.881974399352</c:v>
                </c:pt>
                <c:pt idx="1863">
                  <c:v>70709.043063682417</c:v>
                </c:pt>
                <c:pt idx="1864">
                  <c:v>70724.207404429704</c:v>
                </c:pt>
                <c:pt idx="1865">
                  <c:v>70739.374997338527</c:v>
                </c:pt>
                <c:pt idx="1866">
                  <c:v>70754.545843106389</c:v>
                </c:pt>
                <c:pt idx="1867">
                  <c:v>70769.719942430835</c:v>
                </c:pt>
                <c:pt idx="1868">
                  <c:v>70784.897296009673</c:v>
                </c:pt>
                <c:pt idx="1869">
                  <c:v>70800.077904540783</c:v>
                </c:pt>
                <c:pt idx="1870">
                  <c:v>70815.261768722237</c:v>
                </c:pt>
                <c:pt idx="1871">
                  <c:v>70830.44888925225</c:v>
                </c:pt>
                <c:pt idx="1872">
                  <c:v>70845.639266829181</c:v>
                </c:pt>
                <c:pt idx="1873">
                  <c:v>70860.832902151538</c:v>
                </c:pt>
                <c:pt idx="1874">
                  <c:v>70876.029795917988</c:v>
                </c:pt>
                <c:pt idx="1875">
                  <c:v>70891.229948827327</c:v>
                </c:pt>
                <c:pt idx="1876">
                  <c:v>70906.433361578529</c:v>
                </c:pt>
                <c:pt idx="1877">
                  <c:v>70921.640034870696</c:v>
                </c:pt>
                <c:pt idx="1878">
                  <c:v>70936.849969403076</c:v>
                </c:pt>
                <c:pt idx="1879">
                  <c:v>70952.063165875108</c:v>
                </c:pt>
                <c:pt idx="1880">
                  <c:v>70967.279624986317</c:v>
                </c:pt>
                <c:pt idx="1881">
                  <c:v>70982.499347436446</c:v>
                </c:pt>
                <c:pt idx="1882">
                  <c:v>70997.722333925325</c:v>
                </c:pt>
                <c:pt idx="1883">
                  <c:v>71012.948585152975</c:v>
                </c:pt>
                <c:pt idx="1884">
                  <c:v>71028.178101819547</c:v>
                </c:pt>
                <c:pt idx="1885">
                  <c:v>71043.410884625366</c:v>
                </c:pt>
                <c:pt idx="1886">
                  <c:v>71058.646934270873</c:v>
                </c:pt>
                <c:pt idx="1887">
                  <c:v>71073.886251456686</c:v>
                </c:pt>
                <c:pt idx="1888">
                  <c:v>71089.128836883581</c:v>
                </c:pt>
                <c:pt idx="1889">
                  <c:v>70112.513454914937</c:v>
                </c:pt>
                <c:pt idx="1890">
                  <c:v>70127.549863252731</c:v>
                </c:pt>
                <c:pt idx="1891">
                  <c:v>70142.589496315544</c:v>
                </c:pt>
                <c:pt idx="1892">
                  <c:v>70157.632354794929</c:v>
                </c:pt>
                <c:pt idx="1893">
                  <c:v>70172.678439382638</c:v>
                </c:pt>
                <c:pt idx="1894">
                  <c:v>70187.727750770544</c:v>
                </c:pt>
                <c:pt idx="1895">
                  <c:v>70202.780289650662</c:v>
                </c:pt>
                <c:pt idx="1896">
                  <c:v>70217.836056715154</c:v>
                </c:pt>
                <c:pt idx="1897">
                  <c:v>70232.895052656357</c:v>
                </c:pt>
                <c:pt idx="1898">
                  <c:v>70247.957278166723</c:v>
                </c:pt>
                <c:pt idx="1899">
                  <c:v>70263.022733938895</c:v>
                </c:pt>
                <c:pt idx="1900">
                  <c:v>70278.091420665616</c:v>
                </c:pt>
                <c:pt idx="1901">
                  <c:v>70293.16333903982</c:v>
                </c:pt>
                <c:pt idx="1902">
                  <c:v>70308.238489754542</c:v>
                </c:pt>
                <c:pt idx="1903">
                  <c:v>70323.316873503005</c:v>
                </c:pt>
                <c:pt idx="1904">
                  <c:v>70338.398490978594</c:v>
                </c:pt>
                <c:pt idx="1905">
                  <c:v>70353.483342874781</c:v>
                </c:pt>
                <c:pt idx="1906">
                  <c:v>70368.57142988524</c:v>
                </c:pt>
                <c:pt idx="1907">
                  <c:v>70383.662752703778</c:v>
                </c:pt>
                <c:pt idx="1908">
                  <c:v>70398.757312024347</c:v>
                </c:pt>
                <c:pt idx="1909">
                  <c:v>70413.855108541058</c:v>
                </c:pt>
                <c:pt idx="1910">
                  <c:v>70428.956142948155</c:v>
                </c:pt>
                <c:pt idx="1911">
                  <c:v>70444.060415940039</c:v>
                </c:pt>
                <c:pt idx="1912">
                  <c:v>70459.167928211275</c:v>
                </c:pt>
                <c:pt idx="1913">
                  <c:v>70474.27868045654</c:v>
                </c:pt>
                <c:pt idx="1914">
                  <c:v>70489.392673370705</c:v>
                </c:pt>
                <c:pt idx="1915">
                  <c:v>70504.509907648739</c:v>
                </c:pt>
                <c:pt idx="1916">
                  <c:v>70519.630383985816</c:v>
                </c:pt>
                <c:pt idx="1917">
                  <c:v>70534.754103077212</c:v>
                </c:pt>
                <c:pt idx="1918">
                  <c:v>70549.881065618378</c:v>
                </c:pt>
                <c:pt idx="1919">
                  <c:v>69573.150035967396</c:v>
                </c:pt>
                <c:pt idx="1920">
                  <c:v>69588.070771820931</c:v>
                </c:pt>
                <c:pt idx="1921">
                  <c:v>69602.994707592225</c:v>
                </c:pt>
                <c:pt idx="1922">
                  <c:v>69617.921843967531</c:v>
                </c:pt>
                <c:pt idx="1923">
                  <c:v>69632.85218163325</c:v>
                </c:pt>
                <c:pt idx="1924">
                  <c:v>69647.785721275955</c:v>
                </c:pt>
                <c:pt idx="1925">
                  <c:v>69662.722463582337</c:v>
                </c:pt>
                <c:pt idx="1926">
                  <c:v>69677.66240923923</c:v>
                </c:pt>
                <c:pt idx="1927">
                  <c:v>69692.605558933647</c:v>
                </c:pt>
                <c:pt idx="1928">
                  <c:v>69707.551913352712</c:v>
                </c:pt>
                <c:pt idx="1929">
                  <c:v>69722.501473183729</c:v>
                </c:pt>
                <c:pt idx="1930">
                  <c:v>69737.454239114129</c:v>
                </c:pt>
                <c:pt idx="1931">
                  <c:v>69752.410211831491</c:v>
                </c:pt>
                <c:pt idx="1932">
                  <c:v>69767.369392023567</c:v>
                </c:pt>
                <c:pt idx="1933">
                  <c:v>69782.331780378197</c:v>
                </c:pt>
                <c:pt idx="1934">
                  <c:v>69797.29737758344</c:v>
                </c:pt>
                <c:pt idx="1935">
                  <c:v>69812.266184327455</c:v>
                </c:pt>
                <c:pt idx="1936">
                  <c:v>69827.238201298576</c:v>
                </c:pt>
                <c:pt idx="1937">
                  <c:v>69842.213429185256</c:v>
                </c:pt>
                <c:pt idx="1938">
                  <c:v>69857.19186867612</c:v>
                </c:pt>
                <c:pt idx="1939">
                  <c:v>69872.173520459924</c:v>
                </c:pt>
                <c:pt idx="1940">
                  <c:v>69887.158385225601</c:v>
                </c:pt>
                <c:pt idx="1941">
                  <c:v>69902.146463662197</c:v>
                </c:pt>
                <c:pt idx="1942">
                  <c:v>69917.137756458906</c:v>
                </c:pt>
                <c:pt idx="1943">
                  <c:v>69932.132264305081</c:v>
                </c:pt>
                <c:pt idx="1944">
                  <c:v>69947.12998789025</c:v>
                </c:pt>
                <c:pt idx="1945">
                  <c:v>69962.130927904058</c:v>
                </c:pt>
                <c:pt idx="1946">
                  <c:v>69977.135085036294</c:v>
                </c:pt>
                <c:pt idx="1947">
                  <c:v>69992.142459976923</c:v>
                </c:pt>
                <c:pt idx="1948">
                  <c:v>70007.153053416027</c:v>
                </c:pt>
                <c:pt idx="1949">
                  <c:v>70022.166866043859</c:v>
                </c:pt>
                <c:pt idx="1950">
                  <c:v>69045.322662213279</c:v>
                </c:pt>
                <c:pt idx="1951">
                  <c:v>69060.130199615727</c:v>
                </c:pt>
                <c:pt idx="1952">
                  <c:v>69074.94091265928</c:v>
                </c:pt>
                <c:pt idx="1953">
                  <c:v>69089.754802024967</c:v>
                </c:pt>
                <c:pt idx="1954">
                  <c:v>69104.571868394007</c:v>
                </c:pt>
                <c:pt idx="1955">
                  <c:v>69119.39211244772</c:v>
                </c:pt>
                <c:pt idx="1956">
                  <c:v>69134.215534867617</c:v>
                </c:pt>
                <c:pt idx="1957">
                  <c:v>69149.042136335323</c:v>
                </c:pt>
                <c:pt idx="1958">
                  <c:v>69163.871917532626</c:v>
                </c:pt>
                <c:pt idx="1959">
                  <c:v>69178.704879141471</c:v>
                </c:pt>
                <c:pt idx="1960">
                  <c:v>69193.541021843892</c:v>
                </c:pt>
                <c:pt idx="1961">
                  <c:v>69208.380346322141</c:v>
                </c:pt>
                <c:pt idx="1962">
                  <c:v>69223.222853258572</c:v>
                </c:pt>
                <c:pt idx="1963">
                  <c:v>69238.068543335699</c:v>
                </c:pt>
                <c:pt idx="1964">
                  <c:v>69252.917417236182</c:v>
                </c:pt>
                <c:pt idx="1965">
                  <c:v>69267.769475642839</c:v>
                </c:pt>
                <c:pt idx="1966">
                  <c:v>69282.624719238593</c:v>
                </c:pt>
                <c:pt idx="1967">
                  <c:v>69297.483148706568</c:v>
                </c:pt>
                <c:pt idx="1968">
                  <c:v>69312.344764730005</c:v>
                </c:pt>
                <c:pt idx="1969">
                  <c:v>69327.209567992293</c:v>
                </c:pt>
                <c:pt idx="1970">
                  <c:v>69342.077559176993</c:v>
                </c:pt>
                <c:pt idx="1971">
                  <c:v>69356.948738967767</c:v>
                </c:pt>
                <c:pt idx="1972">
                  <c:v>69371.82310804844</c:v>
                </c:pt>
                <c:pt idx="1973">
                  <c:v>69386.70066710301</c:v>
                </c:pt>
                <c:pt idx="1974">
                  <c:v>69401.581416815592</c:v>
                </c:pt>
                <c:pt idx="1975">
                  <c:v>69416.46535787046</c:v>
                </c:pt>
                <c:pt idx="1976">
                  <c:v>69431.352490952049</c:v>
                </c:pt>
                <c:pt idx="1977">
                  <c:v>69446.242816744896</c:v>
                </c:pt>
                <c:pt idx="1978">
                  <c:v>69461.136335933741</c:v>
                </c:pt>
                <c:pt idx="1979">
                  <c:v>69476.033049203412</c:v>
                </c:pt>
                <c:pt idx="1980">
                  <c:v>69490.93295723894</c:v>
                </c:pt>
                <c:pt idx="1981">
                  <c:v>68513.974824387959</c:v>
                </c:pt>
                <c:pt idx="1982">
                  <c:v>68528.668408336671</c:v>
                </c:pt>
                <c:pt idx="1983">
                  <c:v>68543.365143487885</c:v>
                </c:pt>
                <c:pt idx="1984">
                  <c:v>68558.06503051742</c:v>
                </c:pt>
                <c:pt idx="1985">
                  <c:v>68572.768070101229</c:v>
                </c:pt>
                <c:pt idx="1986">
                  <c:v>68587.474262915406</c:v>
                </c:pt>
                <c:pt idx="1987">
                  <c:v>68602.183609636224</c:v>
                </c:pt>
                <c:pt idx="1988">
                  <c:v>68616.896110940026</c:v>
                </c:pt>
                <c:pt idx="1989">
                  <c:v>68631.611767503389</c:v>
                </c:pt>
                <c:pt idx="1990">
                  <c:v>68646.330580002978</c:v>
                </c:pt>
                <c:pt idx="1991">
                  <c:v>68661.0525491156</c:v>
                </c:pt>
                <c:pt idx="1992">
                  <c:v>68675.777675518257</c:v>
                </c:pt>
                <c:pt idx="1993">
                  <c:v>68690.505959888047</c:v>
                </c:pt>
                <c:pt idx="1994">
                  <c:v>68705.237402902232</c:v>
                </c:pt>
                <c:pt idx="1995">
                  <c:v>68719.972005238233</c:v>
                </c:pt>
                <c:pt idx="1996">
                  <c:v>68734.709767573586</c:v>
                </c:pt>
                <c:pt idx="1997">
                  <c:v>68749.450690585989</c:v>
                </c:pt>
                <c:pt idx="1998">
                  <c:v>68764.194774953285</c:v>
                </c:pt>
                <c:pt idx="1999">
                  <c:v>68778.942021353461</c:v>
                </c:pt>
                <c:pt idx="2000">
                  <c:v>68793.692430464667</c:v>
                </c:pt>
                <c:pt idx="2001">
                  <c:v>68808.446002965167</c:v>
                </c:pt>
                <c:pt idx="2002">
                  <c:v>68823.202739533372</c:v>
                </c:pt>
                <c:pt idx="2003">
                  <c:v>68837.96264084788</c:v>
                </c:pt>
                <c:pt idx="2004">
                  <c:v>68852.725707587393</c:v>
                </c:pt>
                <c:pt idx="2005">
                  <c:v>68867.491940430773</c:v>
                </c:pt>
                <c:pt idx="2006">
                  <c:v>68882.261340057012</c:v>
                </c:pt>
                <c:pt idx="2007">
                  <c:v>68897.033907145276</c:v>
                </c:pt>
                <c:pt idx="2008">
                  <c:v>68911.809642374865</c:v>
                </c:pt>
                <c:pt idx="2009">
                  <c:v>67934.727310087706</c:v>
                </c:pt>
                <c:pt idx="2010">
                  <c:v>67949.2966679643</c:v>
                </c:pt>
                <c:pt idx="2011">
                  <c:v>67963.869150401719</c:v>
                </c:pt>
                <c:pt idx="2012">
                  <c:v>67978.44475807008</c:v>
                </c:pt>
                <c:pt idx="2013">
                  <c:v>67993.023491639629</c:v>
                </c:pt>
                <c:pt idx="2014">
                  <c:v>68007.605351780745</c:v>
                </c:pt>
                <c:pt idx="2015">
                  <c:v>68022.190339163964</c:v>
                </c:pt>
                <c:pt idx="2016">
                  <c:v>68036.778454459942</c:v>
                </c:pt>
                <c:pt idx="2017">
                  <c:v>68051.369698339506</c:v>
                </c:pt>
                <c:pt idx="2018">
                  <c:v>68065.964071473602</c:v>
                </c:pt>
                <c:pt idx="2019">
                  <c:v>68080.561574533349</c:v>
                </c:pt>
                <c:pt idx="2020">
                  <c:v>68095.16220818997</c:v>
                </c:pt>
                <c:pt idx="2021">
                  <c:v>68109.765973114889</c:v>
                </c:pt>
                <c:pt idx="2022">
                  <c:v>68124.372869979634</c:v>
                </c:pt>
                <c:pt idx="2023">
                  <c:v>68138.982899455877</c:v>
                </c:pt>
                <c:pt idx="2024">
                  <c:v>68153.596062215438</c:v>
                </c:pt>
                <c:pt idx="2025">
                  <c:v>68168.212358930279</c:v>
                </c:pt>
                <c:pt idx="2026">
                  <c:v>68182.831790272525</c:v>
                </c:pt>
                <c:pt idx="2027">
                  <c:v>68197.45435691443</c:v>
                </c:pt>
                <c:pt idx="2028">
                  <c:v>68212.08005952838</c:v>
                </c:pt>
                <c:pt idx="2029">
                  <c:v>68226.708898786936</c:v>
                </c:pt>
                <c:pt idx="2030">
                  <c:v>68241.340875362774</c:v>
                </c:pt>
                <c:pt idx="2031">
                  <c:v>68255.975989928746</c:v>
                </c:pt>
                <c:pt idx="2032">
                  <c:v>68270.614243157805</c:v>
                </c:pt>
                <c:pt idx="2033">
                  <c:v>68285.255635723079</c:v>
                </c:pt>
                <c:pt idx="2034">
                  <c:v>68299.900168297856</c:v>
                </c:pt>
                <c:pt idx="2035">
                  <c:v>68314.547841555526</c:v>
                </c:pt>
                <c:pt idx="2036">
                  <c:v>68329.198656169639</c:v>
                </c:pt>
                <c:pt idx="2037">
                  <c:v>68343.852612813906</c:v>
                </c:pt>
                <c:pt idx="2038">
                  <c:v>68358.509712162166</c:v>
                </c:pt>
                <c:pt idx="2039">
                  <c:v>68373.169954888406</c:v>
                </c:pt>
                <c:pt idx="2040">
                  <c:v>67395.972105329231</c:v>
                </c:pt>
                <c:pt idx="2041">
                  <c:v>67410.42592115984</c:v>
                </c:pt>
                <c:pt idx="2042">
                  <c:v>67424.882836772013</c:v>
                </c:pt>
                <c:pt idx="2043">
                  <c:v>67439.342852830538</c:v>
                </c:pt>
                <c:pt idx="2044">
                  <c:v>67453.805970000336</c:v>
                </c:pt>
                <c:pt idx="2045">
                  <c:v>67468.272188946488</c:v>
                </c:pt>
                <c:pt idx="2046">
                  <c:v>67482.741510334177</c:v>
                </c:pt>
                <c:pt idx="2047">
                  <c:v>67497.213934828789</c:v>
                </c:pt>
                <c:pt idx="2048">
                  <c:v>67511.689463095798</c:v>
                </c:pt>
                <c:pt idx="2049">
                  <c:v>67526.168095800851</c:v>
                </c:pt>
                <c:pt idx="2050">
                  <c:v>67540.649833609714</c:v>
                </c:pt>
                <c:pt idx="2051">
                  <c:v>67555.13467718834</c:v>
                </c:pt>
                <c:pt idx="2052">
                  <c:v>67569.622627202771</c:v>
                </c:pt>
                <c:pt idx="2053">
                  <c:v>67584.113684319236</c:v>
                </c:pt>
                <c:pt idx="2054">
                  <c:v>67598.607849204069</c:v>
                </c:pt>
                <c:pt idx="2055">
                  <c:v>67613.105122523761</c:v>
                </c:pt>
                <c:pt idx="2056">
                  <c:v>67627.605504944964</c:v>
                </c:pt>
                <c:pt idx="2057">
                  <c:v>67642.108997134477</c:v>
                </c:pt>
                <c:pt idx="2058">
                  <c:v>67656.6155997592</c:v>
                </c:pt>
                <c:pt idx="2059">
                  <c:v>67671.125313486191</c:v>
                </c:pt>
                <c:pt idx="2060">
                  <c:v>67685.638138982671</c:v>
                </c:pt>
                <c:pt idx="2061">
                  <c:v>67700.15407691602</c:v>
                </c:pt>
                <c:pt idx="2062">
                  <c:v>67714.673127953705</c:v>
                </c:pt>
                <c:pt idx="2063">
                  <c:v>67729.195292763383</c:v>
                </c:pt>
                <c:pt idx="2064">
                  <c:v>67743.720572012826</c:v>
                </c:pt>
                <c:pt idx="2065">
                  <c:v>67758.248966369953</c:v>
                </c:pt>
                <c:pt idx="2066">
                  <c:v>67772.780476502841</c:v>
                </c:pt>
                <c:pt idx="2067">
                  <c:v>67787.315103079702</c:v>
                </c:pt>
                <c:pt idx="2068">
                  <c:v>67801.852846768888</c:v>
                </c:pt>
                <c:pt idx="2069">
                  <c:v>67816.393708238917</c:v>
                </c:pt>
                <c:pt idx="2070">
                  <c:v>66839.076451820903</c:v>
                </c:pt>
                <c:pt idx="2071">
                  <c:v>66853.410835184535</c:v>
                </c:pt>
                <c:pt idx="2072">
                  <c:v>66867.748292716118</c:v>
                </c:pt>
                <c:pt idx="2073">
                  <c:v>66882.088825074941</c:v>
                </c:pt>
                <c:pt idx="2074">
                  <c:v>66896.432432920425</c:v>
                </c:pt>
                <c:pt idx="2075">
                  <c:v>66910.779116912148</c:v>
                </c:pt>
                <c:pt idx="2076">
                  <c:v>66925.128877709823</c:v>
                </c:pt>
                <c:pt idx="2077">
                  <c:v>66939.481715973307</c:v>
                </c:pt>
                <c:pt idx="2078">
                  <c:v>66953.837632362585</c:v>
                </c:pt>
                <c:pt idx="2079">
                  <c:v>66968.196627537822</c:v>
                </c:pt>
                <c:pt idx="2080">
                  <c:v>66982.558702159295</c:v>
                </c:pt>
                <c:pt idx="2081">
                  <c:v>66996.923856887399</c:v>
                </c:pt>
                <c:pt idx="2082">
                  <c:v>67011.292092382704</c:v>
                </c:pt>
                <c:pt idx="2083">
                  <c:v>67025.663409305926</c:v>
                </c:pt>
                <c:pt idx="2084">
                  <c:v>67040.037808317909</c:v>
                </c:pt>
                <c:pt idx="2085">
                  <c:v>67054.415290079633</c:v>
                </c:pt>
                <c:pt idx="2086">
                  <c:v>67068.795855252232</c:v>
                </c:pt>
                <c:pt idx="2087">
                  <c:v>67083.179504496991</c:v>
                </c:pt>
                <c:pt idx="2088">
                  <c:v>67097.566238475309</c:v>
                </c:pt>
                <c:pt idx="2089">
                  <c:v>67111.956057848758</c:v>
                </c:pt>
                <c:pt idx="2090">
                  <c:v>67126.348963279015</c:v>
                </c:pt>
                <c:pt idx="2091">
                  <c:v>67140.74495542793</c:v>
                </c:pt>
                <c:pt idx="2092">
                  <c:v>67155.14403495747</c:v>
                </c:pt>
                <c:pt idx="2093">
                  <c:v>67169.546202529775</c:v>
                </c:pt>
                <c:pt idx="2094">
                  <c:v>67183.951458807103</c:v>
                </c:pt>
                <c:pt idx="2095">
                  <c:v>67198.359804451859</c:v>
                </c:pt>
                <c:pt idx="2096">
                  <c:v>67212.771240126604</c:v>
                </c:pt>
                <c:pt idx="2097">
                  <c:v>67227.185766494003</c:v>
                </c:pt>
                <c:pt idx="2098">
                  <c:v>67241.603384216913</c:v>
                </c:pt>
                <c:pt idx="2099">
                  <c:v>67256.024093958316</c:v>
                </c:pt>
                <c:pt idx="2100">
                  <c:v>67270.447896381302</c:v>
                </c:pt>
                <c:pt idx="2101">
                  <c:v>66293.013555811645</c:v>
                </c:pt>
                <c:pt idx="2102">
                  <c:v>66307.230829913635</c:v>
                </c:pt>
                <c:pt idx="2103">
                  <c:v>66321.451153068192</c:v>
                </c:pt>
                <c:pt idx="2104">
                  <c:v>66335.674525929207</c:v>
                </c:pt>
                <c:pt idx="2105">
                  <c:v>66349.900949150731</c:v>
                </c:pt>
                <c:pt idx="2106">
                  <c:v>66364.130423386945</c:v>
                </c:pt>
                <c:pt idx="2107">
                  <c:v>66378.36294929219</c:v>
                </c:pt>
                <c:pt idx="2108">
                  <c:v>66392.59852752091</c:v>
                </c:pt>
                <c:pt idx="2109">
                  <c:v>66406.837158727722</c:v>
                </c:pt>
                <c:pt idx="2110">
                  <c:v>66421.07884356736</c:v>
                </c:pt>
                <c:pt idx="2111">
                  <c:v>66435.32358269472</c:v>
                </c:pt>
                <c:pt idx="2112">
                  <c:v>66449.571376764827</c:v>
                </c:pt>
                <c:pt idx="2113">
                  <c:v>66463.822226432836</c:v>
                </c:pt>
                <c:pt idx="2114">
                  <c:v>66478.07613235405</c:v>
                </c:pt>
                <c:pt idx="2115">
                  <c:v>66492.333095183945</c:v>
                </c:pt>
                <c:pt idx="2116">
                  <c:v>66506.5931155781</c:v>
                </c:pt>
                <c:pt idx="2117">
                  <c:v>66520.856194192223</c:v>
                </c:pt>
                <c:pt idx="2118">
                  <c:v>66535.1223316822</c:v>
                </c:pt>
                <c:pt idx="2119">
                  <c:v>66549.391528704029</c:v>
                </c:pt>
                <c:pt idx="2120">
                  <c:v>66563.663785913872</c:v>
                </c:pt>
                <c:pt idx="2121">
                  <c:v>66577.939103968019</c:v>
                </c:pt>
                <c:pt idx="2122">
                  <c:v>66592.217483522909</c:v>
                </c:pt>
                <c:pt idx="2123">
                  <c:v>66606.498925235108</c:v>
                </c:pt>
                <c:pt idx="2124">
                  <c:v>66620.783429761315</c:v>
                </c:pt>
                <c:pt idx="2125">
                  <c:v>66635.070997758405</c:v>
                </c:pt>
                <c:pt idx="2126">
                  <c:v>66649.361629883366</c:v>
                </c:pt>
                <c:pt idx="2127">
                  <c:v>66663.65532679332</c:v>
                </c:pt>
                <c:pt idx="2128">
                  <c:v>66677.952089145561</c:v>
                </c:pt>
                <c:pt idx="2129">
                  <c:v>66692.251917597518</c:v>
                </c:pt>
                <c:pt idx="2130">
                  <c:v>66706.554812806731</c:v>
                </c:pt>
                <c:pt idx="2131">
                  <c:v>65728.999539093405</c:v>
                </c:pt>
                <c:pt idx="2132">
                  <c:v>65743.095854116254</c:v>
                </c:pt>
                <c:pt idx="2133">
                  <c:v>65757.195192250656</c:v>
                </c:pt>
                <c:pt idx="2134">
                  <c:v>65771.297554144927</c:v>
                </c:pt>
                <c:pt idx="2135">
                  <c:v>65785.402940447573</c:v>
                </c:pt>
                <c:pt idx="2136">
                  <c:v>65799.511351807188</c:v>
                </c:pt>
                <c:pt idx="2137">
                  <c:v>65813.622788872541</c:v>
                </c:pt>
                <c:pt idx="2138">
                  <c:v>65827.737252292543</c:v>
                </c:pt>
                <c:pt idx="2139">
                  <c:v>65841.854742716198</c:v>
                </c:pt>
                <c:pt idx="2140">
                  <c:v>65855.975260792693</c:v>
                </c:pt>
                <c:pt idx="2141">
                  <c:v>65870.098807171365</c:v>
                </c:pt>
                <c:pt idx="2142">
                  <c:v>65884.225382501652</c:v>
                </c:pt>
                <c:pt idx="2143">
                  <c:v>65898.354987433122</c:v>
                </c:pt>
                <c:pt idx="2144">
                  <c:v>65912.487622615532</c:v>
                </c:pt>
                <c:pt idx="2145">
                  <c:v>65926.623288698742</c:v>
                </c:pt>
                <c:pt idx="2146">
                  <c:v>65940.761986332771</c:v>
                </c:pt>
                <c:pt idx="2147">
                  <c:v>65954.90371616777</c:v>
                </c:pt>
                <c:pt idx="2148">
                  <c:v>65969.04847885402</c:v>
                </c:pt>
                <c:pt idx="2149">
                  <c:v>65983.196275041948</c:v>
                </c:pt>
                <c:pt idx="2150">
                  <c:v>65997.347105382127</c:v>
                </c:pt>
                <c:pt idx="2151">
                  <c:v>66011.500970525274</c:v>
                </c:pt>
                <c:pt idx="2152">
                  <c:v>66025.657871122225</c:v>
                </c:pt>
                <c:pt idx="2153">
                  <c:v>66039.817807823973</c:v>
                </c:pt>
                <c:pt idx="2154">
                  <c:v>66053.980781281643</c:v>
                </c:pt>
                <c:pt idx="2155">
                  <c:v>66068.146792146494</c:v>
                </c:pt>
                <c:pt idx="2156">
                  <c:v>66082.31584106994</c:v>
                </c:pt>
                <c:pt idx="2157">
                  <c:v>66096.487928703515</c:v>
                </c:pt>
                <c:pt idx="2158">
                  <c:v>66110.663055698911</c:v>
                </c:pt>
                <c:pt idx="2159">
                  <c:v>66124.841222707953</c:v>
                </c:pt>
                <c:pt idx="2160">
                  <c:v>66139.022430382625</c:v>
                </c:pt>
                <c:pt idx="2161">
                  <c:v>66153.206679374998</c:v>
                </c:pt>
                <c:pt idx="2162">
                  <c:v>65175.532733999818</c:v>
                </c:pt>
                <c:pt idx="2163">
                  <c:v>65189.510351910372</c:v>
                </c:pt>
                <c:pt idx="2164">
                  <c:v>65203.490967476559</c:v>
                </c:pt>
                <c:pt idx="2165">
                  <c:v>65217.474581341245</c:v>
                </c:pt>
                <c:pt idx="2166">
                  <c:v>65231.461194147465</c:v>
                </c:pt>
                <c:pt idx="2167">
                  <c:v>65245.450806538363</c:v>
                </c:pt>
                <c:pt idx="2168">
                  <c:v>65259.443419157251</c:v>
                </c:pt>
                <c:pt idx="2169">
                  <c:v>65273.439032647533</c:v>
                </c:pt>
                <c:pt idx="2170">
                  <c:v>65287.437647652812</c:v>
                </c:pt>
                <c:pt idx="2171">
                  <c:v>65301.43926481677</c:v>
                </c:pt>
                <c:pt idx="2172">
                  <c:v>65315.443884783264</c:v>
                </c:pt>
                <c:pt idx="2173">
                  <c:v>65329.451508196275</c:v>
                </c:pt>
                <c:pt idx="2174">
                  <c:v>65343.462135699927</c:v>
                </c:pt>
                <c:pt idx="2175">
                  <c:v>65357.475767938478</c:v>
                </c:pt>
                <c:pt idx="2176">
                  <c:v>65371.492405556339</c:v>
                </c:pt>
                <c:pt idx="2177">
                  <c:v>65385.512049198027</c:v>
                </c:pt>
                <c:pt idx="2178">
                  <c:v>65399.534699508229</c:v>
                </c:pt>
                <c:pt idx="2179">
                  <c:v>65413.560357131762</c:v>
                </c:pt>
                <c:pt idx="2180">
                  <c:v>65427.589022713575</c:v>
                </c:pt>
                <c:pt idx="2181">
                  <c:v>65441.620696898746</c:v>
                </c:pt>
                <c:pt idx="2182">
                  <c:v>65455.655380332522</c:v>
                </c:pt>
                <c:pt idx="2183">
                  <c:v>65469.693073660259</c:v>
                </c:pt>
                <c:pt idx="2184">
                  <c:v>65483.733777527465</c:v>
                </c:pt>
                <c:pt idx="2185">
                  <c:v>65497.777492579778</c:v>
                </c:pt>
                <c:pt idx="2186">
                  <c:v>65511.824219462986</c:v>
                </c:pt>
                <c:pt idx="2187">
                  <c:v>65525.873958823016</c:v>
                </c:pt>
                <c:pt idx="2188">
                  <c:v>65539.926711305918</c:v>
                </c:pt>
                <c:pt idx="2189">
                  <c:v>65553.982477557889</c:v>
                </c:pt>
                <c:pt idx="2190">
                  <c:v>65568.041258225261</c:v>
                </c:pt>
                <c:pt idx="2191">
                  <c:v>65582.103053954532</c:v>
                </c:pt>
                <c:pt idx="2192">
                  <c:v>65596.167865392286</c:v>
                </c:pt>
                <c:pt idx="2193">
                  <c:v>64618.37445684777</c:v>
                </c:pt>
                <c:pt idx="2194">
                  <c:v>64632.232585968792</c:v>
                </c:pt>
                <c:pt idx="2195">
                  <c:v>64646.093687119741</c:v>
                </c:pt>
                <c:pt idx="2196">
                  <c:v>64659.957760937999</c:v>
                </c:pt>
                <c:pt idx="2197">
                  <c:v>64673.824808061094</c:v>
                </c:pt>
                <c:pt idx="2198">
                  <c:v>64687.694829126682</c:v>
                </c:pt>
                <c:pt idx="2199">
                  <c:v>64701.567824772566</c:v>
                </c:pt>
                <c:pt idx="2200">
                  <c:v>64715.443795636667</c:v>
                </c:pt>
                <c:pt idx="2201">
                  <c:v>64729.322742357057</c:v>
                </c:pt>
                <c:pt idx="2202">
                  <c:v>64743.204665571924</c:v>
                </c:pt>
                <c:pt idx="2203">
                  <c:v>64757.089565919639</c:v>
                </c:pt>
                <c:pt idx="2204">
                  <c:v>64770.977444038668</c:v>
                </c:pt>
                <c:pt idx="2205">
                  <c:v>64784.868300567621</c:v>
                </c:pt>
                <c:pt idx="2206">
                  <c:v>64798.762136145255</c:v>
                </c:pt>
                <c:pt idx="2207">
                  <c:v>64812.658951410463</c:v>
                </c:pt>
                <c:pt idx="2208">
                  <c:v>64826.558747002273</c:v>
                </c:pt>
                <c:pt idx="2209">
                  <c:v>64840.461523559847</c:v>
                </c:pt>
                <c:pt idx="2210">
                  <c:v>64854.367281722487</c:v>
                </c:pt>
                <c:pt idx="2211">
                  <c:v>64868.276022129641</c:v>
                </c:pt>
                <c:pt idx="2212">
                  <c:v>64882.187745420873</c:v>
                </c:pt>
                <c:pt idx="2213">
                  <c:v>64896.1024522359</c:v>
                </c:pt>
                <c:pt idx="2214">
                  <c:v>64910.02014321457</c:v>
                </c:pt>
                <c:pt idx="2215">
                  <c:v>64923.940818996874</c:v>
                </c:pt>
                <c:pt idx="2216">
                  <c:v>64937.864480222925</c:v>
                </c:pt>
                <c:pt idx="2217">
                  <c:v>64951.791127532997</c:v>
                </c:pt>
                <c:pt idx="2218">
                  <c:v>64965.720761567478</c:v>
                </c:pt>
                <c:pt idx="2219">
                  <c:v>64979.653382966913</c:v>
                </c:pt>
                <c:pt idx="2220">
                  <c:v>64993.588992371988</c:v>
                </c:pt>
                <c:pt idx="2221">
                  <c:v>65007.52759042348</c:v>
                </c:pt>
                <c:pt idx="2222">
                  <c:v>65021.469177762352</c:v>
                </c:pt>
                <c:pt idx="2223">
                  <c:v>64043.552518692195</c:v>
                </c:pt>
                <c:pt idx="2224">
                  <c:v>64057.28737085512</c:v>
                </c:pt>
                <c:pt idx="2225">
                  <c:v>64071.025168609842</c:v>
                </c:pt>
                <c:pt idx="2226">
                  <c:v>64084.765912588104</c:v>
                </c:pt>
                <c:pt idx="2227">
                  <c:v>64098.509603421742</c:v>
                </c:pt>
                <c:pt idx="2228">
                  <c:v>64112.25624174274</c:v>
                </c:pt>
                <c:pt idx="2229">
                  <c:v>64126.005828183224</c:v>
                </c:pt>
                <c:pt idx="2230">
                  <c:v>64139.758363375462</c:v>
                </c:pt>
                <c:pt idx="2231">
                  <c:v>64153.513847951821</c:v>
                </c:pt>
                <c:pt idx="2232">
                  <c:v>64167.272282544844</c:v>
                </c:pt>
                <c:pt idx="2233">
                  <c:v>64181.033667787204</c:v>
                </c:pt>
                <c:pt idx="2234">
                  <c:v>64194.798004311691</c:v>
                </c:pt>
                <c:pt idx="2235">
                  <c:v>64208.565292751227</c:v>
                </c:pt>
                <c:pt idx="2236">
                  <c:v>64222.335533738908</c:v>
                </c:pt>
                <c:pt idx="2237">
                  <c:v>64236.108727907922</c:v>
                </c:pt>
                <c:pt idx="2238">
                  <c:v>64249.884875891621</c:v>
                </c:pt>
                <c:pt idx="2239">
                  <c:v>64263.663978323479</c:v>
                </c:pt>
                <c:pt idx="2240">
                  <c:v>64277.446035837122</c:v>
                </c:pt>
                <c:pt idx="2241">
                  <c:v>64291.231049066286</c:v>
                </c:pt>
                <c:pt idx="2242">
                  <c:v>64305.019018644845</c:v>
                </c:pt>
                <c:pt idx="2243">
                  <c:v>64318.809945206856</c:v>
                </c:pt>
                <c:pt idx="2244">
                  <c:v>64332.603829386455</c:v>
                </c:pt>
                <c:pt idx="2245">
                  <c:v>64346.40067181793</c:v>
                </c:pt>
                <c:pt idx="2246">
                  <c:v>64360.200473135723</c:v>
                </c:pt>
                <c:pt idx="2247">
                  <c:v>64374.003233974392</c:v>
                </c:pt>
                <c:pt idx="2248">
                  <c:v>64387.808954968656</c:v>
                </c:pt>
                <c:pt idx="2249">
                  <c:v>64401.617636753333</c:v>
                </c:pt>
                <c:pt idx="2250">
                  <c:v>64415.429279963406</c:v>
                </c:pt>
                <c:pt idx="2251">
                  <c:v>64429.243885233984</c:v>
                </c:pt>
                <c:pt idx="2252">
                  <c:v>64443.061453200324</c:v>
                </c:pt>
                <c:pt idx="2253">
                  <c:v>64456.881984497792</c:v>
                </c:pt>
                <c:pt idx="2254">
                  <c:v>63478.844243424406</c:v>
                </c:pt>
                <c:pt idx="2255">
                  <c:v>63492.457987616719</c:v>
                </c:pt>
                <c:pt idx="2256">
                  <c:v>63506.074651427894</c:v>
                </c:pt>
                <c:pt idx="2257">
                  <c:v>63519.694235484072</c:v>
                </c:pt>
                <c:pt idx="2258">
                  <c:v>63533.316740411537</c:v>
                </c:pt>
                <c:pt idx="2259">
                  <c:v>63546.942166836699</c:v>
                </c:pt>
                <c:pt idx="2260">
                  <c:v>63560.570515386113</c:v>
                </c:pt>
                <c:pt idx="2261">
                  <c:v>63574.201786686448</c:v>
                </c:pt>
                <c:pt idx="2262">
                  <c:v>63587.835981364529</c:v>
                </c:pt>
                <c:pt idx="2263">
                  <c:v>63601.473100047304</c:v>
                </c:pt>
                <c:pt idx="2264">
                  <c:v>63615.113143361858</c:v>
                </c:pt>
                <c:pt idx="2265">
                  <c:v>63628.756111935407</c:v>
                </c:pt>
                <c:pt idx="2266">
                  <c:v>63642.402006395321</c:v>
                </c:pt>
                <c:pt idx="2267">
                  <c:v>63656.050827369079</c:v>
                </c:pt>
                <c:pt idx="2268">
                  <c:v>63669.702575484305</c:v>
                </c:pt>
                <c:pt idx="2269">
                  <c:v>63683.357251368754</c:v>
                </c:pt>
                <c:pt idx="2270">
                  <c:v>63697.014855650312</c:v>
                </c:pt>
                <c:pt idx="2271">
                  <c:v>63710.675388957025</c:v>
                </c:pt>
                <c:pt idx="2272">
                  <c:v>63724.338851917055</c:v>
                </c:pt>
                <c:pt idx="2273">
                  <c:v>63738.005245158682</c:v>
                </c:pt>
                <c:pt idx="2274">
                  <c:v>63751.674569310337</c:v>
                </c:pt>
                <c:pt idx="2275">
                  <c:v>63765.346825000597</c:v>
                </c:pt>
                <c:pt idx="2276">
                  <c:v>63779.022012858171</c:v>
                </c:pt>
                <c:pt idx="2277">
                  <c:v>63792.700133511869</c:v>
                </c:pt>
                <c:pt idx="2278">
                  <c:v>63806.381187590683</c:v>
                </c:pt>
                <c:pt idx="2279">
                  <c:v>63820.065175723714</c:v>
                </c:pt>
                <c:pt idx="2280">
                  <c:v>63833.752098540201</c:v>
                </c:pt>
                <c:pt idx="2281">
                  <c:v>63847.441956669507</c:v>
                </c:pt>
                <c:pt idx="2282">
                  <c:v>63861.134750741156</c:v>
                </c:pt>
                <c:pt idx="2283">
                  <c:v>63874.830481384794</c:v>
                </c:pt>
                <c:pt idx="2284">
                  <c:v>62896.667912892684</c:v>
                </c:pt>
                <c:pt idx="2285">
                  <c:v>62910.156802895646</c:v>
                </c:pt>
                <c:pt idx="2286">
                  <c:v>62923.64858574111</c:v>
                </c:pt>
                <c:pt idx="2287">
                  <c:v>62937.143262049467</c:v>
                </c:pt>
                <c:pt idx="2288">
                  <c:v>62950.640832441248</c:v>
                </c:pt>
                <c:pt idx="2289">
                  <c:v>62964.141297537135</c:v>
                </c:pt>
                <c:pt idx="2290">
                  <c:v>62977.644657957906</c:v>
                </c:pt>
                <c:pt idx="2291">
                  <c:v>62991.15091432452</c:v>
                </c:pt>
                <c:pt idx="2292">
                  <c:v>63004.660067258039</c:v>
                </c:pt>
                <c:pt idx="2293">
                  <c:v>63018.172117379661</c:v>
                </c:pt>
                <c:pt idx="2294">
                  <c:v>63031.687065310711</c:v>
                </c:pt>
                <c:pt idx="2295">
                  <c:v>63045.20491167267</c:v>
                </c:pt>
                <c:pt idx="2296">
                  <c:v>63058.725657087125</c:v>
                </c:pt>
                <c:pt idx="2297">
                  <c:v>63072.249302175827</c:v>
                </c:pt>
                <c:pt idx="2298">
                  <c:v>63085.775847560646</c:v>
                </c:pt>
                <c:pt idx="2299">
                  <c:v>63099.305293863566</c:v>
                </c:pt>
                <c:pt idx="2300">
                  <c:v>63112.837641706719</c:v>
                </c:pt>
                <c:pt idx="2301">
                  <c:v>63126.372891712374</c:v>
                </c:pt>
                <c:pt idx="2302">
                  <c:v>63139.911044502944</c:v>
                </c:pt>
                <c:pt idx="2303">
                  <c:v>63153.452100700961</c:v>
                </c:pt>
                <c:pt idx="2304">
                  <c:v>63166.996060929101</c:v>
                </c:pt>
                <c:pt idx="2305">
                  <c:v>63180.542925810143</c:v>
                </c:pt>
                <c:pt idx="2306">
                  <c:v>63194.092695967025</c:v>
                </c:pt>
                <c:pt idx="2307">
                  <c:v>63207.645372022838</c:v>
                </c:pt>
                <c:pt idx="2308">
                  <c:v>63221.200954600768</c:v>
                </c:pt>
                <c:pt idx="2309">
                  <c:v>63234.759444324161</c:v>
                </c:pt>
                <c:pt idx="2310">
                  <c:v>63248.320841816465</c:v>
                </c:pt>
                <c:pt idx="2311">
                  <c:v>63261.885147701301</c:v>
                </c:pt>
                <c:pt idx="2312">
                  <c:v>63275.452362602402</c:v>
                </c:pt>
                <c:pt idx="2313">
                  <c:v>63289.022487143651</c:v>
                </c:pt>
                <c:pt idx="2314">
                  <c:v>63302.595521949035</c:v>
                </c:pt>
                <c:pt idx="2315">
                  <c:v>62324.310231305186</c:v>
                </c:pt>
                <c:pt idx="2316">
                  <c:v>62337.676372837275</c:v>
                </c:pt>
                <c:pt idx="2317">
                  <c:v>62351.045380887081</c:v>
                </c:pt>
                <c:pt idx="2318">
                  <c:v>62364.41725606937</c:v>
                </c:pt>
                <c:pt idx="2319">
                  <c:v>62377.791998999019</c:v>
                </c:pt>
                <c:pt idx="2320">
                  <c:v>62391.16961029105</c:v>
                </c:pt>
                <c:pt idx="2321">
                  <c:v>62404.550090560617</c:v>
                </c:pt>
                <c:pt idx="2322">
                  <c:v>62417.933440423003</c:v>
                </c:pt>
                <c:pt idx="2323">
                  <c:v>62431.319660493624</c:v>
                </c:pt>
                <c:pt idx="2324">
                  <c:v>62444.708751388025</c:v>
                </c:pt>
                <c:pt idx="2325">
                  <c:v>62458.100713721884</c:v>
                </c:pt>
                <c:pt idx="2326">
                  <c:v>62471.495548111023</c:v>
                </c:pt>
                <c:pt idx="2327">
                  <c:v>62484.893255171381</c:v>
                </c:pt>
                <c:pt idx="2328">
                  <c:v>62498.293835519034</c:v>
                </c:pt>
                <c:pt idx="2329">
                  <c:v>62511.697289770185</c:v>
                </c:pt>
                <c:pt idx="2330">
                  <c:v>62525.103618541187</c:v>
                </c:pt>
                <c:pt idx="2331">
                  <c:v>62538.512822448494</c:v>
                </c:pt>
                <c:pt idx="2332">
                  <c:v>62551.924902108731</c:v>
                </c:pt>
                <c:pt idx="2333">
                  <c:v>62565.339858138635</c:v>
                </c:pt>
                <c:pt idx="2334">
                  <c:v>62578.757691155071</c:v>
                </c:pt>
                <c:pt idx="2335">
                  <c:v>62592.178401775018</c:v>
                </c:pt>
                <c:pt idx="2336">
                  <c:v>62605.601990615643</c:v>
                </c:pt>
                <c:pt idx="2337">
                  <c:v>62619.028458294197</c:v>
                </c:pt>
                <c:pt idx="2338">
                  <c:v>62632.457805428079</c:v>
                </c:pt>
                <c:pt idx="2339">
                  <c:v>62645.890032634816</c:v>
                </c:pt>
                <c:pt idx="2340">
                  <c:v>62659.325140532077</c:v>
                </c:pt>
                <c:pt idx="2341">
                  <c:v>62672.763129737665</c:v>
                </c:pt>
                <c:pt idx="2342">
                  <c:v>62686.204000869504</c:v>
                </c:pt>
                <c:pt idx="2343">
                  <c:v>62699.647754545651</c:v>
                </c:pt>
                <c:pt idx="2344">
                  <c:v>62713.0943913843</c:v>
                </c:pt>
                <c:pt idx="2345">
                  <c:v>62726.543912003784</c:v>
                </c:pt>
                <c:pt idx="2346">
                  <c:v>61748.135080685031</c:v>
                </c:pt>
                <c:pt idx="2347">
                  <c:v>61761.37765504756</c:v>
                </c:pt>
                <c:pt idx="2348">
                  <c:v>61774.623069427449</c:v>
                </c:pt>
                <c:pt idx="2349">
                  <c:v>61787.871324433778</c:v>
                </c:pt>
                <c:pt idx="2350">
                  <c:v>61801.12242067574</c:v>
                </c:pt>
                <c:pt idx="2351">
                  <c:v>61814.376358762689</c:v>
                </c:pt>
                <c:pt idx="2352">
                  <c:v>61827.633139304075</c:v>
                </c:pt>
                <c:pt idx="2353">
                  <c:v>61840.892762909491</c:v>
                </c:pt>
                <c:pt idx="2354">
                  <c:v>61854.155230188677</c:v>
                </c:pt>
                <c:pt idx="2355">
                  <c:v>61867.420541751482</c:v>
                </c:pt>
                <c:pt idx="2356">
                  <c:v>61880.688698207887</c:v>
                </c:pt>
                <c:pt idx="2357">
                  <c:v>61893.95970016803</c:v>
                </c:pt>
                <c:pt idx="2358">
                  <c:v>61907.23354824214</c:v>
                </c:pt>
                <c:pt idx="2359">
                  <c:v>61920.510243040604</c:v>
                </c:pt>
                <c:pt idx="2360">
                  <c:v>61933.78978517394</c:v>
                </c:pt>
                <c:pt idx="2361">
                  <c:v>61947.072175252797</c:v>
                </c:pt>
                <c:pt idx="2362">
                  <c:v>61960.357413887934</c:v>
                </c:pt>
                <c:pt idx="2363">
                  <c:v>61973.645501690262</c:v>
                </c:pt>
                <c:pt idx="2364">
                  <c:v>61986.936439270816</c:v>
                </c:pt>
                <c:pt idx="2365">
                  <c:v>62000.230227240761</c:v>
                </c:pt>
                <c:pt idx="2366">
                  <c:v>62013.52686621141</c:v>
                </c:pt>
                <c:pt idx="2367">
                  <c:v>62026.826356794176</c:v>
                </c:pt>
                <c:pt idx="2368">
                  <c:v>62040.128699600617</c:v>
                </c:pt>
                <c:pt idx="2369">
                  <c:v>62053.43389524243</c:v>
                </c:pt>
                <c:pt idx="2370">
                  <c:v>62066.741944331428</c:v>
                </c:pt>
                <c:pt idx="2371">
                  <c:v>62080.052847479579</c:v>
                </c:pt>
                <c:pt idx="2372">
                  <c:v>62093.366605298957</c:v>
                </c:pt>
                <c:pt idx="2373">
                  <c:v>62106.683218401784</c:v>
                </c:pt>
                <c:pt idx="2374">
                  <c:v>61128.141451062889</c:v>
                </c:pt>
                <c:pt idx="2375">
                  <c:v>61141.251060895658</c:v>
                </c:pt>
                <c:pt idx="2376">
                  <c:v>61154.363482230066</c:v>
                </c:pt>
                <c:pt idx="2377">
                  <c:v>61167.478715669073</c:v>
                </c:pt>
                <c:pt idx="2378">
                  <c:v>61180.596761815767</c:v>
                </c:pt>
                <c:pt idx="2379">
                  <c:v>61193.717621273361</c:v>
                </c:pt>
                <c:pt idx="2380">
                  <c:v>61206.841294645194</c:v>
                </c:pt>
                <c:pt idx="2381">
                  <c:v>61219.967782534761</c:v>
                </c:pt>
                <c:pt idx="2382">
                  <c:v>61233.097085545654</c:v>
                </c:pt>
                <c:pt idx="2383">
                  <c:v>61246.229204281604</c:v>
                </c:pt>
                <c:pt idx="2384">
                  <c:v>61259.364139346486</c:v>
                </c:pt>
                <c:pt idx="2385">
                  <c:v>61272.501891344276</c:v>
                </c:pt>
                <c:pt idx="2386">
                  <c:v>61285.64246087912</c:v>
                </c:pt>
                <c:pt idx="2387">
                  <c:v>61298.785848555257</c:v>
                </c:pt>
                <c:pt idx="2388">
                  <c:v>61311.932054977064</c:v>
                </c:pt>
                <c:pt idx="2389">
                  <c:v>61325.081080749056</c:v>
                </c:pt>
                <c:pt idx="2390">
                  <c:v>61338.232926475881</c:v>
                </c:pt>
                <c:pt idx="2391">
                  <c:v>61351.387592762294</c:v>
                </c:pt>
                <c:pt idx="2392">
                  <c:v>61364.545080213211</c:v>
                </c:pt>
                <c:pt idx="2393">
                  <c:v>61377.70538943365</c:v>
                </c:pt>
                <c:pt idx="2394">
                  <c:v>61390.86852102878</c:v>
                </c:pt>
                <c:pt idx="2395">
                  <c:v>61404.03447560389</c:v>
                </c:pt>
                <c:pt idx="2396">
                  <c:v>61417.203253764405</c:v>
                </c:pt>
                <c:pt idx="2397">
                  <c:v>61430.374856115857</c:v>
                </c:pt>
                <c:pt idx="2398">
                  <c:v>61443.549283263936</c:v>
                </c:pt>
                <c:pt idx="2399">
                  <c:v>61456.72653581445</c:v>
                </c:pt>
                <c:pt idx="2400">
                  <c:v>61469.906614373343</c:v>
                </c:pt>
                <c:pt idx="2401">
                  <c:v>60501.266839415599</c:v>
                </c:pt>
                <c:pt idx="2402">
                  <c:v>60514.24200901547</c:v>
                </c:pt>
                <c:pt idx="2403">
                  <c:v>60527.219961284776</c:v>
                </c:pt>
                <c:pt idx="2404">
                  <c:v>60540.200696820313</c:v>
                </c:pt>
                <c:pt idx="2405">
                  <c:v>59561.322979881443</c:v>
                </c:pt>
                <c:pt idx="2406">
                  <c:v>59574.09656806611</c:v>
                </c:pt>
                <c:pt idx="2407">
                  <c:v>59586.87289568883</c:v>
                </c:pt>
                <c:pt idx="2408">
                  <c:v>59599.651963337121</c:v>
                </c:pt>
                <c:pt idx="2409">
                  <c:v>59612.433771598604</c:v>
                </c:pt>
                <c:pt idx="2410">
                  <c:v>59625.218321061031</c:v>
                </c:pt>
                <c:pt idx="2411">
                  <c:v>59638.005612312278</c:v>
                </c:pt>
                <c:pt idx="2412">
                  <c:v>59650.795645940365</c:v>
                </c:pt>
                <c:pt idx="2413">
                  <c:v>59663.58842253343</c:v>
                </c:pt>
                <c:pt idx="2414">
                  <c:v>59676.38394267972</c:v>
                </c:pt>
                <c:pt idx="2415">
                  <c:v>59689.18220696762</c:v>
                </c:pt>
                <c:pt idx="2416">
                  <c:v>59701.983215985645</c:v>
                </c:pt>
                <c:pt idx="2417">
                  <c:v>59714.786970322435</c:v>
                </c:pt>
                <c:pt idx="2418">
                  <c:v>59727.593470566761</c:v>
                </c:pt>
                <c:pt idx="2419">
                  <c:v>59740.402717307494</c:v>
                </c:pt>
                <c:pt idx="2420">
                  <c:v>59753.21471113366</c:v>
                </c:pt>
                <c:pt idx="2421">
                  <c:v>59766.029452634415</c:v>
                </c:pt>
                <c:pt idx="2422">
                  <c:v>59778.846942399017</c:v>
                </c:pt>
                <c:pt idx="2423">
                  <c:v>59791.667181016863</c:v>
                </c:pt>
                <c:pt idx="2424">
                  <c:v>59804.490169077464</c:v>
                </c:pt>
                <c:pt idx="2425">
                  <c:v>59817.315907170487</c:v>
                </c:pt>
                <c:pt idx="2426">
                  <c:v>59830.144395885683</c:v>
                </c:pt>
                <c:pt idx="2427">
                  <c:v>59842.975635812974</c:v>
                </c:pt>
                <c:pt idx="2428">
                  <c:v>59855.809627542389</c:v>
                </c:pt>
                <c:pt idx="2429">
                  <c:v>59868.646371664079</c:v>
                </c:pt>
                <c:pt idx="2430">
                  <c:v>59881.485868768323</c:v>
                </c:pt>
                <c:pt idx="2431">
                  <c:v>59894.328119445527</c:v>
                </c:pt>
                <c:pt idx="2432">
                  <c:v>59907.173124286222</c:v>
                </c:pt>
                <c:pt idx="2433">
                  <c:v>59920.020883881087</c:v>
                </c:pt>
                <c:pt idx="2434">
                  <c:v>59932.871398820876</c:v>
                </c:pt>
                <c:pt idx="2435">
                  <c:v>58953.863433359016</c:v>
                </c:pt>
                <c:pt idx="2436">
                  <c:v>58966.506745087456</c:v>
                </c:pt>
                <c:pt idx="2437">
                  <c:v>58979.152768314721</c:v>
                </c:pt>
                <c:pt idx="2438">
                  <c:v>58991.801503622315</c:v>
                </c:pt>
                <c:pt idx="2439">
                  <c:v>59004.452951591877</c:v>
                </c:pt>
                <c:pt idx="2440">
                  <c:v>59017.107112805177</c:v>
                </c:pt>
                <c:pt idx="2441">
                  <c:v>59029.763987844097</c:v>
                </c:pt>
                <c:pt idx="2442">
                  <c:v>59042.423577290647</c:v>
                </c:pt>
                <c:pt idx="2443">
                  <c:v>59055.085881726962</c:v>
                </c:pt>
                <c:pt idx="2444">
                  <c:v>59067.7509017353</c:v>
                </c:pt>
                <c:pt idx="2445">
                  <c:v>59080.418637898052</c:v>
                </c:pt>
                <c:pt idx="2446">
                  <c:v>59093.089090797708</c:v>
                </c:pt>
                <c:pt idx="2447">
                  <c:v>59105.762261016913</c:v>
                </c:pt>
                <c:pt idx="2448">
                  <c:v>59118.438149138434</c:v>
                </c:pt>
                <c:pt idx="2449">
                  <c:v>59131.116755745155</c:v>
                </c:pt>
                <c:pt idx="2450">
                  <c:v>59143.798081420086</c:v>
                </c:pt>
                <c:pt idx="2451">
                  <c:v>59156.482126746349</c:v>
                </c:pt>
                <c:pt idx="2452">
                  <c:v>59169.168892307207</c:v>
                </c:pt>
                <c:pt idx="2453">
                  <c:v>59181.858378686054</c:v>
                </c:pt>
                <c:pt idx="2454">
                  <c:v>59194.550586466394</c:v>
                </c:pt>
                <c:pt idx="2455">
                  <c:v>59207.245516231858</c:v>
                </c:pt>
                <c:pt idx="2456">
                  <c:v>59219.943168566206</c:v>
                </c:pt>
                <c:pt idx="2457">
                  <c:v>59232.643544053331</c:v>
                </c:pt>
                <c:pt idx="2458">
                  <c:v>59245.346643277247</c:v>
                </c:pt>
                <c:pt idx="2459">
                  <c:v>59258.052466822082</c:v>
                </c:pt>
                <c:pt idx="2460">
                  <c:v>59270.761015272088</c:v>
                </c:pt>
                <c:pt idx="2461">
                  <c:v>59283.472289211662</c:v>
                </c:pt>
                <c:pt idx="2462">
                  <c:v>59296.186289225319</c:v>
                </c:pt>
                <c:pt idx="2463">
                  <c:v>59308.903015897689</c:v>
                </c:pt>
                <c:pt idx="2464">
                  <c:v>59321.622469813541</c:v>
                </c:pt>
                <c:pt idx="2465">
                  <c:v>59334.344651557753</c:v>
                </c:pt>
                <c:pt idx="2466">
                  <c:v>58355.208325377818</c:v>
                </c:pt>
                <c:pt idx="2467">
                  <c:v>58367.723248859795</c:v>
                </c:pt>
                <c:pt idx="2468">
                  <c:v>58380.240856306315</c:v>
                </c:pt>
                <c:pt idx="2469">
                  <c:v>58392.761148292971</c:v>
                </c:pt>
                <c:pt idx="2470">
                  <c:v>58405.284125395512</c:v>
                </c:pt>
                <c:pt idx="2471">
                  <c:v>58417.80978818977</c:v>
                </c:pt>
                <c:pt idx="2472">
                  <c:v>58430.338137251725</c:v>
                </c:pt>
                <c:pt idx="2473">
                  <c:v>58442.869173157495</c:v>
                </c:pt>
                <c:pt idx="2474">
                  <c:v>58455.402896483298</c:v>
                </c:pt>
                <c:pt idx="2475">
                  <c:v>58467.939307805464</c:v>
                </c:pt>
                <c:pt idx="2476">
                  <c:v>58480.478407700481</c:v>
                </c:pt>
                <c:pt idx="2477">
                  <c:v>58493.020196744925</c:v>
                </c:pt>
                <c:pt idx="2478">
                  <c:v>58505.564675515532</c:v>
                </c:pt>
                <c:pt idx="2479">
                  <c:v>58518.111844589133</c:v>
                </c:pt>
                <c:pt idx="2480">
                  <c:v>58530.661704542705</c:v>
                </c:pt>
                <c:pt idx="2481">
                  <c:v>58543.214255953339</c:v>
                </c:pt>
                <c:pt idx="2482">
                  <c:v>58555.76949939823</c:v>
                </c:pt>
                <c:pt idx="2483">
                  <c:v>58568.327435454717</c:v>
                </c:pt>
                <c:pt idx="2484">
                  <c:v>58580.888064700273</c:v>
                </c:pt>
                <c:pt idx="2485">
                  <c:v>58593.451387712485</c:v>
                </c:pt>
                <c:pt idx="2486">
                  <c:v>58606.017405069048</c:v>
                </c:pt>
                <c:pt idx="2487">
                  <c:v>58618.58611734779</c:v>
                </c:pt>
                <c:pt idx="2488">
                  <c:v>58631.157525126684</c:v>
                </c:pt>
                <c:pt idx="2489">
                  <c:v>58643.731628983805</c:v>
                </c:pt>
                <c:pt idx="2490">
                  <c:v>58656.308429497352</c:v>
                </c:pt>
                <c:pt idx="2491">
                  <c:v>58668.887927245654</c:v>
                </c:pt>
                <c:pt idx="2492">
                  <c:v>58681.470122807157</c:v>
                </c:pt>
                <c:pt idx="2493">
                  <c:v>58694.055016760452</c:v>
                </c:pt>
                <c:pt idx="2494">
                  <c:v>58706.642609684226</c:v>
                </c:pt>
                <c:pt idx="2495">
                  <c:v>58719.23290215731</c:v>
                </c:pt>
                <c:pt idx="2496">
                  <c:v>57739.964658421137</c:v>
                </c:pt>
                <c:pt idx="2497">
                  <c:v>57752.347636055682</c:v>
                </c:pt>
                <c:pt idx="2498">
                  <c:v>57764.733269357501</c:v>
                </c:pt>
                <c:pt idx="2499">
                  <c:v>57777.121558896157</c:v>
                </c:pt>
                <c:pt idx="2500">
                  <c:v>57789.512505241284</c:v>
                </c:pt>
                <c:pt idx="2501">
                  <c:v>57801.90610896267</c:v>
                </c:pt>
                <c:pt idx="2502">
                  <c:v>57814.302370630227</c:v>
                </c:pt>
                <c:pt idx="2503">
                  <c:v>57826.701290813973</c:v>
                </c:pt>
                <c:pt idx="2504">
                  <c:v>57839.102870084062</c:v>
                </c:pt>
                <c:pt idx="2505">
                  <c:v>57851.507109010759</c:v>
                </c:pt>
                <c:pt idx="2506">
                  <c:v>57863.914008164458</c:v>
                </c:pt>
                <c:pt idx="2507">
                  <c:v>57876.32356811568</c:v>
                </c:pt>
                <c:pt idx="2508">
                  <c:v>57888.735789435064</c:v>
                </c:pt>
                <c:pt idx="2509">
                  <c:v>57901.150672693366</c:v>
                </c:pt>
                <c:pt idx="2510">
                  <c:v>57913.568218461463</c:v>
                </c:pt>
                <c:pt idx="2511">
                  <c:v>57925.988427310367</c:v>
                </c:pt>
                <c:pt idx="2512">
                  <c:v>57938.411299811196</c:v>
                </c:pt>
                <c:pt idx="2513">
                  <c:v>57950.836836535222</c:v>
                </c:pt>
                <c:pt idx="2514">
                  <c:v>57963.265038053789</c:v>
                </c:pt>
                <c:pt idx="2515">
                  <c:v>57975.695904938402</c:v>
                </c:pt>
                <c:pt idx="2516">
                  <c:v>57988.129437760683</c:v>
                </c:pt>
                <c:pt idx="2517">
                  <c:v>58000.565637092375</c:v>
                </c:pt>
                <c:pt idx="2518">
                  <c:v>58013.004503505334</c:v>
                </c:pt>
                <c:pt idx="2519">
                  <c:v>58025.446037571535</c:v>
                </c:pt>
                <c:pt idx="2520">
                  <c:v>58037.890239863103</c:v>
                </c:pt>
                <c:pt idx="2521">
                  <c:v>58050.33711095227</c:v>
                </c:pt>
                <c:pt idx="2522">
                  <c:v>58062.786651411385</c:v>
                </c:pt>
                <c:pt idx="2523">
                  <c:v>58075.238861812919</c:v>
                </c:pt>
                <c:pt idx="2524">
                  <c:v>58087.693742729476</c:v>
                </c:pt>
                <c:pt idx="2525">
                  <c:v>58100.151294733769</c:v>
                </c:pt>
                <c:pt idx="2526">
                  <c:v>58112.611518398662</c:v>
                </c:pt>
                <c:pt idx="2527">
                  <c:v>57133.21317795958</c:v>
                </c:pt>
                <c:pt idx="2528">
                  <c:v>57145.466030990538</c:v>
                </c:pt>
                <c:pt idx="2529">
                  <c:v>57157.721511782111</c:v>
                </c:pt>
                <c:pt idx="2530">
                  <c:v>57169.979620897844</c:v>
                </c:pt>
                <c:pt idx="2531">
                  <c:v>57182.240358901428</c:v>
                </c:pt>
                <c:pt idx="2532">
                  <c:v>57194.503726356648</c:v>
                </c:pt>
                <c:pt idx="2533">
                  <c:v>57206.769723827412</c:v>
                </c:pt>
                <c:pt idx="2534">
                  <c:v>57219.038351877767</c:v>
                </c:pt>
                <c:pt idx="2535">
                  <c:v>57231.309611071854</c:v>
                </c:pt>
                <c:pt idx="2536">
                  <c:v>57243.583501973975</c:v>
                </c:pt>
                <c:pt idx="2537">
                  <c:v>57255.860025148519</c:v>
                </c:pt>
                <c:pt idx="2538">
                  <c:v>57268.139181159997</c:v>
                </c:pt>
                <c:pt idx="2539">
                  <c:v>57280.420970573054</c:v>
                </c:pt>
                <c:pt idx="2540">
                  <c:v>57292.705393952449</c:v>
                </c:pt>
                <c:pt idx="2541">
                  <c:v>57304.99245186308</c:v>
                </c:pt>
                <c:pt idx="2542">
                  <c:v>57317.28214486994</c:v>
                </c:pt>
                <c:pt idx="2543">
                  <c:v>57329.57447353816</c:v>
                </c:pt>
                <c:pt idx="2544">
                  <c:v>57341.869438432979</c:v>
                </c:pt>
                <c:pt idx="2545">
                  <c:v>57354.167040119777</c:v>
                </c:pt>
                <c:pt idx="2546">
                  <c:v>57366.467279164033</c:v>
                </c:pt>
                <c:pt idx="2547">
                  <c:v>57378.770156131366</c:v>
                </c:pt>
                <c:pt idx="2548">
                  <c:v>57391.075671587503</c:v>
                </c:pt>
                <c:pt idx="2549">
                  <c:v>57403.383826098296</c:v>
                </c:pt>
                <c:pt idx="2550">
                  <c:v>57415.694620229719</c:v>
                </c:pt>
                <c:pt idx="2551">
                  <c:v>57428.008054547878</c:v>
                </c:pt>
                <c:pt idx="2552">
                  <c:v>57440.324129618974</c:v>
                </c:pt>
                <c:pt idx="2553">
                  <c:v>57452.642846009352</c:v>
                </c:pt>
                <c:pt idx="2554">
                  <c:v>57464.96420428549</c:v>
                </c:pt>
                <c:pt idx="2555">
                  <c:v>57477.288205013945</c:v>
                </c:pt>
                <c:pt idx="2556">
                  <c:v>57489.614848761441</c:v>
                </c:pt>
                <c:pt idx="2557">
                  <c:v>57501.944136094782</c:v>
                </c:pt>
                <c:pt idx="2558">
                  <c:v>56522.414831243404</c:v>
                </c:pt>
                <c:pt idx="2559">
                  <c:v>56534.536691775298</c:v>
                </c:pt>
                <c:pt idx="2560">
                  <c:v>56546.661151975008</c:v>
                </c:pt>
                <c:pt idx="2561">
                  <c:v>56558.788212400068</c:v>
                </c:pt>
                <c:pt idx="2562">
                  <c:v>56570.917873608108</c:v>
                </c:pt>
                <c:pt idx="2563">
                  <c:v>56583.050136156919</c:v>
                </c:pt>
                <c:pt idx="2564">
                  <c:v>56595.185000604368</c:v>
                </c:pt>
                <c:pt idx="2565">
                  <c:v>56607.322467508464</c:v>
                </c:pt>
                <c:pt idx="2566">
                  <c:v>56619.462537427338</c:v>
                </c:pt>
                <c:pt idx="2567">
                  <c:v>56631.605210919231</c:v>
                </c:pt>
                <c:pt idx="2568">
                  <c:v>56643.750488542515</c:v>
                </c:pt>
                <c:pt idx="2569">
                  <c:v>56655.898370855677</c:v>
                </c:pt>
                <c:pt idx="2570">
                  <c:v>56668.048858417307</c:v>
                </c:pt>
                <c:pt idx="2571">
                  <c:v>56680.201951786141</c:v>
                </c:pt>
                <c:pt idx="2572">
                  <c:v>56692.357651521022</c:v>
                </c:pt>
                <c:pt idx="2573">
                  <c:v>56704.51595818092</c:v>
                </c:pt>
                <c:pt idx="2574">
                  <c:v>56716.676872324912</c:v>
                </c:pt>
                <c:pt idx="2575">
                  <c:v>56728.840394512197</c:v>
                </c:pt>
                <c:pt idx="2576">
                  <c:v>56741.006525302095</c:v>
                </c:pt>
                <c:pt idx="2577">
                  <c:v>56753.17526525406</c:v>
                </c:pt>
                <c:pt idx="2578">
                  <c:v>56765.346614927657</c:v>
                </c:pt>
                <c:pt idx="2579">
                  <c:v>56777.520574882576</c:v>
                </c:pt>
                <c:pt idx="2580">
                  <c:v>56789.697145678605</c:v>
                </c:pt>
                <c:pt idx="2581">
                  <c:v>56801.876327875681</c:v>
                </c:pt>
                <c:pt idx="2582">
                  <c:v>56814.058122033843</c:v>
                </c:pt>
                <c:pt idx="2583">
                  <c:v>56826.242528713243</c:v>
                </c:pt>
                <c:pt idx="2584">
                  <c:v>56838.429548474182</c:v>
                </c:pt>
                <c:pt idx="2585">
                  <c:v>56850.619181877068</c:v>
                </c:pt>
                <c:pt idx="2586">
                  <c:v>56862.811429482404</c:v>
                </c:pt>
                <c:pt idx="2587">
                  <c:v>56875.006291850848</c:v>
                </c:pt>
                <c:pt idx="2588">
                  <c:v>55895.34253320565</c:v>
                </c:pt>
                <c:pt idx="2589">
                  <c:v>55907.329911108609</c:v>
                </c:pt>
                <c:pt idx="2590">
                  <c:v>55919.319859838099</c:v>
                </c:pt>
                <c:pt idx="2591">
                  <c:v>55931.312379945433</c:v>
                </c:pt>
                <c:pt idx="2592">
                  <c:v>55943.307471982094</c:v>
                </c:pt>
                <c:pt idx="2593">
                  <c:v>55955.305136499665</c:v>
                </c:pt>
                <c:pt idx="2594">
                  <c:v>55967.305374049836</c:v>
                </c:pt>
                <c:pt idx="2595">
                  <c:v>55979.308185184425</c:v>
                </c:pt>
                <c:pt idx="2596">
                  <c:v>55991.313570455357</c:v>
                </c:pt>
                <c:pt idx="2597">
                  <c:v>56003.321530414702</c:v>
                </c:pt>
                <c:pt idx="2598">
                  <c:v>56015.33206561461</c:v>
                </c:pt>
                <c:pt idx="2599">
                  <c:v>56027.345176607385</c:v>
                </c:pt>
                <c:pt idx="2600">
                  <c:v>56039.360863945425</c:v>
                </c:pt>
                <c:pt idx="2601">
                  <c:v>56051.379128181252</c:v>
                </c:pt>
                <c:pt idx="2602">
                  <c:v>56063.399969867518</c:v>
                </c:pt>
                <c:pt idx="2603">
                  <c:v>56075.423389557</c:v>
                </c:pt>
                <c:pt idx="2604">
                  <c:v>56087.449387802553</c:v>
                </c:pt>
                <c:pt idx="2605">
                  <c:v>56099.477965157188</c:v>
                </c:pt>
                <c:pt idx="2606">
                  <c:v>56111.509122174029</c:v>
                </c:pt>
                <c:pt idx="2607">
                  <c:v>56123.542859406298</c:v>
                </c:pt>
                <c:pt idx="2608">
                  <c:v>56135.579177407373</c:v>
                </c:pt>
                <c:pt idx="2609">
                  <c:v>56147.618076730709</c:v>
                </c:pt>
                <c:pt idx="2610">
                  <c:v>56159.659557929917</c:v>
                </c:pt>
                <c:pt idx="2611">
                  <c:v>56171.703621558692</c:v>
                </c:pt>
                <c:pt idx="2612">
                  <c:v>56183.750268170879</c:v>
                </c:pt>
                <c:pt idx="2613">
                  <c:v>56195.799498320426</c:v>
                </c:pt>
                <c:pt idx="2614">
                  <c:v>56207.851312561383</c:v>
                </c:pt>
                <c:pt idx="2615">
                  <c:v>56219.905711447951</c:v>
                </c:pt>
                <c:pt idx="2616">
                  <c:v>56231.962695534436</c:v>
                </c:pt>
                <c:pt idx="2617">
                  <c:v>56244.022265375264</c:v>
                </c:pt>
                <c:pt idx="2618">
                  <c:v>56256.084421524982</c:v>
                </c:pt>
                <c:pt idx="2619">
                  <c:v>55276.287928200727</c:v>
                </c:pt>
                <c:pt idx="2620">
                  <c:v>55288.142542958194</c:v>
                </c:pt>
                <c:pt idx="2621">
                  <c:v>55299.999700069653</c:v>
                </c:pt>
                <c:pt idx="2622">
                  <c:v>55311.859400080342</c:v>
                </c:pt>
                <c:pt idx="2623">
                  <c:v>55323.721643535602</c:v>
                </c:pt>
                <c:pt idx="2624">
                  <c:v>55335.586430980904</c:v>
                </c:pt>
                <c:pt idx="2625">
                  <c:v>55347.453762961843</c:v>
                </c:pt>
                <c:pt idx="2626">
                  <c:v>55359.323640024122</c:v>
                </c:pt>
                <c:pt idx="2627">
                  <c:v>55371.196062713563</c:v>
                </c:pt>
                <c:pt idx="2628">
                  <c:v>55383.071031576088</c:v>
                </c:pt>
                <c:pt idx="2629">
                  <c:v>55394.948547157772</c:v>
                </c:pt>
                <c:pt idx="2630">
                  <c:v>55406.828610004784</c:v>
                </c:pt>
                <c:pt idx="2631">
                  <c:v>55418.711220663397</c:v>
                </c:pt>
                <c:pt idx="2632">
                  <c:v>55430.596379680035</c:v>
                </c:pt>
                <c:pt idx="2633">
                  <c:v>55442.484087601224</c:v>
                </c:pt>
                <c:pt idx="2634">
                  <c:v>55454.374344973599</c:v>
                </c:pt>
                <c:pt idx="2635">
                  <c:v>55466.26715234392</c:v>
                </c:pt>
                <c:pt idx="2636">
                  <c:v>55478.162510259048</c:v>
                </c:pt>
                <c:pt idx="2637">
                  <c:v>55490.060419265996</c:v>
                </c:pt>
                <c:pt idx="2638">
                  <c:v>55501.960879911858</c:v>
                </c:pt>
                <c:pt idx="2639">
                  <c:v>55513.863892743873</c:v>
                </c:pt>
                <c:pt idx="2640">
                  <c:v>55525.769458309376</c:v>
                </c:pt>
                <c:pt idx="2641">
                  <c:v>55266.124348331126</c:v>
                </c:pt>
                <c:pt idx="2642">
                  <c:v>55277.976783395854</c:v>
                </c:pt>
                <c:pt idx="2643">
                  <c:v>55289.831760347115</c:v>
                </c:pt>
                <c:pt idx="2644">
                  <c:v>55301.689279730032</c:v>
                </c:pt>
                <c:pt idx="2645">
                  <c:v>55313.549342089864</c:v>
                </c:pt>
                <c:pt idx="2646">
                  <c:v>55325.411947971981</c:v>
                </c:pt>
                <c:pt idx="2647">
                  <c:v>55337.277097921869</c:v>
                </c:pt>
                <c:pt idx="2648">
                  <c:v>55349.144792485138</c:v>
                </c:pt>
                <c:pt idx="2649">
                  <c:v>54369.153795869992</c:v>
                </c:pt>
                <c:pt idx="2650">
                  <c:v>54380.813865623175</c:v>
                </c:pt>
                <c:pt idx="2651">
                  <c:v>54392.476436008001</c:v>
                </c:pt>
                <c:pt idx="2652">
                  <c:v>54404.141507560766</c:v>
                </c:pt>
                <c:pt idx="2653">
                  <c:v>54415.809080817868</c:v>
                </c:pt>
                <c:pt idx="2654">
                  <c:v>54427.479156315829</c:v>
                </c:pt>
                <c:pt idx="2655">
                  <c:v>54439.151734591287</c:v>
                </c:pt>
                <c:pt idx="2656">
                  <c:v>54450.826816180983</c:v>
                </c:pt>
                <c:pt idx="2657">
                  <c:v>54462.50440162178</c:v>
                </c:pt>
                <c:pt idx="2658">
                  <c:v>54474.184491450651</c:v>
                </c:pt>
                <c:pt idx="2659">
                  <c:v>54485.867086204707</c:v>
                </c:pt>
                <c:pt idx="2660">
                  <c:v>54497.552186421155</c:v>
                </c:pt>
                <c:pt idx="2661">
                  <c:v>54509.239792637309</c:v>
                </c:pt>
                <c:pt idx="2662">
                  <c:v>54520.929905390607</c:v>
                </c:pt>
                <c:pt idx="2663">
                  <c:v>54532.622525218605</c:v>
                </c:pt>
                <c:pt idx="2664">
                  <c:v>54544.317652658974</c:v>
                </c:pt>
                <c:pt idx="2665">
                  <c:v>54556.015288249502</c:v>
                </c:pt>
                <c:pt idx="2666">
                  <c:v>54567.715432528094</c:v>
                </c:pt>
                <c:pt idx="2667">
                  <c:v>54579.418086032754</c:v>
                </c:pt>
                <c:pt idx="2668">
                  <c:v>54591.123249301621</c:v>
                </c:pt>
                <c:pt idx="2669">
                  <c:v>54602.830922872949</c:v>
                </c:pt>
                <c:pt idx="2670">
                  <c:v>54614.541107285098</c:v>
                </c:pt>
                <c:pt idx="2671">
                  <c:v>53223.025775274778</c:v>
                </c:pt>
                <c:pt idx="2672">
                  <c:v>53234.44004512611</c:v>
                </c:pt>
                <c:pt idx="2673">
                  <c:v>53245.856762894575</c:v>
                </c:pt>
                <c:pt idx="2674">
                  <c:v>53257.275929105148</c:v>
                </c:pt>
                <c:pt idx="2675">
                  <c:v>53268.697544282928</c:v>
                </c:pt>
                <c:pt idx="2676">
                  <c:v>53280.121608953115</c:v>
                </c:pt>
                <c:pt idx="2677">
                  <c:v>53291.548123641027</c:v>
                </c:pt>
                <c:pt idx="2678">
                  <c:v>53302.97708887211</c:v>
                </c:pt>
                <c:pt idx="2679">
                  <c:v>53314.408505171908</c:v>
                </c:pt>
                <c:pt idx="2680">
                  <c:v>52333.981136728558</c:v>
                </c:pt>
                <c:pt idx="2681">
                  <c:v>52345.204741068752</c:v>
                </c:pt>
                <c:pt idx="2682">
                  <c:v>52356.430752435735</c:v>
                </c:pt>
                <c:pt idx="2683">
                  <c:v>52367.659171345709</c:v>
                </c:pt>
                <c:pt idx="2684">
                  <c:v>52378.889998315004</c:v>
                </c:pt>
                <c:pt idx="2685">
                  <c:v>52390.123233860068</c:v>
                </c:pt>
                <c:pt idx="2686">
                  <c:v>52401.358878497434</c:v>
                </c:pt>
                <c:pt idx="2687">
                  <c:v>52412.596932743749</c:v>
                </c:pt>
                <c:pt idx="2688">
                  <c:v>52423.8373971158</c:v>
                </c:pt>
                <c:pt idx="2689">
                  <c:v>52435.080272130464</c:v>
                </c:pt>
                <c:pt idx="2690">
                  <c:v>52446.325558304721</c:v>
                </c:pt>
                <c:pt idx="2691">
                  <c:v>52457.573256155665</c:v>
                </c:pt>
                <c:pt idx="2692">
                  <c:v>52468.82336620053</c:v>
                </c:pt>
                <c:pt idx="2693">
                  <c:v>52480.075888956628</c:v>
                </c:pt>
                <c:pt idx="2694">
                  <c:v>52491.330824941375</c:v>
                </c:pt>
                <c:pt idx="2695">
                  <c:v>52502.588174672332</c:v>
                </c:pt>
                <c:pt idx="2696">
                  <c:v>52513.847938667153</c:v>
                </c:pt>
                <c:pt idx="2697">
                  <c:v>52525.11011744359</c:v>
                </c:pt>
                <c:pt idx="2698">
                  <c:v>52536.374711519522</c:v>
                </c:pt>
                <c:pt idx="2699">
                  <c:v>52547.641721412947</c:v>
                </c:pt>
                <c:pt idx="2700">
                  <c:v>52558.911147641971</c:v>
                </c:pt>
                <c:pt idx="2701">
                  <c:v>52570.182990724796</c:v>
                </c:pt>
                <c:pt idx="2702">
                  <c:v>52581.457251179731</c:v>
                </c:pt>
                <c:pt idx="2703">
                  <c:v>52592.733929525224</c:v>
                </c:pt>
                <c:pt idx="2704">
                  <c:v>52604.013026279812</c:v>
                </c:pt>
                <c:pt idx="2705">
                  <c:v>52615.294541962154</c:v>
                </c:pt>
                <c:pt idx="2706">
                  <c:v>52626.57847709101</c:v>
                </c:pt>
                <c:pt idx="2707">
                  <c:v>52637.86483218526</c:v>
                </c:pt>
                <c:pt idx="2708">
                  <c:v>52649.153607763896</c:v>
                </c:pt>
                <c:pt idx="2709">
                  <c:v>52660.444804346007</c:v>
                </c:pt>
                <c:pt idx="2710">
                  <c:v>52671.738422450806</c:v>
                </c:pt>
                <c:pt idx="2711">
                  <c:v>51691.173226260114</c:v>
                </c:pt>
                <c:pt idx="2712">
                  <c:v>51702.258973294265</c:v>
                </c:pt>
                <c:pt idx="2713">
                  <c:v>51713.34709779016</c:v>
                </c:pt>
                <c:pt idx="2714">
                  <c:v>51724.43760025769</c:v>
                </c:pt>
                <c:pt idx="2715">
                  <c:v>51735.530481206821</c:v>
                </c:pt>
                <c:pt idx="2716">
                  <c:v>51746.625741147669</c:v>
                </c:pt>
                <c:pt idx="2717">
                  <c:v>51757.723380590411</c:v>
                </c:pt>
                <c:pt idx="2718">
                  <c:v>51768.823400045367</c:v>
                </c:pt>
                <c:pt idx="2719">
                  <c:v>51779.925800022953</c:v>
                </c:pt>
                <c:pt idx="2720">
                  <c:v>51791.030581033701</c:v>
                </c:pt>
                <c:pt idx="2721">
                  <c:v>51802.137743588253</c:v>
                </c:pt>
                <c:pt idx="2722">
                  <c:v>51813.247288197352</c:v>
                </c:pt>
                <c:pt idx="2723">
                  <c:v>51824.359215371864</c:v>
                </c:pt>
                <c:pt idx="2724">
                  <c:v>51835.473525622743</c:v>
                </c:pt>
                <c:pt idx="2725">
                  <c:v>51846.590219461075</c:v>
                </c:pt>
                <c:pt idx="2726">
                  <c:v>51857.709297398054</c:v>
                </c:pt>
                <c:pt idx="2727">
                  <c:v>51868.830759944962</c:v>
                </c:pt>
                <c:pt idx="2728">
                  <c:v>51879.95460761321</c:v>
                </c:pt>
                <c:pt idx="2729">
                  <c:v>51891.080840914321</c:v>
                </c:pt>
                <c:pt idx="2730">
                  <c:v>51902.209460359903</c:v>
                </c:pt>
                <c:pt idx="2731">
                  <c:v>51913.340466461712</c:v>
                </c:pt>
                <c:pt idx="2732">
                  <c:v>51924.473859731588</c:v>
                </c:pt>
                <c:pt idx="2733">
                  <c:v>51935.609640681483</c:v>
                </c:pt>
                <c:pt idx="2734">
                  <c:v>51946.747809823457</c:v>
                </c:pt>
                <c:pt idx="2735">
                  <c:v>51957.888367669686</c:v>
                </c:pt>
                <c:pt idx="2736">
                  <c:v>51969.031314732463</c:v>
                </c:pt>
                <c:pt idx="2737">
                  <c:v>51980.176651524169</c:v>
                </c:pt>
                <c:pt idx="2738">
                  <c:v>51991.324378557307</c:v>
                </c:pt>
                <c:pt idx="2739">
                  <c:v>51010.61326000699</c:v>
                </c:pt>
                <c:pt idx="2740">
                  <c:v>51021.553053386837</c:v>
                </c:pt>
                <c:pt idx="2741">
                  <c:v>51032.495192927061</c:v>
                </c:pt>
                <c:pt idx="2742">
                  <c:v>51043.43967913081</c:v>
                </c:pt>
                <c:pt idx="2743">
                  <c:v>51054.386512501362</c:v>
                </c:pt>
                <c:pt idx="2744">
                  <c:v>51065.335693542074</c:v>
                </c:pt>
                <c:pt idx="2745">
                  <c:v>51076.287222756451</c:v>
                </c:pt>
                <c:pt idx="2746">
                  <c:v>51087.241100648076</c:v>
                </c:pt>
                <c:pt idx="2747">
                  <c:v>51098.197327720649</c:v>
                </c:pt>
                <c:pt idx="2748">
                  <c:v>51109.155904477971</c:v>
                </c:pt>
                <c:pt idx="2749">
                  <c:v>51120.116831423969</c:v>
                </c:pt>
                <c:pt idx="2750">
                  <c:v>51131.080109062663</c:v>
                </c:pt>
                <c:pt idx="2751">
                  <c:v>51142.045737898188</c:v>
                </c:pt>
                <c:pt idx="2752">
                  <c:v>51153.013718434784</c:v>
                </c:pt>
                <c:pt idx="2753">
                  <c:v>51163.984051176791</c:v>
                </c:pt>
                <c:pt idx="2754">
                  <c:v>51174.956736628679</c:v>
                </c:pt>
                <c:pt idx="2755">
                  <c:v>51185.931775295008</c:v>
                </c:pt>
                <c:pt idx="2756">
                  <c:v>51196.909167680446</c:v>
                </c:pt>
                <c:pt idx="2757">
                  <c:v>51207.888914289782</c:v>
                </c:pt>
                <c:pt idx="2758">
                  <c:v>51218.871015627898</c:v>
                </c:pt>
                <c:pt idx="2759">
                  <c:v>51229.855472199793</c:v>
                </c:pt>
                <c:pt idx="2760">
                  <c:v>51240.842284510574</c:v>
                </c:pt>
                <c:pt idx="2761">
                  <c:v>51251.831453065453</c:v>
                </c:pt>
                <c:pt idx="2762">
                  <c:v>51262.822978369753</c:v>
                </c:pt>
                <c:pt idx="2763">
                  <c:v>51273.816860928921</c:v>
                </c:pt>
                <c:pt idx="2764">
                  <c:v>51284.813101248481</c:v>
                </c:pt>
                <c:pt idx="2765">
                  <c:v>51295.811699834077</c:v>
                </c:pt>
                <c:pt idx="2766">
                  <c:v>51306.812657191469</c:v>
                </c:pt>
                <c:pt idx="2767">
                  <c:v>51317.815973826531</c:v>
                </c:pt>
                <c:pt idx="2768">
                  <c:v>51328.821650245234</c:v>
                </c:pt>
                <c:pt idx="2769">
                  <c:v>51339.82968695365</c:v>
                </c:pt>
                <c:pt idx="2770">
                  <c:v>50358.97884812046</c:v>
                </c:pt>
                <c:pt idx="2771">
                  <c:v>50369.778891252863</c:v>
                </c:pt>
                <c:pt idx="2772">
                  <c:v>50380.581250574643</c:v>
                </c:pt>
                <c:pt idx="2773">
                  <c:v>50391.385926582538</c:v>
                </c:pt>
                <c:pt idx="2774">
                  <c:v>50402.19291977337</c:v>
                </c:pt>
                <c:pt idx="2775">
                  <c:v>50413.002230644088</c:v>
                </c:pt>
                <c:pt idx="2776">
                  <c:v>50423.813859691749</c:v>
                </c:pt>
                <c:pt idx="2777">
                  <c:v>50434.627807413519</c:v>
                </c:pt>
                <c:pt idx="2778">
                  <c:v>50445.444074306659</c:v>
                </c:pt>
                <c:pt idx="2779">
                  <c:v>50456.262660868531</c:v>
                </c:pt>
                <c:pt idx="2780">
                  <c:v>50467.08356759663</c:v>
                </c:pt>
                <c:pt idx="2781">
                  <c:v>50477.906794988536</c:v>
                </c:pt>
                <c:pt idx="2782">
                  <c:v>50488.732343541931</c:v>
                </c:pt>
                <c:pt idx="2783">
                  <c:v>50499.560213754616</c:v>
                </c:pt>
                <c:pt idx="2784">
                  <c:v>50510.390406124505</c:v>
                </c:pt>
                <c:pt idx="2785">
                  <c:v>50521.222921149601</c:v>
                </c:pt>
                <c:pt idx="2786">
                  <c:v>50532.05775932804</c:v>
                </c:pt>
                <c:pt idx="2787">
                  <c:v>50542.894921158026</c:v>
                </c:pt>
                <c:pt idx="2788">
                  <c:v>50553.734407137905</c:v>
                </c:pt>
                <c:pt idx="2789">
                  <c:v>50564.576217766116</c:v>
                </c:pt>
                <c:pt idx="2790">
                  <c:v>50575.420353541209</c:v>
                </c:pt>
                <c:pt idx="2791">
                  <c:v>50586.266814961826</c:v>
                </c:pt>
                <c:pt idx="2792">
                  <c:v>50597.115602526734</c:v>
                </c:pt>
                <c:pt idx="2793">
                  <c:v>50607.966716734809</c:v>
                </c:pt>
                <c:pt idx="2794">
                  <c:v>50618.820158085007</c:v>
                </c:pt>
                <c:pt idx="2795">
                  <c:v>50629.675927076423</c:v>
                </c:pt>
                <c:pt idx="2796">
                  <c:v>50640.534024208253</c:v>
                </c:pt>
                <c:pt idx="2797">
                  <c:v>50651.39444997978</c:v>
                </c:pt>
                <c:pt idx="2798">
                  <c:v>50662.257204890404</c:v>
                </c:pt>
                <c:pt idx="2799">
                  <c:v>50673.122289439641</c:v>
                </c:pt>
                <c:pt idx="2800">
                  <c:v>49692.128467789589</c:v>
                </c:pt>
                <c:pt idx="2801">
                  <c:v>49702.785497440891</c:v>
                </c:pt>
                <c:pt idx="2802">
                  <c:v>49713.444812610724</c:v>
                </c:pt>
                <c:pt idx="2803">
                  <c:v>49724.106413789261</c:v>
                </c:pt>
                <c:pt idx="2804">
                  <c:v>49734.770301466757</c:v>
                </c:pt>
                <c:pt idx="2805">
                  <c:v>49745.436476133567</c:v>
                </c:pt>
                <c:pt idx="2806">
                  <c:v>49756.104938280172</c:v>
                </c:pt>
                <c:pt idx="2807">
                  <c:v>49766.775688397145</c:v>
                </c:pt>
                <c:pt idx="2808">
                  <c:v>49777.448726975163</c:v>
                </c:pt>
                <c:pt idx="2809">
                  <c:v>49788.124054505017</c:v>
                </c:pt>
                <c:pt idx="2810">
                  <c:v>49798.801671477595</c:v>
                </c:pt>
                <c:pt idx="2811">
                  <c:v>49809.481578383893</c:v>
                </c:pt>
                <c:pt idx="2812">
                  <c:v>49820.163775715017</c:v>
                </c:pt>
                <c:pt idx="2813">
                  <c:v>49830.84826396218</c:v>
                </c:pt>
                <c:pt idx="2814">
                  <c:v>49841.535043616677</c:v>
                </c:pt>
                <c:pt idx="2815">
                  <c:v>49852.224115169935</c:v>
                </c:pt>
                <c:pt idx="2816">
                  <c:v>49862.915479113479</c:v>
                </c:pt>
                <c:pt idx="2817">
                  <c:v>49873.609135938932</c:v>
                </c:pt>
                <c:pt idx="2818">
                  <c:v>49884.305086138032</c:v>
                </c:pt>
                <c:pt idx="2819">
                  <c:v>49895.003330202628</c:v>
                </c:pt>
                <c:pt idx="2820">
                  <c:v>49905.703868624645</c:v>
                </c:pt>
                <c:pt idx="2821">
                  <c:v>49916.406701896143</c:v>
                </c:pt>
                <c:pt idx="2822">
                  <c:v>49927.111830509282</c:v>
                </c:pt>
                <c:pt idx="2823">
                  <c:v>49937.819254956325</c:v>
                </c:pt>
                <c:pt idx="2824">
                  <c:v>49948.528975729627</c:v>
                </c:pt>
                <c:pt idx="2825">
                  <c:v>49959.240993321662</c:v>
                </c:pt>
                <c:pt idx="2826">
                  <c:v>49969.95530822502</c:v>
                </c:pt>
                <c:pt idx="2827">
                  <c:v>49980.671920932386</c:v>
                </c:pt>
                <c:pt idx="2828">
                  <c:v>49991.390831936544</c:v>
                </c:pt>
                <c:pt idx="2829">
                  <c:v>50002.112041730383</c:v>
                </c:pt>
                <c:pt idx="2830">
                  <c:v>50012.835550806907</c:v>
                </c:pt>
                <c:pt idx="2831">
                  <c:v>49031.700123321709</c:v>
                </c:pt>
                <c:pt idx="2832">
                  <c:v>49042.215516768905</c:v>
                </c:pt>
                <c:pt idx="2833">
                  <c:v>49052.73316535919</c:v>
                </c:pt>
                <c:pt idx="2834">
                  <c:v>49063.253069576203</c:v>
                </c:pt>
                <c:pt idx="2835">
                  <c:v>49073.775229903673</c:v>
                </c:pt>
                <c:pt idx="2836">
                  <c:v>49084.299646825464</c:v>
                </c:pt>
                <c:pt idx="2837">
                  <c:v>49094.826320825523</c:v>
                </c:pt>
                <c:pt idx="2838">
                  <c:v>49105.355252387904</c:v>
                </c:pt>
                <c:pt idx="2839">
                  <c:v>49115.886441996765</c:v>
                </c:pt>
                <c:pt idx="2840">
                  <c:v>49126.419890136371</c:v>
                </c:pt>
                <c:pt idx="2841">
                  <c:v>49136.955597291089</c:v>
                </c:pt>
                <c:pt idx="2842">
                  <c:v>49147.493563945391</c:v>
                </c:pt>
                <c:pt idx="2843">
                  <c:v>49158.033790583853</c:v>
                </c:pt>
                <c:pt idx="2844">
                  <c:v>49168.576277691151</c:v>
                </c:pt>
                <c:pt idx="2845">
                  <c:v>49179.121025752058</c:v>
                </c:pt>
                <c:pt idx="2846">
                  <c:v>49189.668035251481</c:v>
                </c:pt>
                <c:pt idx="2847">
                  <c:v>49200.2173066744</c:v>
                </c:pt>
                <c:pt idx="2848">
                  <c:v>49210.768840505909</c:v>
                </c:pt>
                <c:pt idx="2849">
                  <c:v>49221.322637231206</c:v>
                </c:pt>
                <c:pt idx="2850">
                  <c:v>49231.878697335596</c:v>
                </c:pt>
                <c:pt idx="2851">
                  <c:v>49489.254042625871</c:v>
                </c:pt>
                <c:pt idx="2852">
                  <c:v>49499.867563600215</c:v>
                </c:pt>
                <c:pt idx="2853">
                  <c:v>49510.483360762184</c:v>
                </c:pt>
                <c:pt idx="2854">
                  <c:v>49521.101434599928</c:v>
                </c:pt>
                <c:pt idx="2855">
                  <c:v>49531.721785601701</c:v>
                </c:pt>
                <c:pt idx="2856">
                  <c:v>49542.34441425588</c:v>
                </c:pt>
                <c:pt idx="2857">
                  <c:v>49552.969321050921</c:v>
                </c:pt>
                <c:pt idx="2858">
                  <c:v>49563.596506475405</c:v>
                </c:pt>
                <c:pt idx="2859">
                  <c:v>49574.225971018001</c:v>
                </c:pt>
                <c:pt idx="2860">
                  <c:v>49584.857715167491</c:v>
                </c:pt>
                <c:pt idx="2861">
                  <c:v>48603.630503075256</c:v>
                </c:pt>
                <c:pt idx="2862">
                  <c:v>48614.054092231192</c:v>
                </c:pt>
                <c:pt idx="2863">
                  <c:v>48624.479916841745</c:v>
                </c:pt>
                <c:pt idx="2864">
                  <c:v>48634.907977386356</c:v>
                </c:pt>
                <c:pt idx="2865">
                  <c:v>48645.338274344533</c:v>
                </c:pt>
                <c:pt idx="2866">
                  <c:v>48655.770808195906</c:v>
                </c:pt>
                <c:pt idx="2867">
                  <c:v>48666.205579420202</c:v>
                </c:pt>
                <c:pt idx="2868">
                  <c:v>48676.642588497249</c:v>
                </c:pt>
                <c:pt idx="2869">
                  <c:v>48687.081835906974</c:v>
                </c:pt>
                <c:pt idx="2870">
                  <c:v>48697.523322129411</c:v>
                </c:pt>
                <c:pt idx="2871">
                  <c:v>48707.967047644706</c:v>
                </c:pt>
                <c:pt idx="2872">
                  <c:v>48718.413012933102</c:v>
                </c:pt>
                <c:pt idx="2873">
                  <c:v>48728.861218474936</c:v>
                </c:pt>
                <c:pt idx="2874">
                  <c:v>48739.311664750661</c:v>
                </c:pt>
                <c:pt idx="2875">
                  <c:v>48749.764352240833</c:v>
                </c:pt>
                <c:pt idx="2876">
                  <c:v>48760.219281426092</c:v>
                </c:pt>
                <c:pt idx="2877">
                  <c:v>48770.6764527872</c:v>
                </c:pt>
                <c:pt idx="2878">
                  <c:v>48781.135866805009</c:v>
                </c:pt>
                <c:pt idx="2879">
                  <c:v>48791.597523960496</c:v>
                </c:pt>
                <c:pt idx="2880">
                  <c:v>48802.061424734718</c:v>
                </c:pt>
                <c:pt idx="2881">
                  <c:v>49365.540382087536</c:v>
                </c:pt>
                <c:pt idx="2882">
                  <c:v>49376.127371291368</c:v>
                </c:pt>
                <c:pt idx="2883">
                  <c:v>49386.716630992792</c:v>
                </c:pt>
                <c:pt idx="2884">
                  <c:v>49397.308161678746</c:v>
                </c:pt>
                <c:pt idx="2885">
                  <c:v>49407.901963836252</c:v>
                </c:pt>
                <c:pt idx="2886">
                  <c:v>49418.498037952457</c:v>
                </c:pt>
                <c:pt idx="2887">
                  <c:v>49429.096384514611</c:v>
                </c:pt>
                <c:pt idx="2888">
                  <c:v>49439.697004010064</c:v>
                </c:pt>
                <c:pt idx="2889">
                  <c:v>49450.299896926277</c:v>
                </c:pt>
                <c:pt idx="2890">
                  <c:v>49460.905063750804</c:v>
                </c:pt>
                <c:pt idx="2891">
                  <c:v>49471.512504971317</c:v>
                </c:pt>
                <c:pt idx="2892">
                  <c:v>48490.260984738066</c:v>
                </c:pt>
                <c:pt idx="2893">
                  <c:v>48500.660260539837</c:v>
                </c:pt>
                <c:pt idx="2894">
                  <c:v>48511.061766581966</c:v>
                </c:pt>
                <c:pt idx="2895">
                  <c:v>48521.465503342755</c:v>
                </c:pt>
                <c:pt idx="2896">
                  <c:v>48531.871471300605</c:v>
                </c:pt>
                <c:pt idx="2897">
                  <c:v>48542.279670934033</c:v>
                </c:pt>
                <c:pt idx="2898">
                  <c:v>48552.690102721637</c:v>
                </c:pt>
                <c:pt idx="2899">
                  <c:v>48563.102767142125</c:v>
                </c:pt>
                <c:pt idx="2900">
                  <c:v>48573.517664674306</c:v>
                </c:pt>
                <c:pt idx="2901">
                  <c:v>48583.934795797104</c:v>
                </c:pt>
                <c:pt idx="2902">
                  <c:v>48594.354160989547</c:v>
                </c:pt>
                <c:pt idx="2903">
                  <c:v>48604.775760730736</c:v>
                </c:pt>
                <c:pt idx="2904">
                  <c:v>48615.199595499907</c:v>
                </c:pt>
                <c:pt idx="2905">
                  <c:v>48625.625665776388</c:v>
                </c:pt>
                <c:pt idx="2906">
                  <c:v>48636.053972039597</c:v>
                </c:pt>
                <c:pt idx="2907">
                  <c:v>48646.484514769079</c:v>
                </c:pt>
                <c:pt idx="2908">
                  <c:v>48656.917294444458</c:v>
                </c:pt>
                <c:pt idx="2909">
                  <c:v>48667.352311545481</c:v>
                </c:pt>
                <c:pt idx="2910">
                  <c:v>48677.78956655199</c:v>
                </c:pt>
                <c:pt idx="2911">
                  <c:v>48573.361039512798</c:v>
                </c:pt>
                <c:pt idx="2912">
                  <c:v>48583.778137045592</c:v>
                </c:pt>
                <c:pt idx="2913">
                  <c:v>48594.197468640828</c:v>
                </c:pt>
                <c:pt idx="2914">
                  <c:v>48604.619034777606</c:v>
                </c:pt>
                <c:pt idx="2915">
                  <c:v>48615.04283593515</c:v>
                </c:pt>
                <c:pt idx="2916">
                  <c:v>48625.468872592792</c:v>
                </c:pt>
                <c:pt idx="2917">
                  <c:v>48635.897145229959</c:v>
                </c:pt>
                <c:pt idx="2918">
                  <c:v>48646.327654326182</c:v>
                </c:pt>
                <c:pt idx="2919">
                  <c:v>48656.76040036109</c:v>
                </c:pt>
                <c:pt idx="2920">
                  <c:v>48667.195383814433</c:v>
                </c:pt>
                <c:pt idx="2921">
                  <c:v>48677.632605166029</c:v>
                </c:pt>
                <c:pt idx="2922">
                  <c:v>48688.072064895845</c:v>
                </c:pt>
                <c:pt idx="2923">
                  <c:v>47706.652527146391</c:v>
                </c:pt>
                <c:pt idx="2924">
                  <c:v>47716.88374939873</c:v>
                </c:pt>
                <c:pt idx="2925">
                  <c:v>47727.117165850475</c:v>
                </c:pt>
                <c:pt idx="2926">
                  <c:v>47737.352776972213</c:v>
                </c:pt>
                <c:pt idx="2927">
                  <c:v>47747.590583234596</c:v>
                </c:pt>
                <c:pt idx="2928">
                  <c:v>47757.830585108401</c:v>
                </c:pt>
                <c:pt idx="2929">
                  <c:v>47768.072783064497</c:v>
                </c:pt>
                <c:pt idx="2930">
                  <c:v>47778.317177573859</c:v>
                </c:pt>
                <c:pt idx="2931">
                  <c:v>47788.563769107583</c:v>
                </c:pt>
                <c:pt idx="2932">
                  <c:v>47798.812558136822</c:v>
                </c:pt>
                <c:pt idx="2933">
                  <c:v>47809.063545132864</c:v>
                </c:pt>
                <c:pt idx="2934">
                  <c:v>47819.316730567087</c:v>
                </c:pt>
                <c:pt idx="2935">
                  <c:v>47829.572114910959</c:v>
                </c:pt>
                <c:pt idx="2936">
                  <c:v>47839.829698636073</c:v>
                </c:pt>
                <c:pt idx="2937">
                  <c:v>47850.089482214105</c:v>
                </c:pt>
                <c:pt idx="2938">
                  <c:v>47860.351466116845</c:v>
                </c:pt>
                <c:pt idx="2939">
                  <c:v>47870.615650816166</c:v>
                </c:pt>
                <c:pt idx="2940">
                  <c:v>47880.882036784053</c:v>
                </c:pt>
                <c:pt idx="2941">
                  <c:v>47891.150624492606</c:v>
                </c:pt>
                <c:pt idx="2942">
                  <c:v>47901.421414414006</c:v>
                </c:pt>
                <c:pt idx="2943">
                  <c:v>47911.69440702055</c:v>
                </c:pt>
                <c:pt idx="2944">
                  <c:v>47921.969602784608</c:v>
                </c:pt>
                <c:pt idx="2945">
                  <c:v>47932.247002178694</c:v>
                </c:pt>
                <c:pt idx="2946">
                  <c:v>47942.526605675383</c:v>
                </c:pt>
                <c:pt idx="2947">
                  <c:v>47952.808413747371</c:v>
                </c:pt>
                <c:pt idx="2948">
                  <c:v>47963.092426867464</c:v>
                </c:pt>
                <c:pt idx="2949">
                  <c:v>47973.378645508557</c:v>
                </c:pt>
                <c:pt idx="2950">
                  <c:v>47983.667070143645</c:v>
                </c:pt>
                <c:pt idx="2951">
                  <c:v>47993.957701245825</c:v>
                </c:pt>
                <c:pt idx="2952">
                  <c:v>48004.250539288303</c:v>
                </c:pt>
                <c:pt idx="2953">
                  <c:v>47022.684348406874</c:v>
                </c:pt>
                <c:pt idx="2954">
                  <c:v>47032.768886075835</c:v>
                </c:pt>
                <c:pt idx="2955">
                  <c:v>47042.855586486068</c:v>
                </c:pt>
                <c:pt idx="2956">
                  <c:v>47052.944450101393</c:v>
                </c:pt>
                <c:pt idx="2957">
                  <c:v>47063.03547738574</c:v>
                </c:pt>
                <c:pt idx="2958">
                  <c:v>47073.128668803125</c:v>
                </c:pt>
                <c:pt idx="2959">
                  <c:v>47083.224024817668</c:v>
                </c:pt>
                <c:pt idx="2960">
                  <c:v>47093.321545893588</c:v>
                </c:pt>
                <c:pt idx="2961">
                  <c:v>47103.421232495217</c:v>
                </c:pt>
                <c:pt idx="2962">
                  <c:v>47113.523085086978</c:v>
                </c:pt>
                <c:pt idx="2963">
                  <c:v>47123.627104133375</c:v>
                </c:pt>
                <c:pt idx="2964">
                  <c:v>47133.733290099044</c:v>
                </c:pt>
                <c:pt idx="2965">
                  <c:v>47143.841643448701</c:v>
                </c:pt>
                <c:pt idx="2966">
                  <c:v>47153.952164647162</c:v>
                </c:pt>
                <c:pt idx="2967">
                  <c:v>47164.06485415934</c:v>
                </c:pt>
                <c:pt idx="2968">
                  <c:v>47174.17971245027</c:v>
                </c:pt>
                <c:pt idx="2969">
                  <c:v>47184.296739985068</c:v>
                </c:pt>
                <c:pt idx="2970">
                  <c:v>47194.415937228943</c:v>
                </c:pt>
                <c:pt idx="2971">
                  <c:v>47204.537304647216</c:v>
                </c:pt>
                <c:pt idx="2972">
                  <c:v>47214.6608427053</c:v>
                </c:pt>
                <c:pt idx="2973">
                  <c:v>47224.786551868732</c:v>
                </c:pt>
                <c:pt idx="2974">
                  <c:v>47234.914432603109</c:v>
                </c:pt>
                <c:pt idx="2975">
                  <c:v>47245.044485374165</c:v>
                </c:pt>
                <c:pt idx="2976">
                  <c:v>47255.176710647705</c:v>
                </c:pt>
                <c:pt idx="2977">
                  <c:v>47265.311108889648</c:v>
                </c:pt>
                <c:pt idx="2978">
                  <c:v>47275.447680566023</c:v>
                </c:pt>
                <c:pt idx="2979">
                  <c:v>47285.586426142931</c:v>
                </c:pt>
                <c:pt idx="2980">
                  <c:v>47295.727346086598</c:v>
                </c:pt>
                <c:pt idx="2981">
                  <c:v>47305.870440863342</c:v>
                </c:pt>
                <c:pt idx="2982">
                  <c:v>47316.01571093958</c:v>
                </c:pt>
                <c:pt idx="2983">
                  <c:v>47326.163156781819</c:v>
                </c:pt>
                <c:pt idx="2984">
                  <c:v>46344.451542519164</c:v>
                </c:pt>
                <c:pt idx="2985">
                  <c:v>46354.390625619249</c:v>
                </c:pt>
                <c:pt idx="2986">
                  <c:v>46364.331840266255</c:v>
                </c:pt>
                <c:pt idx="2987">
                  <c:v>46374.275186917315</c:v>
                </c:pt>
                <c:pt idx="2988">
                  <c:v>46384.220666029658</c:v>
                </c:pt>
                <c:pt idx="2989">
                  <c:v>46394.168278060621</c:v>
                </c:pt>
                <c:pt idx="2990">
                  <c:v>46404.118023467621</c:v>
                </c:pt>
                <c:pt idx="2991">
                  <c:v>46414.069902708194</c:v>
                </c:pt>
                <c:pt idx="2992">
                  <c:v>46424.023916239959</c:v>
                </c:pt>
                <c:pt idx="2993">
                  <c:v>46433.980064520641</c:v>
                </c:pt>
                <c:pt idx="2994">
                  <c:v>46443.938348008058</c:v>
                </c:pt>
                <c:pt idx="2995">
                  <c:v>46453.898767160128</c:v>
                </c:pt>
                <c:pt idx="2996">
                  <c:v>46463.861322434866</c:v>
                </c:pt>
                <c:pt idx="2997">
                  <c:v>46473.826014290389</c:v>
                </c:pt>
                <c:pt idx="2998">
                  <c:v>46483.792843184914</c:v>
                </c:pt>
                <c:pt idx="2999">
                  <c:v>46493.761809576754</c:v>
                </c:pt>
                <c:pt idx="3000">
                  <c:v>46503.732913924316</c:v>
                </c:pt>
                <c:pt idx="3001">
                  <c:v>46513.706156686116</c:v>
                </c:pt>
                <c:pt idx="3002">
                  <c:v>46523.68153832075</c:v>
                </c:pt>
                <c:pt idx="3003">
                  <c:v>46533.659059286925</c:v>
                </c:pt>
                <c:pt idx="3004">
                  <c:v>46543.638720043447</c:v>
                </c:pt>
                <c:pt idx="3005">
                  <c:v>46553.620521049219</c:v>
                </c:pt>
                <c:pt idx="3006">
                  <c:v>46563.604462763236</c:v>
                </c:pt>
                <c:pt idx="3007">
                  <c:v>46573.590545644598</c:v>
                </c:pt>
                <c:pt idx="3008">
                  <c:v>46583.578770152511</c:v>
                </c:pt>
                <c:pt idx="3009">
                  <c:v>46593.569136746257</c:v>
                </c:pt>
                <c:pt idx="3010">
                  <c:v>46603.561645885246</c:v>
                </c:pt>
                <c:pt idx="3011">
                  <c:v>46613.556298028961</c:v>
                </c:pt>
                <c:pt idx="3012">
                  <c:v>46623.553093636998</c:v>
                </c:pt>
                <c:pt idx="3013">
                  <c:v>46633.552033169035</c:v>
                </c:pt>
                <c:pt idx="3014">
                  <c:v>45651.691880747356</c:v>
                </c:pt>
                <c:pt idx="3015">
                  <c:v>45661.482393832754</c:v>
                </c:pt>
                <c:pt idx="3016">
                  <c:v>45671.275006602576</c:v>
                </c:pt>
                <c:pt idx="3017">
                  <c:v>45681.069719507126</c:v>
                </c:pt>
                <c:pt idx="3018">
                  <c:v>45690.866532996799</c:v>
                </c:pt>
                <c:pt idx="3019">
                  <c:v>45700.665447522093</c:v>
                </c:pt>
                <c:pt idx="3020">
                  <c:v>45710.466463533587</c:v>
                </c:pt>
                <c:pt idx="3021">
                  <c:v>45720.269581481974</c:v>
                </c:pt>
                <c:pt idx="3022">
                  <c:v>45730.074801818046</c:v>
                </c:pt>
                <c:pt idx="3023">
                  <c:v>45739.882124992677</c:v>
                </c:pt>
                <c:pt idx="3024">
                  <c:v>45749.691551456846</c:v>
                </c:pt>
                <c:pt idx="3025">
                  <c:v>45759.503081661627</c:v>
                </c:pt>
                <c:pt idx="3026">
                  <c:v>45769.316716058187</c:v>
                </c:pt>
                <c:pt idx="3027">
                  <c:v>45779.132455097795</c:v>
                </c:pt>
                <c:pt idx="3028">
                  <c:v>45788.950299231816</c:v>
                </c:pt>
                <c:pt idx="3029">
                  <c:v>45798.770248911715</c:v>
                </c:pt>
                <c:pt idx="3030">
                  <c:v>45808.592304589045</c:v>
                </c:pt>
                <c:pt idx="3031">
                  <c:v>45818.416466715455</c:v>
                </c:pt>
                <c:pt idx="3032">
                  <c:v>45828.2427357427</c:v>
                </c:pt>
                <c:pt idx="3033">
                  <c:v>45838.071112122634</c:v>
                </c:pt>
                <c:pt idx="3034">
                  <c:v>45847.901596307202</c:v>
                </c:pt>
                <c:pt idx="3035">
                  <c:v>45857.734188748444</c:v>
                </c:pt>
                <c:pt idx="3036">
                  <c:v>45867.568889898495</c:v>
                </c:pt>
                <c:pt idx="3037">
                  <c:v>45877.405700209594</c:v>
                </c:pt>
                <c:pt idx="3038">
                  <c:v>45887.244620134079</c:v>
                </c:pt>
                <c:pt idx="3039">
                  <c:v>45897.085650124376</c:v>
                </c:pt>
                <c:pt idx="3040">
                  <c:v>45906.928790633006</c:v>
                </c:pt>
                <c:pt idx="3041">
                  <c:v>45916.7740421126</c:v>
                </c:pt>
                <c:pt idx="3042">
                  <c:v>45926.621405015874</c:v>
                </c:pt>
                <c:pt idx="3043">
                  <c:v>45936.470879795655</c:v>
                </c:pt>
                <c:pt idx="3044">
                  <c:v>45946.32246690485</c:v>
                </c:pt>
                <c:pt idx="3045">
                  <c:v>44964.314930458961</c:v>
                </c:pt>
                <c:pt idx="3046">
                  <c:v>44973.958027912005</c:v>
                </c:pt>
                <c:pt idx="3047">
                  <c:v>44983.603193434552</c:v>
                </c:pt>
                <c:pt idx="3048">
                  <c:v>44993.250427470128</c:v>
                </c:pt>
                <c:pt idx="3049">
                  <c:v>45002.899730462348</c:v>
                </c:pt>
                <c:pt idx="3050">
                  <c:v>45012.551102854908</c:v>
                </c:pt>
                <c:pt idx="3051">
                  <c:v>45022.204545091627</c:v>
                </c:pt>
                <c:pt idx="3052">
                  <c:v>45031.86005761641</c:v>
                </c:pt>
                <c:pt idx="3053">
                  <c:v>45041.517640873244</c:v>
                </c:pt>
                <c:pt idx="3054">
                  <c:v>45051.177295306225</c:v>
                </c:pt>
                <c:pt idx="3055">
                  <c:v>45060.839021359541</c:v>
                </c:pt>
                <c:pt idx="3056">
                  <c:v>45070.502819477471</c:v>
                </c:pt>
                <c:pt idx="3057">
                  <c:v>45080.168690104394</c:v>
                </c:pt>
                <c:pt idx="3058">
                  <c:v>45089.836633684783</c:v>
                </c:pt>
                <c:pt idx="3059">
                  <c:v>45099.506650663199</c:v>
                </c:pt>
                <c:pt idx="3060">
                  <c:v>45109.178741484313</c:v>
                </c:pt>
                <c:pt idx="3061">
                  <c:v>45680.695022988126</c:v>
                </c:pt>
                <c:pt idx="3062">
                  <c:v>45690.491756119962</c:v>
                </c:pt>
                <c:pt idx="3063">
                  <c:v>45700.290590270175</c:v>
                </c:pt>
                <c:pt idx="3064">
                  <c:v>45710.091525889366</c:v>
                </c:pt>
                <c:pt idx="3065">
                  <c:v>45719.894563428214</c:v>
                </c:pt>
                <c:pt idx="3066">
                  <c:v>45729.699703337486</c:v>
                </c:pt>
                <c:pt idx="3067">
                  <c:v>45739.506946068068</c:v>
                </c:pt>
                <c:pt idx="3068">
                  <c:v>45749.316292070936</c:v>
                </c:pt>
                <c:pt idx="3069">
                  <c:v>45759.127741797158</c:v>
                </c:pt>
                <c:pt idx="3070">
                  <c:v>45768.941295697907</c:v>
                </c:pt>
                <c:pt idx="3071">
                  <c:v>45778.756954224446</c:v>
                </c:pt>
                <c:pt idx="3072">
                  <c:v>45788.574717828131</c:v>
                </c:pt>
                <c:pt idx="3073">
                  <c:v>45798.394586960429</c:v>
                </c:pt>
                <c:pt idx="3074">
                  <c:v>45808.216562072877</c:v>
                </c:pt>
                <c:pt idx="3075">
                  <c:v>45818.040643617125</c:v>
                </c:pt>
                <c:pt idx="3076">
                  <c:v>44836.005595707429</c:v>
                </c:pt>
                <c:pt idx="3077">
                  <c:v>44845.621175796514</c:v>
                </c:pt>
                <c:pt idx="3078">
                  <c:v>44855.238818053702</c:v>
                </c:pt>
                <c:pt idx="3079">
                  <c:v>44864.85852292124</c:v>
                </c:pt>
                <c:pt idx="3080">
                  <c:v>44874.480290841486</c:v>
                </c:pt>
                <c:pt idx="3081">
                  <c:v>44884.104122256875</c:v>
                </c:pt>
                <c:pt idx="3082">
                  <c:v>44893.730017609952</c:v>
                </c:pt>
                <c:pt idx="3083">
                  <c:v>44903.357977343352</c:v>
                </c:pt>
                <c:pt idx="3084">
                  <c:v>44912.988001899801</c:v>
                </c:pt>
                <c:pt idx="3085">
                  <c:v>44922.620091722129</c:v>
                </c:pt>
                <c:pt idx="3086">
                  <c:v>44932.254247253251</c:v>
                </c:pt>
                <c:pt idx="3087">
                  <c:v>44941.890468936188</c:v>
                </c:pt>
                <c:pt idx="3088">
                  <c:v>44951.528757214044</c:v>
                </c:pt>
                <c:pt idx="3089">
                  <c:v>44961.16911253002</c:v>
                </c:pt>
                <c:pt idx="3090">
                  <c:v>44970.811535327419</c:v>
                </c:pt>
                <c:pt idx="3091">
                  <c:v>45124.171077348234</c:v>
                </c:pt>
                <c:pt idx="3092">
                  <c:v>45133.848457729975</c:v>
                </c:pt>
                <c:pt idx="3093">
                  <c:v>45143.52791353358</c:v>
                </c:pt>
                <c:pt idx="3094">
                  <c:v>45153.209445204142</c:v>
                </c:pt>
                <c:pt idx="3095">
                  <c:v>45162.893053186854</c:v>
                </c:pt>
                <c:pt idx="3096">
                  <c:v>45172.578737927004</c:v>
                </c:pt>
                <c:pt idx="3097">
                  <c:v>45182.266499869977</c:v>
                </c:pt>
                <c:pt idx="3098">
                  <c:v>45191.956339461249</c:v>
                </c:pt>
                <c:pt idx="3099">
                  <c:v>45201.6482571464</c:v>
                </c:pt>
                <c:pt idx="3100">
                  <c:v>45211.342253371098</c:v>
                </c:pt>
                <c:pt idx="3101">
                  <c:v>45221.038328581104</c:v>
                </c:pt>
                <c:pt idx="3102">
                  <c:v>45230.736483222281</c:v>
                </c:pt>
                <c:pt idx="3103">
                  <c:v>45240.436717740595</c:v>
                </c:pt>
                <c:pt idx="3104">
                  <c:v>45250.139032582098</c:v>
                </c:pt>
                <c:pt idx="3105">
                  <c:v>44267.982191855408</c:v>
                </c:pt>
                <c:pt idx="3106">
                  <c:v>44277.475953007692</c:v>
                </c:pt>
                <c:pt idx="3107">
                  <c:v>44286.971750202647</c:v>
                </c:pt>
                <c:pt idx="3108">
                  <c:v>44296.469583876918</c:v>
                </c:pt>
                <c:pt idx="3109">
                  <c:v>44305.969454467267</c:v>
                </c:pt>
                <c:pt idx="3110">
                  <c:v>44315.471362410535</c:v>
                </c:pt>
                <c:pt idx="3111">
                  <c:v>44324.975308143643</c:v>
                </c:pt>
                <c:pt idx="3112">
                  <c:v>44334.481292103614</c:v>
                </c:pt>
                <c:pt idx="3113">
                  <c:v>44343.98931472758</c:v>
                </c:pt>
                <c:pt idx="3114">
                  <c:v>44353.499376452746</c:v>
                </c:pt>
                <c:pt idx="3115">
                  <c:v>44363.011477716427</c:v>
                </c:pt>
                <c:pt idx="3116">
                  <c:v>44372.525618956024</c:v>
                </c:pt>
                <c:pt idx="3117">
                  <c:v>38935.724766912768</c:v>
                </c:pt>
                <c:pt idx="3118">
                  <c:v>38944.074966152162</c:v>
                </c:pt>
                <c:pt idx="3119">
                  <c:v>38952.426956184667</c:v>
                </c:pt>
                <c:pt idx="3120">
                  <c:v>38960.780737394321</c:v>
                </c:pt>
                <c:pt idx="3121">
                  <c:v>38969.136310165275</c:v>
                </c:pt>
                <c:pt idx="3122">
                  <c:v>38977.493674881742</c:v>
                </c:pt>
                <c:pt idx="3123">
                  <c:v>38985.85283192803</c:v>
                </c:pt>
                <c:pt idx="3124">
                  <c:v>38994.213781688522</c:v>
                </c:pt>
                <c:pt idx="3125">
                  <c:v>39002.57652454768</c:v>
                </c:pt>
                <c:pt idx="3126">
                  <c:v>39010.941060890058</c:v>
                </c:pt>
                <c:pt idx="3127">
                  <c:v>39019.307391100294</c:v>
                </c:pt>
                <c:pt idx="3128">
                  <c:v>39027.675515563089</c:v>
                </c:pt>
                <c:pt idx="3129">
                  <c:v>39036.045434663254</c:v>
                </c:pt>
                <c:pt idx="3130">
                  <c:v>39044.417148785666</c:v>
                </c:pt>
                <c:pt idx="3131">
                  <c:v>39052.790658315287</c:v>
                </c:pt>
                <c:pt idx="3132">
                  <c:v>39061.165963637162</c:v>
                </c:pt>
                <c:pt idx="3133">
                  <c:v>39069.543065136422</c:v>
                </c:pt>
                <c:pt idx="3134">
                  <c:v>39077.921963198271</c:v>
                </c:pt>
                <c:pt idx="3135">
                  <c:v>39086.302658207991</c:v>
                </c:pt>
                <c:pt idx="3136">
                  <c:v>38102.823914213463</c:v>
                </c:pt>
                <c:pt idx="3137">
                  <c:v>38110.995488601046</c:v>
                </c:pt>
                <c:pt idx="3138">
                  <c:v>38119.168815473648</c:v>
                </c:pt>
                <c:pt idx="3139">
                  <c:v>38127.343895207101</c:v>
                </c:pt>
                <c:pt idx="3140">
                  <c:v>38135.520728177333</c:v>
                </c:pt>
                <c:pt idx="3141">
                  <c:v>38143.699314760343</c:v>
                </c:pt>
                <c:pt idx="3142">
                  <c:v>38151.87965533221</c:v>
                </c:pt>
                <c:pt idx="3143">
                  <c:v>38160.061750269102</c:v>
                </c:pt>
                <c:pt idx="3144">
                  <c:v>38168.245599947259</c:v>
                </c:pt>
                <c:pt idx="3145">
                  <c:v>38176.431204742999</c:v>
                </c:pt>
                <c:pt idx="3146">
                  <c:v>38184.618565032732</c:v>
                </c:pt>
                <c:pt idx="3147">
                  <c:v>38192.807681192942</c:v>
                </c:pt>
                <c:pt idx="3148">
                  <c:v>38200.998553600199</c:v>
                </c:pt>
                <c:pt idx="3149">
                  <c:v>38209.191182631148</c:v>
                </c:pt>
                <c:pt idx="3150">
                  <c:v>38217.385568662517</c:v>
                </c:pt>
                <c:pt idx="3151">
                  <c:v>38225.581712071114</c:v>
                </c:pt>
                <c:pt idx="3152">
                  <c:v>38233.779613233826</c:v>
                </c:pt>
                <c:pt idx="3153">
                  <c:v>38241.979272527613</c:v>
                </c:pt>
                <c:pt idx="3154">
                  <c:v>38250.180690329544</c:v>
                </c:pt>
                <c:pt idx="3155">
                  <c:v>38258.383867016746</c:v>
                </c:pt>
                <c:pt idx="3156">
                  <c:v>38266.588802966427</c:v>
                </c:pt>
                <c:pt idx="3157">
                  <c:v>38274.795498555883</c:v>
                </c:pt>
                <c:pt idx="3158">
                  <c:v>38283.003954162486</c:v>
                </c:pt>
                <c:pt idx="3159">
                  <c:v>38291.214170163687</c:v>
                </c:pt>
                <c:pt idx="3160">
                  <c:v>38299.426146937025</c:v>
                </c:pt>
                <c:pt idx="3161">
                  <c:v>38307.639884860124</c:v>
                </c:pt>
                <c:pt idx="3162">
                  <c:v>38315.855384310678</c:v>
                </c:pt>
                <c:pt idx="3163">
                  <c:v>38324.072645666471</c:v>
                </c:pt>
                <c:pt idx="3164">
                  <c:v>38332.291669305356</c:v>
                </c:pt>
                <c:pt idx="3165">
                  <c:v>38340.512455605276</c:v>
                </c:pt>
                <c:pt idx="3166">
                  <c:v>37356.87376860674</c:v>
                </c:pt>
                <c:pt idx="3167">
                  <c:v>37364.885365688759</c:v>
                </c:pt>
                <c:pt idx="3168">
                  <c:v>37372.898680946877</c:v>
                </c:pt>
                <c:pt idx="3169">
                  <c:v>37380.913714749586</c:v>
                </c:pt>
                <c:pt idx="3170">
                  <c:v>37388.930467465434</c:v>
                </c:pt>
                <c:pt idx="3171">
                  <c:v>37396.948939463073</c:v>
                </c:pt>
                <c:pt idx="3172">
                  <c:v>37404.969131111218</c:v>
                </c:pt>
                <c:pt idx="3173">
                  <c:v>37412.991042778667</c:v>
                </c:pt>
                <c:pt idx="3174">
                  <c:v>37421.014674834303</c:v>
                </c:pt>
                <c:pt idx="3175">
                  <c:v>37429.040027647061</c:v>
                </c:pt>
                <c:pt idx="3176">
                  <c:v>37437.067101586006</c:v>
                </c:pt>
                <c:pt idx="3177">
                  <c:v>37445.095897020226</c:v>
                </c:pt>
                <c:pt idx="3178">
                  <c:v>37453.126414318933</c:v>
                </c:pt>
                <c:pt idx="3179">
                  <c:v>37461.158653851395</c:v>
                </c:pt>
                <c:pt idx="3180">
                  <c:v>37469.192615986962</c:v>
                </c:pt>
                <c:pt idx="3181">
                  <c:v>37650.59158822547</c:v>
                </c:pt>
                <c:pt idx="3182">
                  <c:v>37658.666176360784</c:v>
                </c:pt>
                <c:pt idx="3183">
                  <c:v>37666.74249618133</c:v>
                </c:pt>
                <c:pt idx="3184">
                  <c:v>37674.820548058495</c:v>
                </c:pt>
                <c:pt idx="3185">
                  <c:v>37682.900332363737</c:v>
                </c:pt>
                <c:pt idx="3186">
                  <c:v>37690.98184946859</c:v>
                </c:pt>
                <c:pt idx="3187">
                  <c:v>37699.065099744672</c:v>
                </c:pt>
                <c:pt idx="3188">
                  <c:v>37707.150083563676</c:v>
                </c:pt>
                <c:pt idx="3189">
                  <c:v>37715.236801297389</c:v>
                </c:pt>
                <c:pt idx="3190">
                  <c:v>37723.325253317664</c:v>
                </c:pt>
                <c:pt idx="3191">
                  <c:v>37731.415439996439</c:v>
                </c:pt>
                <c:pt idx="3192">
                  <c:v>37739.507361705728</c:v>
                </c:pt>
                <c:pt idx="3193">
                  <c:v>37747.60101881763</c:v>
                </c:pt>
                <c:pt idx="3194">
                  <c:v>37755.696411704324</c:v>
                </c:pt>
                <c:pt idx="3195">
                  <c:v>37763.793540738065</c:v>
                </c:pt>
                <c:pt idx="3196">
                  <c:v>37771.89240629119</c:v>
                </c:pt>
                <c:pt idx="3197">
                  <c:v>36788.131772398592</c:v>
                </c:pt>
                <c:pt idx="3198">
                  <c:v>36796.02139643368</c:v>
                </c:pt>
                <c:pt idx="3199">
                  <c:v>36803.912712486395</c:v>
                </c:pt>
                <c:pt idx="3200">
                  <c:v>39671.545000876824</c:v>
                </c:pt>
                <c:pt idx="3201">
                  <c:v>39680.053004949565</c:v>
                </c:pt>
                <c:pt idx="3202">
                  <c:v>39688.562833658412</c:v>
                </c:pt>
                <c:pt idx="3203">
                  <c:v>39697.074487394675</c:v>
                </c:pt>
                <c:pt idx="3204">
                  <c:v>39705.587966549749</c:v>
                </c:pt>
                <c:pt idx="3205">
                  <c:v>39714.103271515116</c:v>
                </c:pt>
                <c:pt idx="3206">
                  <c:v>39722.620402682347</c:v>
                </c:pt>
                <c:pt idx="3207">
                  <c:v>39731.139360443092</c:v>
                </c:pt>
                <c:pt idx="3208">
                  <c:v>39739.660145189075</c:v>
                </c:pt>
                <c:pt idx="3209">
                  <c:v>39748.182757312119</c:v>
                </c:pt>
                <c:pt idx="3210">
                  <c:v>39756.70719720413</c:v>
                </c:pt>
                <c:pt idx="3211">
                  <c:v>39765.233465257086</c:v>
                </c:pt>
                <c:pt idx="3212">
                  <c:v>39773.761561863066</c:v>
                </c:pt>
                <c:pt idx="3213">
                  <c:v>39782.291487414215</c:v>
                </c:pt>
                <c:pt idx="3214">
                  <c:v>39790.823242302773</c:v>
                </c:pt>
                <c:pt idx="3215">
                  <c:v>39799.356826921066</c:v>
                </c:pt>
                <c:pt idx="3216">
                  <c:v>39807.892241661495</c:v>
                </c:pt>
                <c:pt idx="3217">
                  <c:v>39816.429486916539</c:v>
                </c:pt>
                <c:pt idx="3218">
                  <c:v>39824.968563078794</c:v>
                </c:pt>
                <c:pt idx="3219">
                  <c:v>39833.509470540899</c:v>
                </c:pt>
                <c:pt idx="3220">
                  <c:v>39842.052209695612</c:v>
                </c:pt>
                <c:pt idx="3221">
                  <c:v>39850.596780935753</c:v>
                </c:pt>
                <c:pt idx="3222">
                  <c:v>39859.143184654233</c:v>
                </c:pt>
                <c:pt idx="3223">
                  <c:v>39867.691421244046</c:v>
                </c:pt>
                <c:pt idx="3224">
                  <c:v>39876.24149109827</c:v>
                </c:pt>
                <c:pt idx="3225">
                  <c:v>39884.793394610075</c:v>
                </c:pt>
                <c:pt idx="3226">
                  <c:v>39893.347132172705</c:v>
                </c:pt>
                <c:pt idx="3227">
                  <c:v>38910.041467841984</c:v>
                </c:pt>
                <c:pt idx="3228">
                  <c:v>38918.386159012232</c:v>
                </c:pt>
                <c:pt idx="3229">
                  <c:v>38926.732639794318</c:v>
                </c:pt>
                <c:pt idx="3230">
                  <c:v>38935.080910572033</c:v>
                </c:pt>
                <c:pt idx="3231">
                  <c:v>38943.430971729271</c:v>
                </c:pt>
                <c:pt idx="3232">
                  <c:v>38951.782823649999</c:v>
                </c:pt>
                <c:pt idx="3233">
                  <c:v>38960.136466718264</c:v>
                </c:pt>
                <c:pt idx="3234">
                  <c:v>38968.491901318201</c:v>
                </c:pt>
                <c:pt idx="3235">
                  <c:v>38976.849127834023</c:v>
                </c:pt>
                <c:pt idx="3236">
                  <c:v>38985.208146650017</c:v>
                </c:pt>
                <c:pt idx="3237">
                  <c:v>38993.568958150579</c:v>
                </c:pt>
                <c:pt idx="3238">
                  <c:v>39001.931562720158</c:v>
                </c:pt>
                <c:pt idx="3239">
                  <c:v>39010.2959607433</c:v>
                </c:pt>
                <c:pt idx="3240">
                  <c:v>39018.662152604637</c:v>
                </c:pt>
                <c:pt idx="3241">
                  <c:v>39027.030138688868</c:v>
                </c:pt>
                <c:pt idx="3242">
                  <c:v>39035.399919380783</c:v>
                </c:pt>
                <c:pt idx="3243">
                  <c:v>39043.771495065259</c:v>
                </c:pt>
                <c:pt idx="3244">
                  <c:v>39052.144866127259</c:v>
                </c:pt>
                <c:pt idx="3245">
                  <c:v>39060.520032951819</c:v>
                </c:pt>
                <c:pt idx="3246">
                  <c:v>39068.896995924057</c:v>
                </c:pt>
                <c:pt idx="3247">
                  <c:v>39077.275755429175</c:v>
                </c:pt>
                <c:pt idx="3248">
                  <c:v>39085.656311852457</c:v>
                </c:pt>
                <c:pt idx="3249">
                  <c:v>39094.038665579275</c:v>
                </c:pt>
                <c:pt idx="3250">
                  <c:v>39102.422816995087</c:v>
                </c:pt>
                <c:pt idx="3251">
                  <c:v>39110.808766485425</c:v>
                </c:pt>
                <c:pt idx="3252">
                  <c:v>39119.196514435906</c:v>
                </c:pt>
                <c:pt idx="3253">
                  <c:v>39127.586061232221</c:v>
                </c:pt>
                <c:pt idx="3254">
                  <c:v>39135.977407260158</c:v>
                </c:pt>
                <c:pt idx="3255">
                  <c:v>39144.370552905588</c:v>
                </c:pt>
                <c:pt idx="3256">
                  <c:v>39152.765498554458</c:v>
                </c:pt>
                <c:pt idx="3257">
                  <c:v>39161.162244592793</c:v>
                </c:pt>
                <c:pt idx="3258">
                  <c:v>38177.699555069194</c:v>
                </c:pt>
                <c:pt idx="3259">
                  <c:v>38185.887187370761</c:v>
                </c:pt>
                <c:pt idx="3260">
                  <c:v>38194.076575601146</c:v>
                </c:pt>
                <c:pt idx="3261">
                  <c:v>38202.267720136922</c:v>
                </c:pt>
                <c:pt idx="3262">
                  <c:v>38210.460621354752</c:v>
                </c:pt>
                <c:pt idx="3263">
                  <c:v>38218.65527963137</c:v>
                </c:pt>
                <c:pt idx="3264">
                  <c:v>38226.851695343605</c:v>
                </c:pt>
                <c:pt idx="3265">
                  <c:v>38235.049868868351</c:v>
                </c:pt>
                <c:pt idx="3266">
                  <c:v>38243.249800582591</c:v>
                </c:pt>
                <c:pt idx="3267">
                  <c:v>38251.451490863394</c:v>
                </c:pt>
                <c:pt idx="3268">
                  <c:v>38259.654940087901</c:v>
                </c:pt>
                <c:pt idx="3269">
                  <c:v>38267.860148633335</c:v>
                </c:pt>
                <c:pt idx="3270">
                  <c:v>38276.067116877006</c:v>
                </c:pt>
                <c:pt idx="3271">
                  <c:v>38284.275845196302</c:v>
                </c:pt>
                <c:pt idx="3272">
                  <c:v>38292.486333968685</c:v>
                </c:pt>
                <c:pt idx="3273">
                  <c:v>38300.698583571706</c:v>
                </c:pt>
                <c:pt idx="3274">
                  <c:v>38308.912594383</c:v>
                </c:pt>
                <c:pt idx="3275">
                  <c:v>38317.128366780271</c:v>
                </c:pt>
                <c:pt idx="3276">
                  <c:v>38325.345901141307</c:v>
                </c:pt>
                <c:pt idx="3277">
                  <c:v>38333.565197843993</c:v>
                </c:pt>
                <c:pt idx="3278">
                  <c:v>38341.786257266271</c:v>
                </c:pt>
                <c:pt idx="3279">
                  <c:v>38350.009079786178</c:v>
                </c:pt>
                <c:pt idx="3280">
                  <c:v>38358.233665781845</c:v>
                </c:pt>
                <c:pt idx="3281">
                  <c:v>38366.460015631448</c:v>
                </c:pt>
                <c:pt idx="3282">
                  <c:v>38374.688129713279</c:v>
                </c:pt>
                <c:pt idx="3283">
                  <c:v>38382.918008405686</c:v>
                </c:pt>
                <c:pt idx="3284">
                  <c:v>38391.149652087122</c:v>
                </c:pt>
                <c:pt idx="3285">
                  <c:v>38399.383061136097</c:v>
                </c:pt>
                <c:pt idx="3286">
                  <c:v>38407.618235931222</c:v>
                </c:pt>
                <c:pt idx="3287">
                  <c:v>38415.855176851182</c:v>
                </c:pt>
                <c:pt idx="3288">
                  <c:v>38424.093884274727</c:v>
                </c:pt>
                <c:pt idx="3289">
                  <c:v>37440.473122243209</c:v>
                </c:pt>
                <c:pt idx="3290">
                  <c:v>37448.502648136448</c:v>
                </c:pt>
                <c:pt idx="3291">
                  <c:v>37456.533896050823</c:v>
                </c:pt>
                <c:pt idx="3292">
                  <c:v>37464.566866355643</c:v>
                </c:pt>
                <c:pt idx="3293">
                  <c:v>37472.601559420291</c:v>
                </c:pt>
                <c:pt idx="3294">
                  <c:v>37480.637975614234</c:v>
                </c:pt>
                <c:pt idx="3295">
                  <c:v>37488.676115307018</c:v>
                </c:pt>
                <c:pt idx="3296">
                  <c:v>37496.715978868255</c:v>
                </c:pt>
                <c:pt idx="3297">
                  <c:v>37504.757566667657</c:v>
                </c:pt>
                <c:pt idx="3298">
                  <c:v>37512.80087907501</c:v>
                </c:pt>
                <c:pt idx="3299">
                  <c:v>37520.845916460174</c:v>
                </c:pt>
                <c:pt idx="3300">
                  <c:v>37528.892679193079</c:v>
                </c:pt>
                <c:pt idx="3301">
                  <c:v>37536.941167643752</c:v>
                </c:pt>
                <c:pt idx="3302">
                  <c:v>37544.991382182292</c:v>
                </c:pt>
                <c:pt idx="3303">
                  <c:v>37553.043323178877</c:v>
                </c:pt>
                <c:pt idx="3304">
                  <c:v>37561.096991003767</c:v>
                </c:pt>
                <c:pt idx="3305">
                  <c:v>37569.152386027301</c:v>
                </c:pt>
                <c:pt idx="3306">
                  <c:v>37577.209508619897</c:v>
                </c:pt>
                <c:pt idx="3307">
                  <c:v>37585.268359152047</c:v>
                </c:pt>
                <c:pt idx="3308">
                  <c:v>37593.328937994331</c:v>
                </c:pt>
                <c:pt idx="3309">
                  <c:v>37601.3912455174</c:v>
                </c:pt>
                <c:pt idx="3310">
                  <c:v>37609.455282091993</c:v>
                </c:pt>
                <c:pt idx="3311">
                  <c:v>37617.521048088922</c:v>
                </c:pt>
                <c:pt idx="3312">
                  <c:v>37625.588543879079</c:v>
                </c:pt>
                <c:pt idx="3313">
                  <c:v>37633.657769833444</c:v>
                </c:pt>
                <c:pt idx="3314">
                  <c:v>37641.728726323054</c:v>
                </c:pt>
                <c:pt idx="3315">
                  <c:v>37649.801413719055</c:v>
                </c:pt>
                <c:pt idx="3316">
                  <c:v>37657.87583239266</c:v>
                </c:pt>
                <c:pt idx="3317">
                  <c:v>37665.951982715153</c:v>
                </c:pt>
                <c:pt idx="3318">
                  <c:v>37674.029865057913</c:v>
                </c:pt>
                <c:pt idx="3319">
                  <c:v>36690.248243454873</c:v>
                </c:pt>
                <c:pt idx="3320">
                  <c:v>36698.116875278472</c:v>
                </c:pt>
                <c:pt idx="3321">
                  <c:v>36705.987194617686</c:v>
                </c:pt>
                <c:pt idx="3322">
                  <c:v>36713.859201834413</c:v>
                </c:pt>
                <c:pt idx="3323">
                  <c:v>36721.732897290647</c:v>
                </c:pt>
                <c:pt idx="3324">
                  <c:v>36729.608281348446</c:v>
                </c:pt>
                <c:pt idx="3325">
                  <c:v>36737.485354369957</c:v>
                </c:pt>
                <c:pt idx="3326">
                  <c:v>36745.364116717385</c:v>
                </c:pt>
                <c:pt idx="3327">
                  <c:v>36753.244568753027</c:v>
                </c:pt>
                <c:pt idx="3328">
                  <c:v>36761.126710839257</c:v>
                </c:pt>
                <c:pt idx="3329">
                  <c:v>36769.010543338532</c:v>
                </c:pt>
                <c:pt idx="3330">
                  <c:v>36776.896066613372</c:v>
                </c:pt>
                <c:pt idx="3331">
                  <c:v>36784.783281026379</c:v>
                </c:pt>
                <c:pt idx="3332">
                  <c:v>36792.672186940246</c:v>
                </c:pt>
                <c:pt idx="3333">
                  <c:v>36800.562784717738</c:v>
                </c:pt>
                <c:pt idx="3334">
                  <c:v>36808.455074721685</c:v>
                </c:pt>
                <c:pt idx="3335">
                  <c:v>36816.349057315005</c:v>
                </c:pt>
                <c:pt idx="3336">
                  <c:v>36824.244732860694</c:v>
                </c:pt>
                <c:pt idx="3337">
                  <c:v>36832.142101721824</c:v>
                </c:pt>
                <c:pt idx="3338">
                  <c:v>36840.041164261544</c:v>
                </c:pt>
                <c:pt idx="3339">
                  <c:v>36847.941920843077</c:v>
                </c:pt>
                <c:pt idx="3340">
                  <c:v>36855.844371829735</c:v>
                </c:pt>
                <c:pt idx="3341">
                  <c:v>36863.748517584907</c:v>
                </c:pt>
                <c:pt idx="3342">
                  <c:v>36871.654358472057</c:v>
                </c:pt>
                <c:pt idx="3343">
                  <c:v>36879.561894854713</c:v>
                </c:pt>
                <c:pt idx="3344">
                  <c:v>36887.471127096498</c:v>
                </c:pt>
                <c:pt idx="3345">
                  <c:v>36895.382055561109</c:v>
                </c:pt>
                <c:pt idx="3346">
                  <c:v>36903.294680612315</c:v>
                </c:pt>
                <c:pt idx="3347">
                  <c:v>36911.20900261397</c:v>
                </c:pt>
                <c:pt idx="3348">
                  <c:v>36919.125021930013</c:v>
                </c:pt>
                <c:pt idx="3349">
                  <c:v>36927.042738924436</c:v>
                </c:pt>
                <c:pt idx="3350">
                  <c:v>35943.100917623822</c:v>
                </c:pt>
                <c:pt idx="3351">
                  <c:v>35950.809315393235</c:v>
                </c:pt>
                <c:pt idx="3352">
                  <c:v>35958.519366314285</c:v>
                </c:pt>
                <c:pt idx="3353">
                  <c:v>35966.231070741516</c:v>
                </c:pt>
                <c:pt idx="3354">
                  <c:v>35973.944429029536</c:v>
                </c:pt>
                <c:pt idx="3355">
                  <c:v>35981.659441533026</c:v>
                </c:pt>
                <c:pt idx="3356">
                  <c:v>35989.376108606761</c:v>
                </c:pt>
                <c:pt idx="3357">
                  <c:v>35997.094430605583</c:v>
                </c:pt>
                <c:pt idx="3358">
                  <c:v>36004.814407884405</c:v>
                </c:pt>
                <c:pt idx="3359">
                  <c:v>36012.536040798215</c:v>
                </c:pt>
                <c:pt idx="3360">
                  <c:v>36020.259329702087</c:v>
                </c:pt>
                <c:pt idx="3361">
                  <c:v>36018.162503960688</c:v>
                </c:pt>
                <c:pt idx="3362">
                  <c:v>36025.886999522168</c:v>
                </c:pt>
                <c:pt idx="3363">
                  <c:v>36033.613151687641</c:v>
                </c:pt>
                <c:pt idx="3364">
                  <c:v>36041.340960812377</c:v>
                </c:pt>
                <c:pt idx="3365">
                  <c:v>36049.070427251732</c:v>
                </c:pt>
                <c:pt idx="3366">
                  <c:v>36056.801551361132</c:v>
                </c:pt>
                <c:pt idx="3367">
                  <c:v>36064.534333496093</c:v>
                </c:pt>
                <c:pt idx="3368">
                  <c:v>36072.268774012191</c:v>
                </c:pt>
                <c:pt idx="3369">
                  <c:v>36080.004873265083</c:v>
                </c:pt>
                <c:pt idx="3370">
                  <c:v>36087.742631610505</c:v>
                </c:pt>
                <c:pt idx="3371">
                  <c:v>36095.482049404265</c:v>
                </c:pt>
                <c:pt idx="3372">
                  <c:v>36103.223127002253</c:v>
                </c:pt>
                <c:pt idx="3373">
                  <c:v>36110.965864760437</c:v>
                </c:pt>
                <c:pt idx="3374">
                  <c:v>36118.710263034853</c:v>
                </c:pt>
                <c:pt idx="3375">
                  <c:v>36126.456322181606</c:v>
                </c:pt>
                <c:pt idx="3376">
                  <c:v>36134.204042556907</c:v>
                </c:pt>
                <c:pt idx="3377">
                  <c:v>36141.953424517007</c:v>
                </c:pt>
                <c:pt idx="3378">
                  <c:v>36149.704468418262</c:v>
                </c:pt>
                <c:pt idx="3379">
                  <c:v>36157.457174617099</c:v>
                </c:pt>
                <c:pt idx="3380">
                  <c:v>35173.350307132496</c:v>
                </c:pt>
                <c:pt idx="3381">
                  <c:v>35180.893623321928</c:v>
                </c:pt>
                <c:pt idx="3382">
                  <c:v>35188.438557259418</c:v>
                </c:pt>
                <c:pt idx="3383">
                  <c:v>35195.985109291913</c:v>
                </c:pt>
                <c:pt idx="3384">
                  <c:v>35203.53327976643</c:v>
                </c:pt>
                <c:pt idx="3385">
                  <c:v>35211.083069030057</c:v>
                </c:pt>
                <c:pt idx="3386">
                  <c:v>35218.634477429958</c:v>
                </c:pt>
                <c:pt idx="3387">
                  <c:v>35226.187505313384</c:v>
                </c:pt>
                <c:pt idx="3388">
                  <c:v>35233.742153027648</c:v>
                </c:pt>
                <c:pt idx="3389">
                  <c:v>35241.298420920146</c:v>
                </c:pt>
                <c:pt idx="3390">
                  <c:v>35248.856309338335</c:v>
                </c:pt>
                <c:pt idx="3391">
                  <c:v>35999.348723008901</c:v>
                </c:pt>
                <c:pt idx="3392">
                  <c:v>36007.0691837458</c:v>
                </c:pt>
                <c:pt idx="3393">
                  <c:v>36014.791300221375</c:v>
                </c:pt>
                <c:pt idx="3394">
                  <c:v>36022.515072790717</c:v>
                </c:pt>
                <c:pt idx="3395">
                  <c:v>36030.240501808992</c:v>
                </c:pt>
                <c:pt idx="3396">
                  <c:v>36037.96758763145</c:v>
                </c:pt>
                <c:pt idx="3397">
                  <c:v>36045.696330613406</c:v>
                </c:pt>
                <c:pt idx="3398">
                  <c:v>36053.426731110252</c:v>
                </c:pt>
                <c:pt idx="3399">
                  <c:v>36061.158789477471</c:v>
                </c:pt>
                <c:pt idx="3400">
                  <c:v>36068.892506070602</c:v>
                </c:pt>
                <c:pt idx="3401">
                  <c:v>36076.62788124528</c:v>
                </c:pt>
                <c:pt idx="3402">
                  <c:v>36084.364915357197</c:v>
                </c:pt>
                <c:pt idx="3403">
                  <c:v>36092.103608762132</c:v>
                </c:pt>
                <c:pt idx="3404">
                  <c:v>36099.843961815946</c:v>
                </c:pt>
                <c:pt idx="3405">
                  <c:v>36107.585974874564</c:v>
                </c:pt>
                <c:pt idx="3406">
                  <c:v>36115.329648293991</c:v>
                </c:pt>
                <c:pt idx="3407">
                  <c:v>36123.074982430313</c:v>
                </c:pt>
                <c:pt idx="3408">
                  <c:v>36130.821977639695</c:v>
                </c:pt>
                <c:pt idx="3409">
                  <c:v>36138.570634278367</c:v>
                </c:pt>
                <c:pt idx="3410">
                  <c:v>36146.320952702634</c:v>
                </c:pt>
                <c:pt idx="3411">
                  <c:v>35162.211696931372</c:v>
                </c:pt>
                <c:pt idx="3412">
                  <c:v>35169.752624321962</c:v>
                </c:pt>
                <c:pt idx="3413">
                  <c:v>35177.295168948302</c:v>
                </c:pt>
                <c:pt idx="3414">
                  <c:v>35184.839331157229</c:v>
                </c:pt>
                <c:pt idx="3415">
                  <c:v>35192.385111295654</c:v>
                </c:pt>
                <c:pt idx="3416">
                  <c:v>35199.932509710561</c:v>
                </c:pt>
                <c:pt idx="3417">
                  <c:v>35207.481526748998</c:v>
                </c:pt>
                <c:pt idx="3418">
                  <c:v>35215.0321627581</c:v>
                </c:pt>
                <c:pt idx="3419">
                  <c:v>35222.584418085076</c:v>
                </c:pt>
                <c:pt idx="3420">
                  <c:v>35230.138293077209</c:v>
                </c:pt>
                <c:pt idx="3421">
                  <c:v>36292.833066391569</c:v>
                </c:pt>
                <c:pt idx="3422">
                  <c:v>36300.616468110195</c:v>
                </c:pt>
                <c:pt idx="3423">
                  <c:v>36308.401539065882</c:v>
                </c:pt>
                <c:pt idx="3424">
                  <c:v>36316.188279616625</c:v>
                </c:pt>
                <c:pt idx="3425">
                  <c:v>36323.976690120493</c:v>
                </c:pt>
                <c:pt idx="3426">
                  <c:v>36331.766770935617</c:v>
                </c:pt>
                <c:pt idx="3427">
                  <c:v>36339.558522420215</c:v>
                </c:pt>
                <c:pt idx="3428">
                  <c:v>36347.351944932583</c:v>
                </c:pt>
                <c:pt idx="3429">
                  <c:v>36355.147038831092</c:v>
                </c:pt>
                <c:pt idx="3430">
                  <c:v>36362.943804474191</c:v>
                </c:pt>
                <c:pt idx="3431">
                  <c:v>36370.742242220396</c:v>
                </c:pt>
                <c:pt idx="3432">
                  <c:v>36378.542352428318</c:v>
                </c:pt>
                <c:pt idx="3433">
                  <c:v>36386.344135456631</c:v>
                </c:pt>
                <c:pt idx="3434">
                  <c:v>36394.147591664092</c:v>
                </c:pt>
                <c:pt idx="3435">
                  <c:v>36401.952721409529</c:v>
                </c:pt>
                <c:pt idx="3436">
                  <c:v>36409.75952505185</c:v>
                </c:pt>
                <c:pt idx="3437">
                  <c:v>36417.568002950044</c:v>
                </c:pt>
                <c:pt idx="3438">
                  <c:v>36425.378155463171</c:v>
                </c:pt>
                <c:pt idx="3439">
                  <c:v>36433.189982950375</c:v>
                </c:pt>
                <c:pt idx="3440">
                  <c:v>36441.003485770867</c:v>
                </c:pt>
                <c:pt idx="3441">
                  <c:v>36448.81866428395</c:v>
                </c:pt>
                <c:pt idx="3442">
                  <c:v>35464.774282511476</c:v>
                </c:pt>
                <c:pt idx="3443">
                  <c:v>35472.380097813802</c:v>
                </c:pt>
                <c:pt idx="3444">
                  <c:v>35479.987544267809</c:v>
                </c:pt>
                <c:pt idx="3445">
                  <c:v>35487.596622223326</c:v>
                </c:pt>
                <c:pt idx="3446">
                  <c:v>35495.207332030244</c:v>
                </c:pt>
                <c:pt idx="3447">
                  <c:v>35502.819674038525</c:v>
                </c:pt>
                <c:pt idx="3448">
                  <c:v>35510.433648598213</c:v>
                </c:pt>
                <c:pt idx="3449">
                  <c:v>35518.049256059443</c:v>
                </c:pt>
                <c:pt idx="3450">
                  <c:v>35525.666496772392</c:v>
                </c:pt>
                <c:pt idx="3451">
                  <c:v>35533.285371087339</c:v>
                </c:pt>
                <c:pt idx="3452">
                  <c:v>35540.905879354621</c:v>
                </c:pt>
                <c:pt idx="3453">
                  <c:v>35548.528021924656</c:v>
                </c:pt>
                <c:pt idx="3454">
                  <c:v>35556.151799147949</c:v>
                </c:pt>
                <c:pt idx="3455">
                  <c:v>35563.777211375062</c:v>
                </c:pt>
                <c:pt idx="3456">
                  <c:v>35571.404258956638</c:v>
                </c:pt>
                <c:pt idx="3457">
                  <c:v>35579.032942243401</c:v>
                </c:pt>
                <c:pt idx="3458">
                  <c:v>35586.663261586138</c:v>
                </c:pt>
                <c:pt idx="3459">
                  <c:v>35594.295217335733</c:v>
                </c:pt>
                <c:pt idx="3460">
                  <c:v>35601.928809843128</c:v>
                </c:pt>
                <c:pt idx="3461">
                  <c:v>35609.564039459343</c:v>
                </c:pt>
                <c:pt idx="3462">
                  <c:v>35617.200906535472</c:v>
                </c:pt>
                <c:pt idx="3463">
                  <c:v>35624.839411422683</c:v>
                </c:pt>
                <c:pt idx="3464">
                  <c:v>35632.479554472222</c:v>
                </c:pt>
                <c:pt idx="3465">
                  <c:v>35640.121336035416</c:v>
                </c:pt>
                <c:pt idx="3466">
                  <c:v>35647.764756463665</c:v>
                </c:pt>
                <c:pt idx="3467">
                  <c:v>35655.40981610844</c:v>
                </c:pt>
                <c:pt idx="3468">
                  <c:v>35663.056515321288</c:v>
                </c:pt>
                <c:pt idx="3469">
                  <c:v>35670.704854453834</c:v>
                </c:pt>
                <c:pt idx="3470">
                  <c:v>34686.493597520261</c:v>
                </c:pt>
                <c:pt idx="3471">
                  <c:v>34693.932501873249</c:v>
                </c:pt>
                <c:pt idx="3472">
                  <c:v>34701.373001582018</c:v>
                </c:pt>
                <c:pt idx="3473">
                  <c:v>34708.815096988699</c:v>
                </c:pt>
                <c:pt idx="3474">
                  <c:v>34716.258788435523</c:v>
                </c:pt>
                <c:pt idx="3475">
                  <c:v>34723.704076264767</c:v>
                </c:pt>
                <c:pt idx="3476">
                  <c:v>34731.150960818792</c:v>
                </c:pt>
                <c:pt idx="3477">
                  <c:v>34738.599442440041</c:v>
                </c:pt>
                <c:pt idx="3478">
                  <c:v>34746.049521471017</c:v>
                </c:pt>
                <c:pt idx="3479">
                  <c:v>34753.501198254307</c:v>
                </c:pt>
                <c:pt idx="3480">
                  <c:v>34760.954473132566</c:v>
                </c:pt>
                <c:pt idx="3481">
                  <c:v>34768.409346448519</c:v>
                </c:pt>
                <c:pt idx="3482">
                  <c:v>34775.865818544968</c:v>
                </c:pt>
                <c:pt idx="3483">
                  <c:v>34783.323889764797</c:v>
                </c:pt>
                <c:pt idx="3484">
                  <c:v>34790.78356045096</c:v>
                </c:pt>
                <c:pt idx="3485">
                  <c:v>34798.244830946467</c:v>
                </c:pt>
                <c:pt idx="3486">
                  <c:v>34805.707701594416</c:v>
                </c:pt>
                <c:pt idx="3487">
                  <c:v>34813.172172737985</c:v>
                </c:pt>
                <c:pt idx="3488">
                  <c:v>34820.638244720409</c:v>
                </c:pt>
                <c:pt idx="3489">
                  <c:v>34828.105917885012</c:v>
                </c:pt>
                <c:pt idx="3490">
                  <c:v>34835.575192575183</c:v>
                </c:pt>
                <c:pt idx="3491">
                  <c:v>34843.046069134391</c:v>
                </c:pt>
                <c:pt idx="3492">
                  <c:v>34850.518547906177</c:v>
                </c:pt>
                <c:pt idx="3493">
                  <c:v>34857.992629234148</c:v>
                </c:pt>
                <c:pt idx="3494">
                  <c:v>34865.468313461985</c:v>
                </c:pt>
                <c:pt idx="3495">
                  <c:v>34872.945600933454</c:v>
                </c:pt>
                <c:pt idx="3496">
                  <c:v>34880.424491992388</c:v>
                </c:pt>
                <c:pt idx="3497">
                  <c:v>34887.904986982699</c:v>
                </c:pt>
                <c:pt idx="3498">
                  <c:v>34895.38708624836</c:v>
                </c:pt>
                <c:pt idx="3499">
                  <c:v>34902.870790133427</c:v>
                </c:pt>
                <c:pt idx="3500">
                  <c:v>34910.356098982025</c:v>
                </c:pt>
                <c:pt idx="3501">
                  <c:v>33925.981776800851</c:v>
                </c:pt>
                <c:pt idx="3502">
                  <c:v>33933.257580935082</c:v>
                </c:pt>
                <c:pt idx="3503">
                  <c:v>33940.534945446438</c:v>
                </c:pt>
                <c:pt idx="3504">
                  <c:v>33947.813870669554</c:v>
                </c:pt>
                <c:pt idx="3505">
                  <c:v>33955.094356939146</c:v>
                </c:pt>
                <c:pt idx="3506">
                  <c:v>33962.376404589995</c:v>
                </c:pt>
                <c:pt idx="3507">
                  <c:v>33969.660013956956</c:v>
                </c:pt>
                <c:pt idx="3508">
                  <c:v>33976.945185374956</c:v>
                </c:pt>
                <c:pt idx="3509">
                  <c:v>33984.231919179001</c:v>
                </c:pt>
                <c:pt idx="3510">
                  <c:v>33991.520215704149</c:v>
                </c:pt>
                <c:pt idx="3511">
                  <c:v>34083.107854619229</c:v>
                </c:pt>
                <c:pt idx="3512">
                  <c:v>34090.417356188482</c:v>
                </c:pt>
                <c:pt idx="3513">
                  <c:v>34097.728425361645</c:v>
                </c:pt>
                <c:pt idx="3514">
                  <c:v>34105.041062474913</c:v>
                </c:pt>
                <c:pt idx="3515">
                  <c:v>34112.355267864543</c:v>
                </c:pt>
                <c:pt idx="3516">
                  <c:v>34119.671041866874</c:v>
                </c:pt>
                <c:pt idx="3517">
                  <c:v>34126.988384818309</c:v>
                </c:pt>
                <c:pt idx="3518">
                  <c:v>34134.307297055326</c:v>
                </c:pt>
                <c:pt idx="3519">
                  <c:v>34141.627778914481</c:v>
                </c:pt>
                <c:pt idx="3520">
                  <c:v>34148.949830732388</c:v>
                </c:pt>
                <c:pt idx="3521">
                  <c:v>34156.273452845751</c:v>
                </c:pt>
                <c:pt idx="3522">
                  <c:v>34163.598645591337</c:v>
                </c:pt>
                <c:pt idx="3523">
                  <c:v>34170.925409305979</c:v>
                </c:pt>
                <c:pt idx="3524">
                  <c:v>34178.25374432659</c:v>
                </c:pt>
                <c:pt idx="3525">
                  <c:v>34185.583650990149</c:v>
                </c:pt>
                <c:pt idx="3526">
                  <c:v>34192.91512963373</c:v>
                </c:pt>
                <c:pt idx="3527">
                  <c:v>34200.248180594448</c:v>
                </c:pt>
                <c:pt idx="3528">
                  <c:v>34207.582804209509</c:v>
                </c:pt>
                <c:pt idx="3529">
                  <c:v>34214.919000816182</c:v>
                </c:pt>
                <c:pt idx="3530">
                  <c:v>34222.25677075181</c:v>
                </c:pt>
                <c:pt idx="3531">
                  <c:v>33237.734878016301</c:v>
                </c:pt>
                <c:pt idx="3532">
                  <c:v>33244.863079948052</c:v>
                </c:pt>
                <c:pt idx="3533">
                  <c:v>33251.992810601994</c:v>
                </c:pt>
                <c:pt idx="3534">
                  <c:v>33259.124070305974</c:v>
                </c:pt>
                <c:pt idx="3535">
                  <c:v>33266.256859387919</c:v>
                </c:pt>
                <c:pt idx="3536">
                  <c:v>33273.391178175814</c:v>
                </c:pt>
                <c:pt idx="3537">
                  <c:v>33280.527026997719</c:v>
                </c:pt>
                <c:pt idx="3538">
                  <c:v>33287.664406181779</c:v>
                </c:pt>
                <c:pt idx="3539">
                  <c:v>33294.80331605619</c:v>
                </c:pt>
                <c:pt idx="3540">
                  <c:v>33301.943756949222</c:v>
                </c:pt>
                <c:pt idx="3541">
                  <c:v>33309.085729189224</c:v>
                </c:pt>
                <c:pt idx="3542">
                  <c:v>33316.229233104612</c:v>
                </c:pt>
                <c:pt idx="3543">
                  <c:v>33323.374269023865</c:v>
                </c:pt>
                <c:pt idx="3544">
                  <c:v>33330.520837275544</c:v>
                </c:pt>
                <c:pt idx="3545">
                  <c:v>33337.668938188275</c:v>
                </c:pt>
                <c:pt idx="3546">
                  <c:v>33344.818572090742</c:v>
                </c:pt>
                <c:pt idx="3547">
                  <c:v>33351.969739311731</c:v>
                </c:pt>
                <c:pt idx="3548">
                  <c:v>33359.122440180072</c:v>
                </c:pt>
                <c:pt idx="3549">
                  <c:v>33366.276675024659</c:v>
                </c:pt>
                <c:pt idx="3550">
                  <c:v>33373.432444174483</c:v>
                </c:pt>
                <c:pt idx="3551">
                  <c:v>33380.589747958598</c:v>
                </c:pt>
                <c:pt idx="3552">
                  <c:v>33387.748586706111</c:v>
                </c:pt>
                <c:pt idx="3553">
                  <c:v>33394.908960746216</c:v>
                </c:pt>
                <c:pt idx="3554">
                  <c:v>33402.070870408177</c:v>
                </c:pt>
                <c:pt idx="3555">
                  <c:v>33409.234316021328</c:v>
                </c:pt>
                <c:pt idx="3556">
                  <c:v>33416.399297915064</c:v>
                </c:pt>
                <c:pt idx="3557">
                  <c:v>33423.565816418857</c:v>
                </c:pt>
                <c:pt idx="3558">
                  <c:v>33430.733871862256</c:v>
                </c:pt>
                <c:pt idx="3559">
                  <c:v>33437.903464574876</c:v>
                </c:pt>
                <c:pt idx="3560">
                  <c:v>33445.074594886391</c:v>
                </c:pt>
                <c:pt idx="3561">
                  <c:v>33452.24726312657</c:v>
                </c:pt>
                <c:pt idx="3562">
                  <c:v>32467.560233287706</c:v>
                </c:pt>
                <c:pt idx="3563">
                  <c:v>32474.523262700615</c:v>
                </c:pt>
                <c:pt idx="3564">
                  <c:v>32481.487785412628</c:v>
                </c:pt>
                <c:pt idx="3565">
                  <c:v>32488.453801743999</c:v>
                </c:pt>
                <c:pt idx="3566">
                  <c:v>32495.421312015053</c:v>
                </c:pt>
                <c:pt idx="3567">
                  <c:v>32502.390316546182</c:v>
                </c:pt>
                <c:pt idx="3568">
                  <c:v>32509.360815657845</c:v>
                </c:pt>
                <c:pt idx="3569">
                  <c:v>32516.33280967057</c:v>
                </c:pt>
                <c:pt idx="3570">
                  <c:v>32523.306298904961</c:v>
                </c:pt>
                <c:pt idx="3571">
                  <c:v>32530.281283681685</c:v>
                </c:pt>
                <c:pt idx="3572">
                  <c:v>32537.257764321464</c:v>
                </c:pt>
                <c:pt idx="3573">
                  <c:v>32544.235741145116</c:v>
                </c:pt>
                <c:pt idx="3574">
                  <c:v>32551.215214473512</c:v>
                </c:pt>
                <c:pt idx="3575">
                  <c:v>32558.196184627592</c:v>
                </c:pt>
                <c:pt idx="3576">
                  <c:v>32565.178651928367</c:v>
                </c:pt>
                <c:pt idx="3577">
                  <c:v>32572.162616696918</c:v>
                </c:pt>
                <c:pt idx="3578">
                  <c:v>32579.148079254388</c:v>
                </c:pt>
                <c:pt idx="3579">
                  <c:v>32586.135039921999</c:v>
                </c:pt>
                <c:pt idx="3580">
                  <c:v>32593.12349902104</c:v>
                </c:pt>
                <c:pt idx="3581">
                  <c:v>32600.113456872867</c:v>
                </c:pt>
                <c:pt idx="3582">
                  <c:v>32607.104913798899</c:v>
                </c:pt>
                <c:pt idx="3583">
                  <c:v>32614.097870120633</c:v>
                </c:pt>
                <c:pt idx="3584">
                  <c:v>32621.092326159633</c:v>
                </c:pt>
                <c:pt idx="3585">
                  <c:v>32628.088282237524</c:v>
                </c:pt>
                <c:pt idx="3586">
                  <c:v>32635.085738676007</c:v>
                </c:pt>
                <c:pt idx="3587">
                  <c:v>32642.084695796853</c:v>
                </c:pt>
                <c:pt idx="3588">
                  <c:v>32649.085153921904</c:v>
                </c:pt>
                <c:pt idx="3589">
                  <c:v>32656.087113373058</c:v>
                </c:pt>
                <c:pt idx="3590">
                  <c:v>32663.090574472295</c:v>
                </c:pt>
                <c:pt idx="3591">
                  <c:v>32670.095537541663</c:v>
                </c:pt>
                <c:pt idx="3592">
                  <c:v>31685.240766565756</c:v>
                </c:pt>
                <c:pt idx="3593">
                  <c:v>31692.036018867671</c:v>
                </c:pt>
                <c:pt idx="3594">
                  <c:v>31698.832728487021</c:v>
                </c:pt>
                <c:pt idx="3595">
                  <c:v>31705.630895736347</c:v>
                </c:pt>
                <c:pt idx="3596">
                  <c:v>31712.43052092825</c:v>
                </c:pt>
                <c:pt idx="3597">
                  <c:v>31719.231604375407</c:v>
                </c:pt>
                <c:pt idx="3598">
                  <c:v>31726.034146390553</c:v>
                </c:pt>
                <c:pt idx="3599">
                  <c:v>31732.838147286493</c:v>
                </c:pt>
                <c:pt idx="3600">
                  <c:v>31739.643607376103</c:v>
                </c:pt>
                <c:pt idx="3601">
                  <c:v>32172.410164860354</c:v>
                </c:pt>
                <c:pt idx="3602">
                  <c:v>32179.309896058279</c:v>
                </c:pt>
                <c:pt idx="3603">
                  <c:v>32186.211106980303</c:v>
                </c:pt>
                <c:pt idx="3604">
                  <c:v>32193.11379794377</c:v>
                </c:pt>
                <c:pt idx="3605">
                  <c:v>32200.017969266086</c:v>
                </c:pt>
                <c:pt idx="3606">
                  <c:v>32206.923621264734</c:v>
                </c:pt>
                <c:pt idx="3607">
                  <c:v>32213.830754257266</c:v>
                </c:pt>
                <c:pt idx="3608">
                  <c:v>32220.739368561288</c:v>
                </c:pt>
                <c:pt idx="3609">
                  <c:v>32227.649464494491</c:v>
                </c:pt>
                <c:pt idx="3610">
                  <c:v>32234.561042374622</c:v>
                </c:pt>
                <c:pt idx="3611">
                  <c:v>32241.474102519504</c:v>
                </c:pt>
                <c:pt idx="3612">
                  <c:v>32248.388645247029</c:v>
                </c:pt>
                <c:pt idx="3613">
                  <c:v>32255.304670875146</c:v>
                </c:pt>
                <c:pt idx="3614">
                  <c:v>32262.222179721884</c:v>
                </c:pt>
                <c:pt idx="3615">
                  <c:v>32269.14117210533</c:v>
                </c:pt>
                <c:pt idx="3616">
                  <c:v>32276.061648343653</c:v>
                </c:pt>
                <c:pt idx="3617">
                  <c:v>32282.983608755076</c:v>
                </c:pt>
                <c:pt idx="3618">
                  <c:v>32289.907053657898</c:v>
                </c:pt>
                <c:pt idx="3619">
                  <c:v>32296.831983370492</c:v>
                </c:pt>
                <c:pt idx="3620">
                  <c:v>32303.758398211277</c:v>
                </c:pt>
                <c:pt idx="3621">
                  <c:v>32310.686298498764</c:v>
                </c:pt>
                <c:pt idx="3622">
                  <c:v>32317.615684551529</c:v>
                </c:pt>
                <c:pt idx="3623">
                  <c:v>31332.685320350687</c:v>
                </c:pt>
                <c:pt idx="3624">
                  <c:v>31339.404963215857</c:v>
                </c:pt>
                <c:pt idx="3625">
                  <c:v>31346.126047183177</c:v>
                </c:pt>
                <c:pt idx="3626">
                  <c:v>31352.84857256171</c:v>
                </c:pt>
                <c:pt idx="3627">
                  <c:v>31359.572539660581</c:v>
                </c:pt>
                <c:pt idx="3628">
                  <c:v>31366.297948788986</c:v>
                </c:pt>
                <c:pt idx="3629">
                  <c:v>31373.024800256178</c:v>
                </c:pt>
                <c:pt idx="3630">
                  <c:v>31379.753094371492</c:v>
                </c:pt>
                <c:pt idx="3631">
                  <c:v>31859.394631536423</c:v>
                </c:pt>
                <c:pt idx="3632">
                  <c:v>31866.227233071706</c:v>
                </c:pt>
                <c:pt idx="3633">
                  <c:v>31873.06129993439</c:v>
                </c:pt>
                <c:pt idx="3634">
                  <c:v>31879.896832438721</c:v>
                </c:pt>
                <c:pt idx="3635">
                  <c:v>31886.733830899022</c:v>
                </c:pt>
                <c:pt idx="3636">
                  <c:v>31893.572295629689</c:v>
                </c:pt>
                <c:pt idx="3637">
                  <c:v>31900.41222694518</c:v>
                </c:pt>
                <c:pt idx="3638">
                  <c:v>31907.253625160014</c:v>
                </c:pt>
                <c:pt idx="3639">
                  <c:v>31914.096490588796</c:v>
                </c:pt>
                <c:pt idx="3640">
                  <c:v>31920.940823546174</c:v>
                </c:pt>
                <c:pt idx="3641">
                  <c:v>31927.786624346882</c:v>
                </c:pt>
                <c:pt idx="3642">
                  <c:v>31934.633893305712</c:v>
                </c:pt>
                <c:pt idx="3643">
                  <c:v>31941.482630737533</c:v>
                </c:pt>
                <c:pt idx="3644">
                  <c:v>31948.33283695727</c:v>
                </c:pt>
                <c:pt idx="3645">
                  <c:v>31955.184512279924</c:v>
                </c:pt>
                <c:pt idx="3646">
                  <c:v>31962.037657020559</c:v>
                </c:pt>
                <c:pt idx="3647">
                  <c:v>31968.892271494307</c:v>
                </c:pt>
                <c:pt idx="3648">
                  <c:v>31975.748356016375</c:v>
                </c:pt>
                <c:pt idx="3649">
                  <c:v>31982.605910902017</c:v>
                </c:pt>
                <c:pt idx="3650">
                  <c:v>31989.464936466578</c:v>
                </c:pt>
                <c:pt idx="3651">
                  <c:v>31996.325433025464</c:v>
                </c:pt>
                <c:pt idx="3652">
                  <c:v>32003.187400894141</c:v>
                </c:pt>
                <c:pt idx="3653">
                  <c:v>32010.050840388154</c:v>
                </c:pt>
                <c:pt idx="3654">
                  <c:v>31025.054515485586</c:v>
                </c:pt>
                <c:pt idx="3655">
                  <c:v>31031.708183503026</c:v>
                </c:pt>
                <c:pt idx="3656">
                  <c:v>31038.363278473578</c:v>
                </c:pt>
                <c:pt idx="3657">
                  <c:v>31045.019800703267</c:v>
                </c:pt>
                <c:pt idx="3658">
                  <c:v>31051.677750498187</c:v>
                </c:pt>
                <c:pt idx="3659">
                  <c:v>31058.33712816449</c:v>
                </c:pt>
                <c:pt idx="3660">
                  <c:v>31064.997934008403</c:v>
                </c:pt>
                <c:pt idx="3661">
                  <c:v>31623.229480335092</c:v>
                </c:pt>
                <c:pt idx="3662">
                  <c:v>31630.011433626954</c:v>
                </c:pt>
                <c:pt idx="3663">
                  <c:v>31636.79484138413</c:v>
                </c:pt>
                <c:pt idx="3664">
                  <c:v>31643.579703918549</c:v>
                </c:pt>
                <c:pt idx="3665">
                  <c:v>31650.366021542199</c:v>
                </c:pt>
                <c:pt idx="3666">
                  <c:v>31657.153794567148</c:v>
                </c:pt>
                <c:pt idx="3667">
                  <c:v>31663.943023305517</c:v>
                </c:pt>
                <c:pt idx="3668">
                  <c:v>31670.733708069503</c:v>
                </c:pt>
                <c:pt idx="3669">
                  <c:v>31677.525849171365</c:v>
                </c:pt>
                <c:pt idx="3670">
                  <c:v>31684.319446923433</c:v>
                </c:pt>
                <c:pt idx="3671">
                  <c:v>31691.114501638102</c:v>
                </c:pt>
                <c:pt idx="3672">
                  <c:v>31697.911013627829</c:v>
                </c:pt>
                <c:pt idx="3673">
                  <c:v>31704.708983205153</c:v>
                </c:pt>
                <c:pt idx="3674">
                  <c:v>31711.508410682662</c:v>
                </c:pt>
                <c:pt idx="3675">
                  <c:v>31718.309296373016</c:v>
                </c:pt>
                <c:pt idx="3676">
                  <c:v>31725.111640588952</c:v>
                </c:pt>
                <c:pt idx="3677">
                  <c:v>31731.915443643258</c:v>
                </c:pt>
                <c:pt idx="3678">
                  <c:v>31738.720705848809</c:v>
                </c:pt>
                <c:pt idx="3679">
                  <c:v>31745.527427518529</c:v>
                </c:pt>
                <c:pt idx="3680">
                  <c:v>31752.335608965426</c:v>
                </c:pt>
                <c:pt idx="3681">
                  <c:v>31759.145250502552</c:v>
                </c:pt>
                <c:pt idx="3682">
                  <c:v>31765.956352443049</c:v>
                </c:pt>
                <c:pt idx="3683">
                  <c:v>31772.768915100114</c:v>
                </c:pt>
                <c:pt idx="3684">
                  <c:v>30787.721702449497</c:v>
                </c:pt>
                <c:pt idx="3685">
                  <c:v>30794.324471805441</c:v>
                </c:pt>
                <c:pt idx="3686">
                  <c:v>30800.928657198714</c:v>
                </c:pt>
                <c:pt idx="3687">
                  <c:v>30807.534258932999</c:v>
                </c:pt>
                <c:pt idx="3688">
                  <c:v>30814.141277312046</c:v>
                </c:pt>
                <c:pt idx="3689">
                  <c:v>30820.749712639674</c:v>
                </c:pt>
                <c:pt idx="3690">
                  <c:v>30827.359565219758</c:v>
                </c:pt>
                <c:pt idx="3691">
                  <c:v>30833.970835356249</c:v>
                </c:pt>
                <c:pt idx="3692">
                  <c:v>30840.583523353154</c:v>
                </c:pt>
                <c:pt idx="3693">
                  <c:v>30847.19762951455</c:v>
                </c:pt>
                <c:pt idx="3694">
                  <c:v>30853.813154144576</c:v>
                </c:pt>
                <c:pt idx="3695">
                  <c:v>30860.430097547443</c:v>
                </c:pt>
                <c:pt idx="3696">
                  <c:v>30867.048460027418</c:v>
                </c:pt>
                <c:pt idx="3697">
                  <c:v>30873.668241888841</c:v>
                </c:pt>
                <c:pt idx="3698">
                  <c:v>30880.289443436108</c:v>
                </c:pt>
                <c:pt idx="3699">
                  <c:v>30886.912064973694</c:v>
                </c:pt>
                <c:pt idx="3700">
                  <c:v>30893.536106806125</c:v>
                </c:pt>
                <c:pt idx="3701">
                  <c:v>30900.161569238004</c:v>
                </c:pt>
                <c:pt idx="3702">
                  <c:v>30906.788452573994</c:v>
                </c:pt>
                <c:pt idx="3703">
                  <c:v>30913.416757118826</c:v>
                </c:pt>
                <c:pt idx="3704">
                  <c:v>30920.046483177288</c:v>
                </c:pt>
                <c:pt idx="3705">
                  <c:v>30926.677631054248</c:v>
                </c:pt>
                <c:pt idx="3706">
                  <c:v>30933.310201054624</c:v>
                </c:pt>
                <c:pt idx="3707">
                  <c:v>30939.944193483403</c:v>
                </c:pt>
                <c:pt idx="3708">
                  <c:v>30946.579608645647</c:v>
                </c:pt>
                <c:pt idx="3709">
                  <c:v>30953.216446846476</c:v>
                </c:pt>
                <c:pt idx="3710">
                  <c:v>30959.854708391078</c:v>
                </c:pt>
                <c:pt idx="3711">
                  <c:v>30966.494393584704</c:v>
                </c:pt>
                <c:pt idx="3712">
                  <c:v>30973.135502732668</c:v>
                </c:pt>
                <c:pt idx="3713">
                  <c:v>30979.778036140357</c:v>
                </c:pt>
                <c:pt idx="3714">
                  <c:v>30986.421994113214</c:v>
                </c:pt>
                <c:pt idx="3715">
                  <c:v>30001.206140619237</c:v>
                </c:pt>
                <c:pt idx="3716">
                  <c:v>30007.640232964917</c:v>
                </c:pt>
                <c:pt idx="3717">
                  <c:v>30014.075705173265</c:v>
                </c:pt>
                <c:pt idx="3718">
                  <c:v>30020.512557540209</c:v>
                </c:pt>
                <c:pt idx="3719">
                  <c:v>30026.950790361734</c:v>
                </c:pt>
                <c:pt idx="3720">
                  <c:v>30033.390403933896</c:v>
                </c:pt>
                <c:pt idx="3721">
                  <c:v>30377.437529434272</c:v>
                </c:pt>
                <c:pt idx="3722">
                  <c:v>30383.952308785923</c:v>
                </c:pt>
                <c:pt idx="3723">
                  <c:v>30390.468485304467</c:v>
                </c:pt>
                <c:pt idx="3724">
                  <c:v>30396.986059289538</c:v>
                </c:pt>
                <c:pt idx="3725">
                  <c:v>30403.505031040848</c:v>
                </c:pt>
                <c:pt idx="3726">
                  <c:v>30410.025400858154</c:v>
                </c:pt>
                <c:pt idx="3727">
                  <c:v>30416.547169041292</c:v>
                </c:pt>
                <c:pt idx="3728">
                  <c:v>30423.070335890156</c:v>
                </c:pt>
                <c:pt idx="3729">
                  <c:v>30429.594901704702</c:v>
                </c:pt>
                <c:pt idx="3730">
                  <c:v>30436.120866784961</c:v>
                </c:pt>
                <c:pt idx="3731">
                  <c:v>30442.648231431016</c:v>
                </c:pt>
                <c:pt idx="3732">
                  <c:v>30449.17699594302</c:v>
                </c:pt>
                <c:pt idx="3733">
                  <c:v>30455.70716062119</c:v>
                </c:pt>
                <c:pt idx="3734">
                  <c:v>30462.238725765805</c:v>
                </c:pt>
                <c:pt idx="3735">
                  <c:v>30468.771691677211</c:v>
                </c:pt>
                <c:pt idx="3736">
                  <c:v>30475.306058655817</c:v>
                </c:pt>
                <c:pt idx="3737">
                  <c:v>30481.841827002103</c:v>
                </c:pt>
                <c:pt idx="3738">
                  <c:v>30488.378997016604</c:v>
                </c:pt>
                <c:pt idx="3739">
                  <c:v>30494.917568999925</c:v>
                </c:pt>
                <c:pt idx="3740">
                  <c:v>30501.457543252734</c:v>
                </c:pt>
                <c:pt idx="3741">
                  <c:v>30507.998920075766</c:v>
                </c:pt>
                <c:pt idx="3742">
                  <c:v>30514.541699769812</c:v>
                </c:pt>
                <c:pt idx="3743">
                  <c:v>30521.085882635736</c:v>
                </c:pt>
                <c:pt idx="3744">
                  <c:v>30527.631468974461</c:v>
                </c:pt>
                <c:pt idx="3745">
                  <c:v>29542.317222749462</c:v>
                </c:pt>
                <c:pt idx="3746">
                  <c:v>29548.652901262707</c:v>
                </c:pt>
                <c:pt idx="3747">
                  <c:v>29554.989938532679</c:v>
                </c:pt>
                <c:pt idx="3748">
                  <c:v>29561.328334850779</c:v>
                </c:pt>
                <c:pt idx="3749">
                  <c:v>29567.668090508465</c:v>
                </c:pt>
                <c:pt idx="3750">
                  <c:v>29574.009205797265</c:v>
                </c:pt>
                <c:pt idx="3751">
                  <c:v>29580.351681008771</c:v>
                </c:pt>
                <c:pt idx="3752">
                  <c:v>29586.695516434629</c:v>
                </c:pt>
                <c:pt idx="3753">
                  <c:v>29593.040712366554</c:v>
                </c:pt>
                <c:pt idx="3754">
                  <c:v>29599.387269096322</c:v>
                </c:pt>
                <c:pt idx="3755">
                  <c:v>29605.735186915768</c:v>
                </c:pt>
                <c:pt idx="3756">
                  <c:v>29612.084466116798</c:v>
                </c:pt>
                <c:pt idx="3757">
                  <c:v>29618.435106991368</c:v>
                </c:pt>
                <c:pt idx="3758">
                  <c:v>29624.787109831512</c:v>
                </c:pt>
                <c:pt idx="3759">
                  <c:v>29631.140474929314</c:v>
                </c:pt>
                <c:pt idx="3760">
                  <c:v>29637.495202576923</c:v>
                </c:pt>
                <c:pt idx="3761">
                  <c:v>29643.851293066564</c:v>
                </c:pt>
                <c:pt idx="3762">
                  <c:v>29650.2087466905</c:v>
                </c:pt>
                <c:pt idx="3763">
                  <c:v>29656.567563741082</c:v>
                </c:pt>
                <c:pt idx="3764">
                  <c:v>29662.927744510704</c:v>
                </c:pt>
                <c:pt idx="3765">
                  <c:v>29669.289289291832</c:v>
                </c:pt>
                <c:pt idx="3766">
                  <c:v>29675.652198376996</c:v>
                </c:pt>
                <c:pt idx="3767">
                  <c:v>29682.016472058785</c:v>
                </c:pt>
                <c:pt idx="3768">
                  <c:v>29688.382110629853</c:v>
                </c:pt>
                <c:pt idx="3769">
                  <c:v>29694.749114382914</c:v>
                </c:pt>
                <c:pt idx="3770">
                  <c:v>29701.117483610749</c:v>
                </c:pt>
                <c:pt idx="3771">
                  <c:v>29707.487218606191</c:v>
                </c:pt>
                <c:pt idx="3772">
                  <c:v>29713.858319662155</c:v>
                </c:pt>
                <c:pt idx="3773">
                  <c:v>29720.230787071603</c:v>
                </c:pt>
                <c:pt idx="3774">
                  <c:v>29726.604621127564</c:v>
                </c:pt>
                <c:pt idx="3775">
                  <c:v>29732.979822123129</c:v>
                </c:pt>
                <c:pt idx="3776">
                  <c:v>28747.495154013937</c:v>
                </c:pt>
                <c:pt idx="3777">
                  <c:v>28753.660374094121</c:v>
                </c:pt>
                <c:pt idx="3778">
                  <c:v>28759.826916374324</c:v>
                </c:pt>
                <c:pt idx="3779">
                  <c:v>28765.99478113811</c:v>
                </c:pt>
                <c:pt idx="3780">
                  <c:v>28772.163968669094</c:v>
                </c:pt>
                <c:pt idx="3781">
                  <c:v>28778.33447925096</c:v>
                </c:pt>
                <c:pt idx="3782">
                  <c:v>28784.506313167454</c:v>
                </c:pt>
                <c:pt idx="3783">
                  <c:v>28790.67947070238</c:v>
                </c:pt>
                <c:pt idx="3784">
                  <c:v>28796.853952139601</c:v>
                </c:pt>
                <c:pt idx="3785">
                  <c:v>28803.029757763041</c:v>
                </c:pt>
                <c:pt idx="3786">
                  <c:v>28809.206887856686</c:v>
                </c:pt>
                <c:pt idx="3787">
                  <c:v>28815.385342704587</c:v>
                </c:pt>
                <c:pt idx="3788">
                  <c:v>28821.565122590848</c:v>
                </c:pt>
                <c:pt idx="3789">
                  <c:v>28827.746227799638</c:v>
                </c:pt>
                <c:pt idx="3790">
                  <c:v>28833.92865861519</c:v>
                </c:pt>
                <c:pt idx="3791">
                  <c:v>28840.112415321793</c:v>
                </c:pt>
                <c:pt idx="3792">
                  <c:v>28846.297498203803</c:v>
                </c:pt>
                <c:pt idx="3793">
                  <c:v>28852.483907545633</c:v>
                </c:pt>
                <c:pt idx="3794">
                  <c:v>28858.671643631751</c:v>
                </c:pt>
                <c:pt idx="3795">
                  <c:v>28864.860706746698</c:v>
                </c:pt>
                <c:pt idx="3796">
                  <c:v>28871.051097175066</c:v>
                </c:pt>
                <c:pt idx="3797">
                  <c:v>28877.242815201516</c:v>
                </c:pt>
                <c:pt idx="3798">
                  <c:v>28883.435861110764</c:v>
                </c:pt>
                <c:pt idx="3799">
                  <c:v>28889.630235187589</c:v>
                </c:pt>
                <c:pt idx="3800">
                  <c:v>28895.825937716832</c:v>
                </c:pt>
                <c:pt idx="3801">
                  <c:v>28902.022968983398</c:v>
                </c:pt>
                <c:pt idx="3802">
                  <c:v>28908.221329272244</c:v>
                </c:pt>
                <c:pt idx="3803">
                  <c:v>28914.421018868394</c:v>
                </c:pt>
                <c:pt idx="3804">
                  <c:v>28920.622038056932</c:v>
                </c:pt>
                <c:pt idx="3805">
                  <c:v>28926.824387123008</c:v>
                </c:pt>
                <c:pt idx="3806">
                  <c:v>28933.028066351824</c:v>
                </c:pt>
                <c:pt idx="3807">
                  <c:v>27947.371839691135</c:v>
                </c:pt>
                <c:pt idx="3808">
                  <c:v>27953.365464427185</c:v>
                </c:pt>
                <c:pt idx="3809">
                  <c:v>27959.360374562719</c:v>
                </c:pt>
                <c:pt idx="3810">
                  <c:v>27965.356570373409</c:v>
                </c:pt>
                <c:pt idx="3811">
                  <c:v>27971.354052134986</c:v>
                </c:pt>
                <c:pt idx="3812">
                  <c:v>27977.352820123237</c:v>
                </c:pt>
                <c:pt idx="3813">
                  <c:v>27983.352874614</c:v>
                </c:pt>
                <c:pt idx="3814">
                  <c:v>27989.354215883184</c:v>
                </c:pt>
                <c:pt idx="3815">
                  <c:v>27995.356844206755</c:v>
                </c:pt>
                <c:pt idx="3816">
                  <c:v>28001.360759860734</c:v>
                </c:pt>
                <c:pt idx="3817">
                  <c:v>28007.365963121203</c:v>
                </c:pt>
                <c:pt idx="3818">
                  <c:v>28013.372454264303</c:v>
                </c:pt>
                <c:pt idx="3819">
                  <c:v>28019.38023356624</c:v>
                </c:pt>
                <c:pt idx="3820">
                  <c:v>28025.389301303265</c:v>
                </c:pt>
                <c:pt idx="3821">
                  <c:v>28031.399657751703</c:v>
                </c:pt>
                <c:pt idx="3822">
                  <c:v>28037.411303187931</c:v>
                </c:pt>
                <c:pt idx="3823">
                  <c:v>28043.42423788839</c:v>
                </c:pt>
                <c:pt idx="3824">
                  <c:v>28049.438462129576</c:v>
                </c:pt>
                <c:pt idx="3825">
                  <c:v>28055.453976188044</c:v>
                </c:pt>
                <c:pt idx="3826">
                  <c:v>28061.470780340409</c:v>
                </c:pt>
                <c:pt idx="3827">
                  <c:v>28067.488874863346</c:v>
                </c:pt>
                <c:pt idx="3828">
                  <c:v>28073.508260033588</c:v>
                </c:pt>
                <c:pt idx="3829">
                  <c:v>28079.528936127932</c:v>
                </c:pt>
                <c:pt idx="3830">
                  <c:v>28085.550903423231</c:v>
                </c:pt>
                <c:pt idx="3831">
                  <c:v>28091.574162196393</c:v>
                </c:pt>
                <c:pt idx="3832">
                  <c:v>28097.598712724393</c:v>
                </c:pt>
                <c:pt idx="3833">
                  <c:v>28103.624555284259</c:v>
                </c:pt>
                <c:pt idx="3834">
                  <c:v>28109.651690153085</c:v>
                </c:pt>
                <c:pt idx="3835">
                  <c:v>27123.818881270505</c:v>
                </c:pt>
                <c:pt idx="3836">
                  <c:v>27129.635885914638</c:v>
                </c:pt>
                <c:pt idx="3837">
                  <c:v>27135.45413808012</c:v>
                </c:pt>
                <c:pt idx="3838">
                  <c:v>27141.27363803449</c:v>
                </c:pt>
                <c:pt idx="3839">
                  <c:v>27147.094386045355</c:v>
                </c:pt>
                <c:pt idx="3840">
                  <c:v>27152.916382380368</c:v>
                </c:pt>
                <c:pt idx="3841">
                  <c:v>27158.739627307252</c:v>
                </c:pt>
                <c:pt idx="3842">
                  <c:v>27164.564121093783</c:v>
                </c:pt>
                <c:pt idx="3843">
                  <c:v>27170.389864007786</c:v>
                </c:pt>
                <c:pt idx="3844">
                  <c:v>27176.216856317154</c:v>
                </c:pt>
                <c:pt idx="3845">
                  <c:v>27182.045098289833</c:v>
                </c:pt>
                <c:pt idx="3846">
                  <c:v>27187.874590193831</c:v>
                </c:pt>
                <c:pt idx="3847">
                  <c:v>27193.705332297206</c:v>
                </c:pt>
                <c:pt idx="3848">
                  <c:v>27199.537324868077</c:v>
                </c:pt>
                <c:pt idx="3849">
                  <c:v>27205.370568174625</c:v>
                </c:pt>
                <c:pt idx="3850">
                  <c:v>27211.205062485074</c:v>
                </c:pt>
                <c:pt idx="3851">
                  <c:v>27217.040808067723</c:v>
                </c:pt>
                <c:pt idx="3852">
                  <c:v>27222.877805190921</c:v>
                </c:pt>
                <c:pt idx="3853">
                  <c:v>27228.716054123073</c:v>
                </c:pt>
                <c:pt idx="3854">
                  <c:v>27234.555555132643</c:v>
                </c:pt>
                <c:pt idx="3855">
                  <c:v>27240.396308488158</c:v>
                </c:pt>
                <c:pt idx="3856">
                  <c:v>27246.238314458195</c:v>
                </c:pt>
                <c:pt idx="3857">
                  <c:v>27252.081573311389</c:v>
                </c:pt>
                <c:pt idx="3858">
                  <c:v>27257.926085316438</c:v>
                </c:pt>
                <c:pt idx="3859">
                  <c:v>27263.771850742087</c:v>
                </c:pt>
                <c:pt idx="3860">
                  <c:v>27269.618869857157</c:v>
                </c:pt>
                <c:pt idx="3861">
                  <c:v>27275.467142930509</c:v>
                </c:pt>
                <c:pt idx="3862">
                  <c:v>27281.31667023107</c:v>
                </c:pt>
                <c:pt idx="3863">
                  <c:v>27287.167452027817</c:v>
                </c:pt>
                <c:pt idx="3864">
                  <c:v>27293.019488589794</c:v>
                </c:pt>
                <c:pt idx="3865">
                  <c:v>27298.872780186106</c:v>
                </c:pt>
                <c:pt idx="3866">
                  <c:v>26312.866090748383</c:v>
                </c:pt>
                <c:pt idx="3867">
                  <c:v>26318.509177546755</c:v>
                </c:pt>
                <c:pt idx="3868">
                  <c:v>26324.153474567858</c:v>
                </c:pt>
                <c:pt idx="3869">
                  <c:v>26329.798982071236</c:v>
                </c:pt>
                <c:pt idx="3870">
                  <c:v>26335.44570031649</c:v>
                </c:pt>
                <c:pt idx="3871">
                  <c:v>26341.093629563278</c:v>
                </c:pt>
                <c:pt idx="3872">
                  <c:v>26346.742770071312</c:v>
                </c:pt>
                <c:pt idx="3873">
                  <c:v>26352.393122100359</c:v>
                </c:pt>
                <c:pt idx="3874">
                  <c:v>26358.044685910245</c:v>
                </c:pt>
                <c:pt idx="3875">
                  <c:v>26363.69746176085</c:v>
                </c:pt>
                <c:pt idx="3876">
                  <c:v>26369.351449912108</c:v>
                </c:pt>
                <c:pt idx="3877">
                  <c:v>26375.006650624015</c:v>
                </c:pt>
                <c:pt idx="3878">
                  <c:v>26380.663064156608</c:v>
                </c:pt>
                <c:pt idx="3879">
                  <c:v>26386.320690770001</c:v>
                </c:pt>
                <c:pt idx="3880">
                  <c:v>26391.979530724348</c:v>
                </c:pt>
                <c:pt idx="3881">
                  <c:v>26397.639584279867</c:v>
                </c:pt>
                <c:pt idx="3882">
                  <c:v>26403.300851696822</c:v>
                </c:pt>
                <c:pt idx="3883">
                  <c:v>26408.963333235541</c:v>
                </c:pt>
                <c:pt idx="3884">
                  <c:v>26414.627029156407</c:v>
                </c:pt>
                <c:pt idx="3885">
                  <c:v>26420.291939719864</c:v>
                </c:pt>
                <c:pt idx="3886">
                  <c:v>26425.958065186391</c:v>
                </c:pt>
                <c:pt idx="3887">
                  <c:v>26431.62540581655</c:v>
                </c:pt>
                <c:pt idx="3888">
                  <c:v>26437.293961870942</c:v>
                </c:pt>
                <c:pt idx="3889">
                  <c:v>26442.963733610228</c:v>
                </c:pt>
                <c:pt idx="3890">
                  <c:v>26448.63472129513</c:v>
                </c:pt>
                <c:pt idx="3891">
                  <c:v>26454.306925186414</c:v>
                </c:pt>
                <c:pt idx="3892">
                  <c:v>26459.980345544911</c:v>
                </c:pt>
                <c:pt idx="3893">
                  <c:v>26465.654982631506</c:v>
                </c:pt>
                <c:pt idx="3894">
                  <c:v>26471.33083670714</c:v>
                </c:pt>
                <c:pt idx="3895">
                  <c:v>26477.007908032811</c:v>
                </c:pt>
                <c:pt idx="3896">
                  <c:v>25490.824960532049</c:v>
                </c:pt>
                <c:pt idx="3897">
                  <c:v>25496.291751466884</c:v>
                </c:pt>
                <c:pt idx="3898">
                  <c:v>25501.759714815838</c:v>
                </c:pt>
                <c:pt idx="3899">
                  <c:v>25507.22885083035</c:v>
                </c:pt>
                <c:pt idx="3900">
                  <c:v>25512.699159761913</c:v>
                </c:pt>
                <c:pt idx="3901">
                  <c:v>25518.170641862071</c:v>
                </c:pt>
                <c:pt idx="3902">
                  <c:v>25523.643297382419</c:v>
                </c:pt>
                <c:pt idx="3903">
                  <c:v>25529.117126574616</c:v>
                </c:pt>
                <c:pt idx="3904">
                  <c:v>25534.592129690365</c:v>
                </c:pt>
                <c:pt idx="3905">
                  <c:v>25540.068306981426</c:v>
                </c:pt>
                <c:pt idx="3906">
                  <c:v>25545.545658699619</c:v>
                </c:pt>
                <c:pt idx="3907">
                  <c:v>25551.024185096805</c:v>
                </c:pt>
                <c:pt idx="3908">
                  <c:v>25556.503886424915</c:v>
                </c:pt>
                <c:pt idx="3909">
                  <c:v>25561.984762935921</c:v>
                </c:pt>
                <c:pt idx="3910">
                  <c:v>25567.466814881856</c:v>
                </c:pt>
                <c:pt idx="3911">
                  <c:v>25572.950042514807</c:v>
                </c:pt>
                <c:pt idx="3912">
                  <c:v>25578.434446086911</c:v>
                </c:pt>
                <c:pt idx="3913">
                  <c:v>25583.920025850359</c:v>
                </c:pt>
                <c:pt idx="3914">
                  <c:v>25589.406782057402</c:v>
                </c:pt>
                <c:pt idx="3915">
                  <c:v>25594.894714960341</c:v>
                </c:pt>
                <c:pt idx="3916">
                  <c:v>25600.383824811528</c:v>
                </c:pt>
                <c:pt idx="3917">
                  <c:v>25605.874111863377</c:v>
                </c:pt>
                <c:pt idx="3918">
                  <c:v>25611.365576368353</c:v>
                </c:pt>
                <c:pt idx="3919">
                  <c:v>25616.858218578967</c:v>
                </c:pt>
                <c:pt idx="3920">
                  <c:v>25622.352038747795</c:v>
                </c:pt>
                <c:pt idx="3921">
                  <c:v>25627.847037127467</c:v>
                </c:pt>
                <c:pt idx="3922">
                  <c:v>25633.343213970657</c:v>
                </c:pt>
                <c:pt idx="3923">
                  <c:v>25638.840569530101</c:v>
                </c:pt>
                <c:pt idx="3924">
                  <c:v>25644.339104058592</c:v>
                </c:pt>
                <c:pt idx="3925">
                  <c:v>25649.83881780897</c:v>
                </c:pt>
                <c:pt idx="3926">
                  <c:v>25655.339711034136</c:v>
                </c:pt>
                <c:pt idx="3927">
                  <c:v>24668.980547649517</c:v>
                </c:pt>
                <c:pt idx="3928">
                  <c:v>24674.271084909033</c:v>
                </c:pt>
                <c:pt idx="3929">
                  <c:v>24679.562756783107</c:v>
                </c:pt>
                <c:pt idx="3930">
                  <c:v>24684.85556351507</c:v>
                </c:pt>
                <c:pt idx="3931">
                  <c:v>24690.149505348305</c:v>
                </c:pt>
                <c:pt idx="3932">
                  <c:v>24695.444582526248</c:v>
                </c:pt>
                <c:pt idx="3933">
                  <c:v>24700.74079529239</c:v>
                </c:pt>
                <c:pt idx="3934">
                  <c:v>24706.038143890266</c:v>
                </c:pt>
                <c:pt idx="3935">
                  <c:v>24711.336628563469</c:v>
                </c:pt>
                <c:pt idx="3936">
                  <c:v>24716.636249555642</c:v>
                </c:pt>
                <c:pt idx="3937">
                  <c:v>24721.937007110482</c:v>
                </c:pt>
                <c:pt idx="3938">
                  <c:v>24727.238901471737</c:v>
                </c:pt>
                <c:pt idx="3939">
                  <c:v>24732.54193288321</c:v>
                </c:pt>
                <c:pt idx="3940">
                  <c:v>24737.846101588751</c:v>
                </c:pt>
                <c:pt idx="3941">
                  <c:v>24743.151407832269</c:v>
                </c:pt>
                <c:pt idx="3942">
                  <c:v>24748.457851857715</c:v>
                </c:pt>
                <c:pt idx="3943">
                  <c:v>24753.765433909106</c:v>
                </c:pt>
                <c:pt idx="3944">
                  <c:v>24759.0741542305</c:v>
                </c:pt>
                <c:pt idx="3945">
                  <c:v>24764.384013066014</c:v>
                </c:pt>
                <c:pt idx="3946">
                  <c:v>24769.695010659816</c:v>
                </c:pt>
                <c:pt idx="3947">
                  <c:v>24775.007147256121</c:v>
                </c:pt>
                <c:pt idx="3948">
                  <c:v>24780.320423099209</c:v>
                </c:pt>
                <c:pt idx="3949">
                  <c:v>24785.634838433398</c:v>
                </c:pt>
                <c:pt idx="3950">
                  <c:v>24790.950393503063</c:v>
                </c:pt>
                <c:pt idx="3951">
                  <c:v>24796.267088552635</c:v>
                </c:pt>
                <c:pt idx="3952">
                  <c:v>24801.584923826595</c:v>
                </c:pt>
                <c:pt idx="3953">
                  <c:v>24806.903899569475</c:v>
                </c:pt>
                <c:pt idx="3954">
                  <c:v>24812.224016025866</c:v>
                </c:pt>
                <c:pt idx="3955">
                  <c:v>24817.545273440403</c:v>
                </c:pt>
                <c:pt idx="3956">
                  <c:v>24822.867672057779</c:v>
                </c:pt>
                <c:pt idx="3957">
                  <c:v>23836.329975785222</c:v>
                </c:pt>
                <c:pt idx="3958">
                  <c:v>23841.441941868434</c:v>
                </c:pt>
                <c:pt idx="3959">
                  <c:v>23846.55500426963</c:v>
                </c:pt>
                <c:pt idx="3960">
                  <c:v>23851.669163223931</c:v>
                </c:pt>
                <c:pt idx="3961">
                  <c:v>23553.341467880229</c:v>
                </c:pt>
                <c:pt idx="3962">
                  <c:v>23558.392743930377</c:v>
                </c:pt>
                <c:pt idx="3963">
                  <c:v>23563.445103282858</c:v>
                </c:pt>
                <c:pt idx="3964">
                  <c:v>23568.498546169998</c:v>
                </c:pt>
                <c:pt idx="3965">
                  <c:v>23573.553072824172</c:v>
                </c:pt>
                <c:pt idx="3966">
                  <c:v>23578.608683477803</c:v>
                </c:pt>
                <c:pt idx="3967">
                  <c:v>23583.665378363374</c:v>
                </c:pt>
                <c:pt idx="3968">
                  <c:v>23588.723157713404</c:v>
                </c:pt>
                <c:pt idx="3969">
                  <c:v>23593.782021760475</c:v>
                </c:pt>
                <c:pt idx="3970">
                  <c:v>23598.841970737205</c:v>
                </c:pt>
                <c:pt idx="3971">
                  <c:v>23603.903004876269</c:v>
                </c:pt>
                <c:pt idx="3972">
                  <c:v>23608.965124410399</c:v>
                </c:pt>
                <c:pt idx="3973">
                  <c:v>23614.028329572364</c:v>
                </c:pt>
                <c:pt idx="3974">
                  <c:v>23619.092620594995</c:v>
                </c:pt>
                <c:pt idx="3975">
                  <c:v>23624.157997711161</c:v>
                </c:pt>
                <c:pt idx="3976">
                  <c:v>23629.22446115379</c:v>
                </c:pt>
                <c:pt idx="3977">
                  <c:v>23634.292011155856</c:v>
                </c:pt>
                <c:pt idx="3978">
                  <c:v>23639.360647950387</c:v>
                </c:pt>
                <c:pt idx="3979">
                  <c:v>23644.43037177045</c:v>
                </c:pt>
                <c:pt idx="3980">
                  <c:v>23649.501182849177</c:v>
                </c:pt>
                <c:pt idx="3981">
                  <c:v>23654.573081419738</c:v>
                </c:pt>
                <c:pt idx="3982">
                  <c:v>23659.646067715363</c:v>
                </c:pt>
                <c:pt idx="3983">
                  <c:v>23664.720141969319</c:v>
                </c:pt>
                <c:pt idx="3984">
                  <c:v>23669.795304414936</c:v>
                </c:pt>
                <c:pt idx="3985">
                  <c:v>23674.87155528559</c:v>
                </c:pt>
                <c:pt idx="3986">
                  <c:v>23679.948894814705</c:v>
                </c:pt>
                <c:pt idx="3987">
                  <c:v>23685.027323235754</c:v>
                </c:pt>
                <c:pt idx="3988">
                  <c:v>22698.245604444743</c:v>
                </c:pt>
                <c:pt idx="3989">
                  <c:v>22703.11349567616</c:v>
                </c:pt>
                <c:pt idx="3990">
                  <c:v>22707.982430880998</c:v>
                </c:pt>
                <c:pt idx="3991">
                  <c:v>22712.852410283147</c:v>
                </c:pt>
                <c:pt idx="3992">
                  <c:v>22717.723434106545</c:v>
                </c:pt>
                <c:pt idx="3993">
                  <c:v>22722.595502575179</c:v>
                </c:pt>
                <c:pt idx="3994">
                  <c:v>22727.468615913083</c:v>
                </c:pt>
                <c:pt idx="3995">
                  <c:v>22732.34277434435</c:v>
                </c:pt>
                <c:pt idx="3996">
                  <c:v>22737.217978093104</c:v>
                </c:pt>
                <c:pt idx="3997">
                  <c:v>22742.094227383521</c:v>
                </c:pt>
                <c:pt idx="3998">
                  <c:v>22746.971522439839</c:v>
                </c:pt>
                <c:pt idx="3999">
                  <c:v>22751.849863486324</c:v>
                </c:pt>
                <c:pt idx="4000">
                  <c:v>22756.729250747314</c:v>
                </c:pt>
                <c:pt idx="4001">
                  <c:v>22761.609684447169</c:v>
                </c:pt>
                <c:pt idx="4002">
                  <c:v>22766.491164810315</c:v>
                </c:pt>
                <c:pt idx="4003">
                  <c:v>22771.373692061217</c:v>
                </c:pt>
                <c:pt idx="4004">
                  <c:v>22776.257266424396</c:v>
                </c:pt>
                <c:pt idx="4005">
                  <c:v>22781.141888124414</c:v>
                </c:pt>
                <c:pt idx="4006">
                  <c:v>22786.027557385885</c:v>
                </c:pt>
                <c:pt idx="4007">
                  <c:v>22790.914274433468</c:v>
                </c:pt>
                <c:pt idx="4008">
                  <c:v>22795.802039491879</c:v>
                </c:pt>
                <c:pt idx="4009">
                  <c:v>22800.690852785865</c:v>
                </c:pt>
                <c:pt idx="4010">
                  <c:v>22805.580714540243</c:v>
                </c:pt>
                <c:pt idx="4011">
                  <c:v>22810.471624979862</c:v>
                </c:pt>
                <c:pt idx="4012">
                  <c:v>22815.363584329622</c:v>
                </c:pt>
                <c:pt idx="4013">
                  <c:v>22820.256592814472</c:v>
                </c:pt>
                <c:pt idx="4014">
                  <c:v>22825.150650659416</c:v>
                </c:pt>
                <c:pt idx="4015">
                  <c:v>22830.045758089502</c:v>
                </c:pt>
                <c:pt idx="4016">
                  <c:v>22834.941915329822</c:v>
                </c:pt>
                <c:pt idx="4017">
                  <c:v>22839.839122605517</c:v>
                </c:pt>
                <c:pt idx="4018">
                  <c:v>22844.737380141782</c:v>
                </c:pt>
                <c:pt idx="4019">
                  <c:v>21857.775451826343</c:v>
                </c:pt>
                <c:pt idx="4020">
                  <c:v>21862.463094885392</c:v>
                </c:pt>
                <c:pt idx="4021">
                  <c:v>21867.151743261638</c:v>
                </c:pt>
                <c:pt idx="4022">
                  <c:v>21871.841397170676</c:v>
                </c:pt>
                <c:pt idx="4023">
                  <c:v>21876.532056828153</c:v>
                </c:pt>
                <c:pt idx="4024">
                  <c:v>21881.223722449766</c:v>
                </c:pt>
                <c:pt idx="4025">
                  <c:v>21885.916394251257</c:v>
                </c:pt>
                <c:pt idx="4026">
                  <c:v>21890.610072448409</c:v>
                </c:pt>
                <c:pt idx="4027">
                  <c:v>21895.304757257058</c:v>
                </c:pt>
                <c:pt idx="4028">
                  <c:v>21900.000448893079</c:v>
                </c:pt>
                <c:pt idx="4029">
                  <c:v>21904.697147572399</c:v>
                </c:pt>
                <c:pt idx="4030">
                  <c:v>21909.394853510985</c:v>
                </c:pt>
                <c:pt idx="4031">
                  <c:v>21914.093566924865</c:v>
                </c:pt>
                <c:pt idx="4032">
                  <c:v>21918.793288030098</c:v>
                </c:pt>
                <c:pt idx="4033">
                  <c:v>21923.494017042791</c:v>
                </c:pt>
                <c:pt idx="4034">
                  <c:v>21928.195754179105</c:v>
                </c:pt>
                <c:pt idx="4035">
                  <c:v>21932.898499655246</c:v>
                </c:pt>
                <c:pt idx="4036">
                  <c:v>21937.602253687459</c:v>
                </c:pt>
                <c:pt idx="4037">
                  <c:v>21942.307016492046</c:v>
                </c:pt>
                <c:pt idx="4038">
                  <c:v>21947.012788285345</c:v>
                </c:pt>
                <c:pt idx="4039">
                  <c:v>21951.719569283745</c:v>
                </c:pt>
                <c:pt idx="4040">
                  <c:v>21956.427359703677</c:v>
                </c:pt>
                <c:pt idx="4041">
                  <c:v>21961.136159761627</c:v>
                </c:pt>
                <c:pt idx="4042">
                  <c:v>21965.845969674127</c:v>
                </c:pt>
                <c:pt idx="4043">
                  <c:v>21970.556789657741</c:v>
                </c:pt>
                <c:pt idx="4044">
                  <c:v>21975.268619929102</c:v>
                </c:pt>
                <c:pt idx="4045">
                  <c:v>21979.981460704872</c:v>
                </c:pt>
                <c:pt idx="4046">
                  <c:v>21984.695312201766</c:v>
                </c:pt>
                <c:pt idx="4047">
                  <c:v>21989.410174636545</c:v>
                </c:pt>
                <c:pt idx="4048">
                  <c:v>21994.126048226011</c:v>
                </c:pt>
                <c:pt idx="4049">
                  <c:v>21006.981696849507</c:v>
                </c:pt>
                <c:pt idx="4050">
                  <c:v>21011.486877724838</c:v>
                </c:pt>
                <c:pt idx="4051">
                  <c:v>20444.356230919275</c:v>
                </c:pt>
                <c:pt idx="4052">
                  <c:v>20448.740750505629</c:v>
                </c:pt>
                <c:pt idx="4053">
                  <c:v>20453.126210400973</c:v>
                </c:pt>
                <c:pt idx="4054">
                  <c:v>20457.512610806967</c:v>
                </c:pt>
                <c:pt idx="4055">
                  <c:v>20461.899951925316</c:v>
                </c:pt>
                <c:pt idx="4056">
                  <c:v>20466.288233957766</c:v>
                </c:pt>
                <c:pt idx="4057">
                  <c:v>20470.677457106107</c:v>
                </c:pt>
                <c:pt idx="4058">
                  <c:v>20475.067621572172</c:v>
                </c:pt>
                <c:pt idx="4059">
                  <c:v>20479.458727557838</c:v>
                </c:pt>
                <c:pt idx="4060">
                  <c:v>20483.850775265022</c:v>
                </c:pt>
                <c:pt idx="4061">
                  <c:v>20488.243764895687</c:v>
                </c:pt>
                <c:pt idx="4062">
                  <c:v>20492.63769665184</c:v>
                </c:pt>
                <c:pt idx="4063">
                  <c:v>20497.03257073553</c:v>
                </c:pt>
                <c:pt idx="4064">
                  <c:v>20501.428387348849</c:v>
                </c:pt>
                <c:pt idx="4065">
                  <c:v>20505.825146693936</c:v>
                </c:pt>
                <c:pt idx="4066">
                  <c:v>20510.222848972964</c:v>
                </c:pt>
                <c:pt idx="4067">
                  <c:v>20514.62149438816</c:v>
                </c:pt>
                <c:pt idx="4068">
                  <c:v>20519.021083141793</c:v>
                </c:pt>
                <c:pt idx="4069">
                  <c:v>20523.421615436164</c:v>
                </c:pt>
                <c:pt idx="4070">
                  <c:v>20527.82309147363</c:v>
                </c:pt>
                <c:pt idx="4071">
                  <c:v>20532.225511456592</c:v>
                </c:pt>
                <c:pt idx="4072">
                  <c:v>20536.628875587481</c:v>
                </c:pt>
                <c:pt idx="4073">
                  <c:v>20541.033184068787</c:v>
                </c:pt>
                <c:pt idx="4074">
                  <c:v>20545.438437103032</c:v>
                </c:pt>
                <c:pt idx="4075">
                  <c:v>20549.844634892786</c:v>
                </c:pt>
                <c:pt idx="4076">
                  <c:v>20554.251777640668</c:v>
                </c:pt>
                <c:pt idx="4077">
                  <c:v>20558.659865549329</c:v>
                </c:pt>
                <c:pt idx="4078">
                  <c:v>20563.068898821475</c:v>
                </c:pt>
                <c:pt idx="4079">
                  <c:v>20567.478877659843</c:v>
                </c:pt>
                <c:pt idx="4080">
                  <c:v>19580.028565929704</c:v>
                </c:pt>
                <c:pt idx="4081">
                  <c:v>19584.227720834802</c:v>
                </c:pt>
                <c:pt idx="4082">
                  <c:v>19588.427776295375</c:v>
                </c:pt>
                <c:pt idx="4083">
                  <c:v>19592.628732504556</c:v>
                </c:pt>
                <c:pt idx="4084">
                  <c:v>19596.830589655521</c:v>
                </c:pt>
                <c:pt idx="4085">
                  <c:v>19601.033347941491</c:v>
                </c:pt>
                <c:pt idx="4086">
                  <c:v>19605.237007555719</c:v>
                </c:pt>
                <c:pt idx="4087">
                  <c:v>19609.441568691505</c:v>
                </c:pt>
                <c:pt idx="4088">
                  <c:v>19613.647031542194</c:v>
                </c:pt>
                <c:pt idx="4089">
                  <c:v>19617.853396301165</c:v>
                </c:pt>
                <c:pt idx="4090">
                  <c:v>19622.060663161847</c:v>
                </c:pt>
                <c:pt idx="4091">
                  <c:v>19626.268832317699</c:v>
                </c:pt>
                <c:pt idx="4092">
                  <c:v>19630.477903962234</c:v>
                </c:pt>
                <c:pt idx="4093">
                  <c:v>19634.687878288998</c:v>
                </c:pt>
                <c:pt idx="4094">
                  <c:v>19638.89875549158</c:v>
                </c:pt>
                <c:pt idx="4095">
                  <c:v>19643.110535763615</c:v>
                </c:pt>
                <c:pt idx="4096">
                  <c:v>19647.323219298774</c:v>
                </c:pt>
                <c:pt idx="4097">
                  <c:v>19651.536806290773</c:v>
                </c:pt>
                <c:pt idx="4098">
                  <c:v>19655.751296933369</c:v>
                </c:pt>
                <c:pt idx="4099">
                  <c:v>19659.966691420359</c:v>
                </c:pt>
                <c:pt idx="4100">
                  <c:v>19664.182989945581</c:v>
                </c:pt>
                <c:pt idx="4101">
                  <c:v>19668.400192702917</c:v>
                </c:pt>
                <c:pt idx="4102">
                  <c:v>19672.61829988629</c:v>
                </c:pt>
                <c:pt idx="4103">
                  <c:v>19676.837311689666</c:v>
                </c:pt>
                <c:pt idx="4104">
                  <c:v>19681.057228307051</c:v>
                </c:pt>
                <c:pt idx="4105">
                  <c:v>19685.278049932487</c:v>
                </c:pt>
                <c:pt idx="4106">
                  <c:v>19689.499776760073</c:v>
                </c:pt>
                <c:pt idx="4107">
                  <c:v>19693.722408983929</c:v>
                </c:pt>
                <c:pt idx="4108">
                  <c:v>19697.945946798234</c:v>
                </c:pt>
                <c:pt idx="4109">
                  <c:v>19702.170390397197</c:v>
                </c:pt>
                <c:pt idx="4110">
                  <c:v>18714.534503637558</c:v>
                </c:pt>
                <c:pt idx="4111">
                  <c:v>18718.548043714531</c:v>
                </c:pt>
                <c:pt idx="4112">
                  <c:v>18722.56244453981</c:v>
                </c:pt>
                <c:pt idx="4113">
                  <c:v>18726.577706297998</c:v>
                </c:pt>
                <c:pt idx="4114">
                  <c:v>18730.593829173729</c:v>
                </c:pt>
                <c:pt idx="4115">
                  <c:v>18734.610813351679</c:v>
                </c:pt>
                <c:pt idx="4116">
                  <c:v>18738.628659016566</c:v>
                </c:pt>
                <c:pt idx="4117">
                  <c:v>18742.647366353143</c:v>
                </c:pt>
                <c:pt idx="4118">
                  <c:v>18746.666935546207</c:v>
                </c:pt>
                <c:pt idx="4119">
                  <c:v>18750.687366780592</c:v>
                </c:pt>
                <c:pt idx="4120">
                  <c:v>18754.708660241176</c:v>
                </c:pt>
                <c:pt idx="4121">
                  <c:v>18758.730816112868</c:v>
                </c:pt>
                <c:pt idx="4122">
                  <c:v>18762.753834580624</c:v>
                </c:pt>
                <c:pt idx="4123">
                  <c:v>18766.777715829438</c:v>
                </c:pt>
                <c:pt idx="4124">
                  <c:v>18770.802460044339</c:v>
                </c:pt>
                <c:pt idx="4125">
                  <c:v>18774.828067410403</c:v>
                </c:pt>
                <c:pt idx="4126">
                  <c:v>18778.854538112741</c:v>
                </c:pt>
                <c:pt idx="4127">
                  <c:v>18782.881872336504</c:v>
                </c:pt>
                <c:pt idx="4128">
                  <c:v>18786.910070266887</c:v>
                </c:pt>
                <c:pt idx="4129">
                  <c:v>18790.939132089119</c:v>
                </c:pt>
                <c:pt idx="4130">
                  <c:v>18794.969057988474</c:v>
                </c:pt>
                <c:pt idx="4131">
                  <c:v>18798.999848150259</c:v>
                </c:pt>
                <c:pt idx="4132">
                  <c:v>18803.031502759826</c:v>
                </c:pt>
                <c:pt idx="4133">
                  <c:v>18807.064022002567</c:v>
                </c:pt>
                <c:pt idx="4134">
                  <c:v>18811.097406063913</c:v>
                </c:pt>
                <c:pt idx="4135">
                  <c:v>18815.131655129331</c:v>
                </c:pt>
                <c:pt idx="4136">
                  <c:v>18819.166769384334</c:v>
                </c:pt>
                <c:pt idx="4137">
                  <c:v>18823.202749014472</c:v>
                </c:pt>
                <c:pt idx="4138">
                  <c:v>18827.23959420533</c:v>
                </c:pt>
                <c:pt idx="4139">
                  <c:v>18831.277305142536</c:v>
                </c:pt>
                <c:pt idx="4140">
                  <c:v>18835.315882011764</c:v>
                </c:pt>
                <c:pt idx="4141">
                  <c:v>17847.494088661202</c:v>
                </c:pt>
                <c:pt idx="4142">
                  <c:v>17851.32168227751</c:v>
                </c:pt>
                <c:pt idx="4143">
                  <c:v>17855.150096763842</c:v>
                </c:pt>
                <c:pt idx="4144">
                  <c:v>17858.979332296243</c:v>
                </c:pt>
                <c:pt idx="4145">
                  <c:v>17862.809389050795</c:v>
                </c:pt>
                <c:pt idx="4146">
                  <c:v>17866.640267203617</c:v>
                </c:pt>
                <c:pt idx="4147">
                  <c:v>17870.471966930869</c:v>
                </c:pt>
                <c:pt idx="4148">
                  <c:v>17874.304488408747</c:v>
                </c:pt>
                <c:pt idx="4149">
                  <c:v>17878.137831813485</c:v>
                </c:pt>
                <c:pt idx="4150">
                  <c:v>17881.97199732135</c:v>
                </c:pt>
                <c:pt idx="4151">
                  <c:v>17885.806985108655</c:v>
                </c:pt>
                <c:pt idx="4152">
                  <c:v>17889.642795351741</c:v>
                </c:pt>
                <c:pt idx="4153">
                  <c:v>17893.479428226998</c:v>
                </c:pt>
                <c:pt idx="4154">
                  <c:v>17897.316883910848</c:v>
                </c:pt>
                <c:pt idx="4155">
                  <c:v>17901.155162579755</c:v>
                </c:pt>
                <c:pt idx="4156">
                  <c:v>17904.994264410212</c:v>
                </c:pt>
                <c:pt idx="4157">
                  <c:v>17908.83418957876</c:v>
                </c:pt>
                <c:pt idx="4158">
                  <c:v>17912.674938261967</c:v>
                </c:pt>
                <c:pt idx="4159">
                  <c:v>17916.516510636451</c:v>
                </c:pt>
                <c:pt idx="4160">
                  <c:v>17920.358906878857</c:v>
                </c:pt>
                <c:pt idx="4161">
                  <c:v>17924.202127165874</c:v>
                </c:pt>
                <c:pt idx="4162">
                  <c:v>17928.046171674228</c:v>
                </c:pt>
                <c:pt idx="4163">
                  <c:v>17931.891040580686</c:v>
                </c:pt>
                <c:pt idx="4164">
                  <c:v>17935.73673406204</c:v>
                </c:pt>
                <c:pt idx="4165">
                  <c:v>17939.583252295139</c:v>
                </c:pt>
                <c:pt idx="4166">
                  <c:v>17943.430595456855</c:v>
                </c:pt>
                <c:pt idx="4167">
                  <c:v>17947.278763724105</c:v>
                </c:pt>
                <c:pt idx="4168">
                  <c:v>17951.12775727384</c:v>
                </c:pt>
                <c:pt idx="4169">
                  <c:v>17954.97757628305</c:v>
                </c:pt>
                <c:pt idx="4170">
                  <c:v>17958.828220928768</c:v>
                </c:pt>
                <c:pt idx="4171">
                  <c:v>17962.679691388057</c:v>
                </c:pt>
                <c:pt idx="4172">
                  <c:v>16974.670751500507</c:v>
                </c:pt>
                <c:pt idx="4173">
                  <c:v>16978.311158444176</c:v>
                </c:pt>
                <c:pt idx="4174">
                  <c:v>16981.952346113601</c:v>
                </c:pt>
                <c:pt idx="4175">
                  <c:v>16985.594314676222</c:v>
                </c:pt>
                <c:pt idx="4176">
                  <c:v>16989.237064299508</c:v>
                </c:pt>
                <c:pt idx="4177">
                  <c:v>16992.880595150968</c:v>
                </c:pt>
                <c:pt idx="4178">
                  <c:v>16996.524907398147</c:v>
                </c:pt>
                <c:pt idx="4179">
                  <c:v>17000.170001208618</c:v>
                </c:pt>
                <c:pt idx="4180">
                  <c:v>17003.815876749999</c:v>
                </c:pt>
                <c:pt idx="4181">
                  <c:v>17007.462534189941</c:v>
                </c:pt>
                <c:pt idx="4182">
                  <c:v>17011.109973696133</c:v>
                </c:pt>
                <c:pt idx="4183">
                  <c:v>17014.758195436294</c:v>
                </c:pt>
                <c:pt idx="4184">
                  <c:v>17018.407199578185</c:v>
                </c:pt>
                <c:pt idx="4185">
                  <c:v>17022.056986289605</c:v>
                </c:pt>
                <c:pt idx="4186">
                  <c:v>17025.707555738376</c:v>
                </c:pt>
                <c:pt idx="4187">
                  <c:v>17029.35890809237</c:v>
                </c:pt>
                <c:pt idx="4188">
                  <c:v>17033.011043519487</c:v>
                </c:pt>
                <c:pt idx="4189">
                  <c:v>17036.663962187667</c:v>
                </c:pt>
                <c:pt idx="4190">
                  <c:v>17040.317664264887</c:v>
                </c:pt>
                <c:pt idx="4191">
                  <c:v>17043.972149919155</c:v>
                </c:pt>
                <c:pt idx="4192">
                  <c:v>17047.62741931852</c:v>
                </c:pt>
                <c:pt idx="4193">
                  <c:v>17051.283472631061</c:v>
                </c:pt>
                <c:pt idx="4194">
                  <c:v>17054.9403100249</c:v>
                </c:pt>
                <c:pt idx="4195">
                  <c:v>17058.597931668191</c:v>
                </c:pt>
                <c:pt idx="4196">
                  <c:v>17062.256337729126</c:v>
                </c:pt>
                <c:pt idx="4197">
                  <c:v>17065.915528375928</c:v>
                </c:pt>
                <c:pt idx="4198">
                  <c:v>17069.575503776865</c:v>
                </c:pt>
                <c:pt idx="4199">
                  <c:v>17073.236264100236</c:v>
                </c:pt>
                <c:pt idx="4200">
                  <c:v>16085.03657317686</c:v>
                </c:pt>
                <c:pt idx="4201">
                  <c:v>16088.486188176015</c:v>
                </c:pt>
                <c:pt idx="4202">
                  <c:v>16091.936542983478</c:v>
                </c:pt>
                <c:pt idx="4203">
                  <c:v>16095.387637757904</c:v>
                </c:pt>
                <c:pt idx="4204">
                  <c:v>16098.83947265799</c:v>
                </c:pt>
                <c:pt idx="4205">
                  <c:v>16102.292047842462</c:v>
                </c:pt>
                <c:pt idx="4206">
                  <c:v>16105.745363470085</c:v>
                </c:pt>
                <c:pt idx="4207">
                  <c:v>16109.199419699653</c:v>
                </c:pt>
                <c:pt idx="4208">
                  <c:v>16112.654216689998</c:v>
                </c:pt>
                <c:pt idx="4209">
                  <c:v>16116.109754599984</c:v>
                </c:pt>
                <c:pt idx="4210">
                  <c:v>16119.566033588508</c:v>
                </c:pt>
                <c:pt idx="4211">
                  <c:v>16123.023053814504</c:v>
                </c:pt>
                <c:pt idx="4212">
                  <c:v>16126.48081543694</c:v>
                </c:pt>
                <c:pt idx="4213">
                  <c:v>16129.939318614814</c:v>
                </c:pt>
                <c:pt idx="4214">
                  <c:v>16133.398563507162</c:v>
                </c:pt>
                <c:pt idx="4215">
                  <c:v>16136.858550273053</c:v>
                </c:pt>
                <c:pt idx="4216">
                  <c:v>16140.319279071589</c:v>
                </c:pt>
                <c:pt idx="4217">
                  <c:v>16143.780750061907</c:v>
                </c:pt>
                <c:pt idx="4218">
                  <c:v>16147.242963403181</c:v>
                </c:pt>
                <c:pt idx="4219">
                  <c:v>16150.705919254613</c:v>
                </c:pt>
                <c:pt idx="4220">
                  <c:v>16154.169617775444</c:v>
                </c:pt>
                <c:pt idx="4221">
                  <c:v>16157.634059124948</c:v>
                </c:pt>
                <c:pt idx="4222">
                  <c:v>16161.099243462433</c:v>
                </c:pt>
                <c:pt idx="4223">
                  <c:v>16164.56517094724</c:v>
                </c:pt>
                <c:pt idx="4224">
                  <c:v>16168.031841738746</c:v>
                </c:pt>
                <c:pt idx="4225">
                  <c:v>16171.499255996363</c:v>
                </c:pt>
                <c:pt idx="4226">
                  <c:v>16174.967413879533</c:v>
                </c:pt>
                <c:pt idx="4227">
                  <c:v>16178.436315547735</c:v>
                </c:pt>
                <c:pt idx="4228">
                  <c:v>16181.905961160483</c:v>
                </c:pt>
                <c:pt idx="4229">
                  <c:v>16185.376350877325</c:v>
                </c:pt>
                <c:pt idx="4230">
                  <c:v>16188.847484857839</c:v>
                </c:pt>
                <c:pt idx="4231">
                  <c:v>15200.458126924128</c:v>
                </c:pt>
                <c:pt idx="4232">
                  <c:v>15203.71803423675</c:v>
                </c:pt>
                <c:pt idx="4233">
                  <c:v>15206.978640672754</c:v>
                </c:pt>
                <c:pt idx="4234">
                  <c:v>15210.239946382075</c:v>
                </c:pt>
                <c:pt idx="4235">
                  <c:v>15213.501951514678</c:v>
                </c:pt>
                <c:pt idx="4236">
                  <c:v>15216.764656220565</c:v>
                </c:pt>
                <c:pt idx="4237">
                  <c:v>15220.028060649764</c:v>
                </c:pt>
                <c:pt idx="4238">
                  <c:v>15223.29216495234</c:v>
                </c:pt>
                <c:pt idx="4239">
                  <c:v>15226.556969278388</c:v>
                </c:pt>
                <c:pt idx="4240">
                  <c:v>15229.822473778038</c:v>
                </c:pt>
                <c:pt idx="4241">
                  <c:v>15233.088678601447</c:v>
                </c:pt>
                <c:pt idx="4242">
                  <c:v>15236.35558389881</c:v>
                </c:pt>
                <c:pt idx="4243">
                  <c:v>15239.623189820351</c:v>
                </c:pt>
                <c:pt idx="4244">
                  <c:v>15242.891496516326</c:v>
                </c:pt>
                <c:pt idx="4245">
                  <c:v>15246.160504137024</c:v>
                </c:pt>
                <c:pt idx="4246">
                  <c:v>15249.430212832765</c:v>
                </c:pt>
                <c:pt idx="4247">
                  <c:v>15252.700622753902</c:v>
                </c:pt>
                <c:pt idx="4248">
                  <c:v>15255.971734050823</c:v>
                </c:pt>
                <c:pt idx="4249">
                  <c:v>15259.243546873946</c:v>
                </c:pt>
                <c:pt idx="4250">
                  <c:v>15262.516061373717</c:v>
                </c:pt>
                <c:pt idx="4251">
                  <c:v>15265.789277700622</c:v>
                </c:pt>
                <c:pt idx="4252">
                  <c:v>15269.063196005174</c:v>
                </c:pt>
                <c:pt idx="4253">
                  <c:v>15272.337816437921</c:v>
                </c:pt>
                <c:pt idx="4254">
                  <c:v>15275.613139149442</c:v>
                </c:pt>
                <c:pt idx="4255">
                  <c:v>15278.889164290347</c:v>
                </c:pt>
                <c:pt idx="4256">
                  <c:v>15282.165892011282</c:v>
                </c:pt>
                <c:pt idx="4257">
                  <c:v>15285.443322462923</c:v>
                </c:pt>
                <c:pt idx="4258">
                  <c:v>15288.721455795978</c:v>
                </c:pt>
                <c:pt idx="4259">
                  <c:v>15292.000292161187</c:v>
                </c:pt>
                <c:pt idx="4260">
                  <c:v>15295.279831709324</c:v>
                </c:pt>
                <c:pt idx="4261">
                  <c:v>14306.698838253677</c:v>
                </c:pt>
                <c:pt idx="4262">
                  <c:v>14309.767068945994</c:v>
                </c:pt>
                <c:pt idx="4263">
                  <c:v>14312.83595765451</c:v>
                </c:pt>
                <c:pt idx="4264">
                  <c:v>14315.905504520342</c:v>
                </c:pt>
                <c:pt idx="4265">
                  <c:v>14318.975709684641</c:v>
                </c:pt>
                <c:pt idx="4266">
                  <c:v>14322.046573288586</c:v>
                </c:pt>
                <c:pt idx="4267">
                  <c:v>14325.118095473386</c:v>
                </c:pt>
                <c:pt idx="4268">
                  <c:v>14328.190276380283</c:v>
                </c:pt>
                <c:pt idx="4269">
                  <c:v>14331.263116150547</c:v>
                </c:pt>
                <c:pt idx="4270">
                  <c:v>14334.336614925476</c:v>
                </c:pt>
                <c:pt idx="4271">
                  <c:v>14337.410772846401</c:v>
                </c:pt>
                <c:pt idx="4272">
                  <c:v>14340.485590054686</c:v>
                </c:pt>
                <c:pt idx="4273">
                  <c:v>14343.56106669172</c:v>
                </c:pt>
                <c:pt idx="4274">
                  <c:v>14346.637202898926</c:v>
                </c:pt>
                <c:pt idx="4275">
                  <c:v>14349.713998817757</c:v>
                </c:pt>
                <c:pt idx="4276">
                  <c:v>14352.791454589695</c:v>
                </c:pt>
                <c:pt idx="4277">
                  <c:v>14355.86957035625</c:v>
                </c:pt>
                <c:pt idx="4278">
                  <c:v>14358.948346258969</c:v>
                </c:pt>
                <c:pt idx="4279">
                  <c:v>14362.027782439425</c:v>
                </c:pt>
                <c:pt idx="4280">
                  <c:v>14365.107879039218</c:v>
                </c:pt>
                <c:pt idx="4281">
                  <c:v>14368.188636199988</c:v>
                </c:pt>
                <c:pt idx="4282">
                  <c:v>14371.270054063394</c:v>
                </c:pt>
                <c:pt idx="4283">
                  <c:v>14374.352132771135</c:v>
                </c:pt>
                <c:pt idx="4284">
                  <c:v>14377.434872464937</c:v>
                </c:pt>
                <c:pt idx="4285">
                  <c:v>14380.518273286554</c:v>
                </c:pt>
                <c:pt idx="4286">
                  <c:v>14383.602335377771</c:v>
                </c:pt>
                <c:pt idx="4287">
                  <c:v>14386.687058880407</c:v>
                </c:pt>
                <c:pt idx="4288">
                  <c:v>14389.772443936308</c:v>
                </c:pt>
                <c:pt idx="4289">
                  <c:v>14392.858490687351</c:v>
                </c:pt>
                <c:pt idx="4290">
                  <c:v>14395.945199275444</c:v>
                </c:pt>
                <c:pt idx="4291">
                  <c:v>14399.032569842526</c:v>
                </c:pt>
                <c:pt idx="4292">
                  <c:v>13410.25936619305</c:v>
                </c:pt>
                <c:pt idx="4293">
                  <c:v>13413.135345469924</c:v>
                </c:pt>
                <c:pt idx="4294">
                  <c:v>13416.011941532543</c:v>
                </c:pt>
                <c:pt idx="4295">
                  <c:v>13418.889154513181</c:v>
                </c:pt>
                <c:pt idx="4296">
                  <c:v>13421.766984544145</c:v>
                </c:pt>
                <c:pt idx="4297">
                  <c:v>13424.645431757768</c:v>
                </c:pt>
                <c:pt idx="4298">
                  <c:v>13427.524496286411</c:v>
                </c:pt>
                <c:pt idx="4299">
                  <c:v>13430.404178262463</c:v>
                </c:pt>
                <c:pt idx="4300">
                  <c:v>13433.284477818344</c:v>
                </c:pt>
                <c:pt idx="4301">
                  <c:v>13436.165395086504</c:v>
                </c:pt>
                <c:pt idx="4302">
                  <c:v>13439.046930199414</c:v>
                </c:pt>
                <c:pt idx="4303">
                  <c:v>13441.92908328958</c:v>
                </c:pt>
                <c:pt idx="4304">
                  <c:v>13444.811854489531</c:v>
                </c:pt>
                <c:pt idx="4305">
                  <c:v>13447.69524393183</c:v>
                </c:pt>
                <c:pt idx="4306">
                  <c:v>13450.579251749064</c:v>
                </c:pt>
                <c:pt idx="4307">
                  <c:v>13453.463878073853</c:v>
                </c:pt>
                <c:pt idx="4308">
                  <c:v>13456.349123038841</c:v>
                </c:pt>
                <c:pt idx="4309">
                  <c:v>13459.234986776704</c:v>
                </c:pt>
                <c:pt idx="4310">
                  <c:v>13462.121469420143</c:v>
                </c:pt>
                <c:pt idx="4311">
                  <c:v>13465.008571101889</c:v>
                </c:pt>
                <c:pt idx="4312">
                  <c:v>13467.896291954703</c:v>
                </c:pt>
                <c:pt idx="4313">
                  <c:v>13470.784632111372</c:v>
                </c:pt>
                <c:pt idx="4314">
                  <c:v>13473.673591704714</c:v>
                </c:pt>
                <c:pt idx="4315">
                  <c:v>13476.563170867572</c:v>
                </c:pt>
                <c:pt idx="4316">
                  <c:v>13479.453369732822</c:v>
                </c:pt>
                <c:pt idx="4317">
                  <c:v>13482.344188433366</c:v>
                </c:pt>
                <c:pt idx="4318">
                  <c:v>13485.235627102134</c:v>
                </c:pt>
                <c:pt idx="4319">
                  <c:v>13488.127685872085</c:v>
                </c:pt>
                <c:pt idx="4320">
                  <c:v>13491.020364876204</c:v>
                </c:pt>
                <c:pt idx="4321">
                  <c:v>13493.91366424751</c:v>
                </c:pt>
                <c:pt idx="4322">
                  <c:v>12504.94634778153</c:v>
                </c:pt>
                <c:pt idx="4323">
                  <c:v>12507.628172612249</c:v>
                </c:pt>
                <c:pt idx="4324">
                  <c:v>12510.31057259013</c:v>
                </c:pt>
                <c:pt idx="4325">
                  <c:v>12512.993547838521</c:v>
                </c:pt>
                <c:pt idx="4326">
                  <c:v>12515.677098480797</c:v>
                </c:pt>
                <c:pt idx="4327">
                  <c:v>12518.361224640355</c:v>
                </c:pt>
                <c:pt idx="4328">
                  <c:v>12521.045926440624</c:v>
                </c:pt>
                <c:pt idx="4329">
                  <c:v>12523.731204005055</c:v>
                </c:pt>
                <c:pt idx="4330">
                  <c:v>12526.417057457125</c:v>
                </c:pt>
                <c:pt idx="4331">
                  <c:v>12529.103486920341</c:v>
                </c:pt>
                <c:pt idx="4332">
                  <c:v>12531.790492518236</c:v>
                </c:pt>
                <c:pt idx="4333">
                  <c:v>12534.478074374367</c:v>
                </c:pt>
                <c:pt idx="4334">
                  <c:v>12537.166232612321</c:v>
                </c:pt>
                <c:pt idx="4335">
                  <c:v>12539.854967355708</c:v>
                </c:pt>
                <c:pt idx="4336">
                  <c:v>12542.544278728166</c:v>
                </c:pt>
                <c:pt idx="4337">
                  <c:v>12545.234166853361</c:v>
                </c:pt>
                <c:pt idx="4338">
                  <c:v>12547.924631854981</c:v>
                </c:pt>
                <c:pt idx="4339">
                  <c:v>12550.615673856746</c:v>
                </c:pt>
                <c:pt idx="4340">
                  <c:v>12553.307292982397</c:v>
                </c:pt>
                <c:pt idx="4341">
                  <c:v>12555.99948935571</c:v>
                </c:pt>
                <c:pt idx="4342">
                  <c:v>12558.69226310048</c:v>
                </c:pt>
                <c:pt idx="4343">
                  <c:v>12561.385614340528</c:v>
                </c:pt>
                <c:pt idx="4344">
                  <c:v>12564.079543199707</c:v>
                </c:pt>
                <c:pt idx="4345">
                  <c:v>12566.774049801892</c:v>
                </c:pt>
                <c:pt idx="4346">
                  <c:v>12569.469134270987</c:v>
                </c:pt>
                <c:pt idx="4347">
                  <c:v>12572.164796730924</c:v>
                </c:pt>
                <c:pt idx="4348">
                  <c:v>12574.861037305656</c:v>
                </c:pt>
                <c:pt idx="4349">
                  <c:v>12577.557856119171</c:v>
                </c:pt>
                <c:pt idx="4350">
                  <c:v>12580.255253295474</c:v>
                </c:pt>
                <c:pt idx="4351">
                  <c:v>12582.953228958606</c:v>
                </c:pt>
                <c:pt idx="4352">
                  <c:v>12585.651783232626</c:v>
                </c:pt>
                <c:pt idx="4353">
                  <c:v>11596.489679904109</c:v>
                </c:pt>
                <c:pt idx="4354">
                  <c:v>11598.97667609808</c:v>
                </c:pt>
                <c:pt idx="4355">
                  <c:v>11601.464205656046</c:v>
                </c:pt>
                <c:pt idx="4356">
                  <c:v>11603.952268692394</c:v>
                </c:pt>
                <c:pt idx="4357">
                  <c:v>11606.440865321532</c:v>
                </c:pt>
                <c:pt idx="4358">
                  <c:v>11608.929995657896</c:v>
                </c:pt>
                <c:pt idx="4359">
                  <c:v>11611.419659815947</c:v>
                </c:pt>
                <c:pt idx="4360">
                  <c:v>11613.909857910168</c:v>
                </c:pt>
                <c:pt idx="4361">
                  <c:v>11616.400590055069</c:v>
                </c:pt>
                <c:pt idx="4362">
                  <c:v>11618.891856365181</c:v>
                </c:pt>
                <c:pt idx="4363">
                  <c:v>11621.383656955062</c:v>
                </c:pt>
                <c:pt idx="4364">
                  <c:v>11623.875991939296</c:v>
                </c:pt>
                <c:pt idx="4365">
                  <c:v>11626.368861432486</c:v>
                </c:pt>
                <c:pt idx="4366">
                  <c:v>11628.862265549267</c:v>
                </c:pt>
                <c:pt idx="4367">
                  <c:v>11631.356204404296</c:v>
                </c:pt>
                <c:pt idx="4368">
                  <c:v>11633.850678112249</c:v>
                </c:pt>
                <c:pt idx="4369">
                  <c:v>11636.345686787834</c:v>
                </c:pt>
                <c:pt idx="4370">
                  <c:v>11638.841230545779</c:v>
                </c:pt>
                <c:pt idx="4371">
                  <c:v>11641.337309500841</c:v>
                </c:pt>
                <c:pt idx="4372">
                  <c:v>11643.833923767796</c:v>
                </c:pt>
                <c:pt idx="4373">
                  <c:v>11646.33107346145</c:v>
                </c:pt>
                <c:pt idx="4374">
                  <c:v>11648.828758696631</c:v>
                </c:pt>
                <c:pt idx="4375">
                  <c:v>11651.32697958819</c:v>
                </c:pt>
                <c:pt idx="4376">
                  <c:v>11653.825736251007</c:v>
                </c:pt>
                <c:pt idx="4377">
                  <c:v>11656.325028799982</c:v>
                </c:pt>
                <c:pt idx="4378">
                  <c:v>11658.824857350044</c:v>
                </c:pt>
                <c:pt idx="4379">
                  <c:v>11661.325222016141</c:v>
                </c:pt>
                <c:pt idx="4380">
                  <c:v>11663.826122913251</c:v>
                </c:pt>
                <c:pt idx="4381">
                  <c:v>11666.327560156375</c:v>
                </c:pt>
                <c:pt idx="4382">
                  <c:v>11668.829533860537</c:v>
                </c:pt>
                <c:pt idx="4383">
                  <c:v>11671.332044140789</c:v>
                </c:pt>
                <c:pt idx="4384">
                  <c:v>10681.973854774687</c:v>
                </c:pt>
                <c:pt idx="4385">
                  <c:v>10684.264722878244</c:v>
                </c:pt>
                <c:pt idx="4386">
                  <c:v>10686.556082283947</c:v>
                </c:pt>
                <c:pt idx="4387">
                  <c:v>10688.847933097159</c:v>
                </c:pt>
                <c:pt idx="4388">
                  <c:v>10691.140275423268</c:v>
                </c:pt>
                <c:pt idx="4389">
                  <c:v>10693.433109367686</c:v>
                </c:pt>
                <c:pt idx="4390">
                  <c:v>10695.726435035845</c:v>
                </c:pt>
                <c:pt idx="4391">
                  <c:v>10698.020252533202</c:v>
                </c:pt>
                <c:pt idx="4392">
                  <c:v>10700.314561965233</c:v>
                </c:pt>
                <c:pt idx="4393">
                  <c:v>10702.609363437441</c:v>
                </c:pt>
                <c:pt idx="4394">
                  <c:v>10704.904657055349</c:v>
                </c:pt>
                <c:pt idx="4395">
                  <c:v>10707.200442924503</c:v>
                </c:pt>
                <c:pt idx="4396">
                  <c:v>10709.496721150472</c:v>
                </c:pt>
                <c:pt idx="4397">
                  <c:v>10711.793491838846</c:v>
                </c:pt>
                <c:pt idx="4398">
                  <c:v>10714.09075509524</c:v>
                </c:pt>
                <c:pt idx="4399">
                  <c:v>10716.38851102529</c:v>
                </c:pt>
                <c:pt idx="4400">
                  <c:v>10718.686759734657</c:v>
                </c:pt>
                <c:pt idx="4401">
                  <c:v>10720.985501329022</c:v>
                </c:pt>
                <c:pt idx="4402">
                  <c:v>10723.284735914091</c:v>
                </c:pt>
                <c:pt idx="4403">
                  <c:v>10725.584463595587</c:v>
                </c:pt>
                <c:pt idx="4404">
                  <c:v>10727.884684479266</c:v>
                </c:pt>
                <c:pt idx="4405">
                  <c:v>10730.185398670897</c:v>
                </c:pt>
                <c:pt idx="4406">
                  <c:v>10732.486606276278</c:v>
                </c:pt>
                <c:pt idx="4407">
                  <c:v>10734.788307401222</c:v>
                </c:pt>
                <c:pt idx="4408">
                  <c:v>10737.090502151575</c:v>
                </c:pt>
                <c:pt idx="4409">
                  <c:v>10739.393190633198</c:v>
                </c:pt>
                <c:pt idx="4410">
                  <c:v>10741.696372951976</c:v>
                </c:pt>
                <c:pt idx="4411">
                  <c:v>10744.000049213821</c:v>
                </c:pt>
                <c:pt idx="4412">
                  <c:v>10746.304219524662</c:v>
                </c:pt>
                <c:pt idx="4413">
                  <c:v>10748.608883990455</c:v>
                </c:pt>
                <c:pt idx="4414">
                  <c:v>9759.0528063796592</c:v>
                </c:pt>
                <c:pt idx="4415">
                  <c:v>9761.1457437991867</c:v>
                </c:pt>
                <c:pt idx="4416">
                  <c:v>9763.2391300724212</c:v>
                </c:pt>
                <c:pt idx="4417">
                  <c:v>9765.3329652956272</c:v>
                </c:pt>
                <c:pt idx="4418">
                  <c:v>9767.4272495650839</c:v>
                </c:pt>
                <c:pt idx="4419">
                  <c:v>9769.5219829770958</c:v>
                </c:pt>
                <c:pt idx="4420">
                  <c:v>9771.6171656279876</c:v>
                </c:pt>
                <c:pt idx="4421">
                  <c:v>9773.7127976141019</c:v>
                </c:pt>
                <c:pt idx="4422">
                  <c:v>9775.8088790318034</c:v>
                </c:pt>
                <c:pt idx="4423">
                  <c:v>9777.9054099774803</c:v>
                </c:pt>
                <c:pt idx="4424">
                  <c:v>9780.0023905475355</c:v>
                </c:pt>
                <c:pt idx="4425">
                  <c:v>9782.099820838399</c:v>
                </c:pt>
                <c:pt idx="4426">
                  <c:v>9784.1977009465172</c:v>
                </c:pt>
                <c:pt idx="4427">
                  <c:v>9786.2960309683585</c:v>
                </c:pt>
                <c:pt idx="4428">
                  <c:v>9788.3948110004112</c:v>
                </c:pt>
                <c:pt idx="4429">
                  <c:v>9790.4940411391854</c:v>
                </c:pt>
                <c:pt idx="4430">
                  <c:v>9792.5937214812111</c:v>
                </c:pt>
                <c:pt idx="4431">
                  <c:v>9794.6938521230404</c:v>
                </c:pt>
                <c:pt idx="4432">
                  <c:v>9796.7944331612434</c:v>
                </c:pt>
                <c:pt idx="4433">
                  <c:v>9798.895464692414</c:v>
                </c:pt>
                <c:pt idx="4434">
                  <c:v>9800.9969468131658</c:v>
                </c:pt>
                <c:pt idx="4435">
                  <c:v>9803.0988796201327</c:v>
                </c:pt>
                <c:pt idx="4436">
                  <c:v>9805.2012632099686</c:v>
                </c:pt>
                <c:pt idx="4437">
                  <c:v>9807.3040976793491</c:v>
                </c:pt>
                <c:pt idx="4438">
                  <c:v>9809.4073831249716</c:v>
                </c:pt>
                <c:pt idx="4439">
                  <c:v>9811.51111964355</c:v>
                </c:pt>
                <c:pt idx="4440">
                  <c:v>9813.6153073318255</c:v>
                </c:pt>
                <c:pt idx="4441">
                  <c:v>9620.2700266816155</c:v>
                </c:pt>
                <c:pt idx="4442">
                  <c:v>9622.3332005904213</c:v>
                </c:pt>
                <c:pt idx="4443">
                  <c:v>9624.3968169698201</c:v>
                </c:pt>
                <c:pt idx="4444">
                  <c:v>9626.4608759147031</c:v>
                </c:pt>
                <c:pt idx="4445">
                  <c:v>8636.6641411824694</c:v>
                </c:pt>
                <c:pt idx="4446">
                  <c:v>8638.5163698689612</c:v>
                </c:pt>
                <c:pt idx="4447">
                  <c:v>8640.3689957864972</c:v>
                </c:pt>
                <c:pt idx="4448">
                  <c:v>8642.2220190202661</c:v>
                </c:pt>
                <c:pt idx="4449">
                  <c:v>8644.0754396554785</c:v>
                </c:pt>
                <c:pt idx="4450">
                  <c:v>8645.9292577773595</c:v>
                </c:pt>
                <c:pt idx="4451">
                  <c:v>8647.783473471156</c:v>
                </c:pt>
                <c:pt idx="4452">
                  <c:v>8649.6380868221331</c:v>
                </c:pt>
                <c:pt idx="4453">
                  <c:v>8651.4930979155706</c:v>
                </c:pt>
                <c:pt idx="4454">
                  <c:v>8653.3485068367681</c:v>
                </c:pt>
                <c:pt idx="4455">
                  <c:v>8655.2043136710454</c:v>
                </c:pt>
                <c:pt idx="4456">
                  <c:v>8657.0605185037421</c:v>
                </c:pt>
                <c:pt idx="4457">
                  <c:v>8658.9171214202088</c:v>
                </c:pt>
                <c:pt idx="4458">
                  <c:v>8660.7741225058198</c:v>
                </c:pt>
                <c:pt idx="4459">
                  <c:v>8662.6315218459713</c:v>
                </c:pt>
                <c:pt idx="4460">
                  <c:v>8664.4893195260684</c:v>
                </c:pt>
                <c:pt idx="4461">
                  <c:v>8666.3475156315417</c:v>
                </c:pt>
                <c:pt idx="4462">
                  <c:v>8668.2061102478383</c:v>
                </c:pt>
                <c:pt idx="4463">
                  <c:v>8670.0651034604216</c:v>
                </c:pt>
                <c:pt idx="4464">
                  <c:v>8671.9244953547768</c:v>
                </c:pt>
                <c:pt idx="4465">
                  <c:v>8673.7842860164055</c:v>
                </c:pt>
                <c:pt idx="4466">
                  <c:v>8675.6444755308257</c:v>
                </c:pt>
                <c:pt idx="4467">
                  <c:v>8677.505063983579</c:v>
                </c:pt>
                <c:pt idx="4468">
                  <c:v>8679.3660514602198</c:v>
                </c:pt>
                <c:pt idx="4469">
                  <c:v>8681.2274380463223</c:v>
                </c:pt>
                <c:pt idx="4470">
                  <c:v>8683.0892238274828</c:v>
                </c:pt>
                <c:pt idx="4471">
                  <c:v>8684.9514088893102</c:v>
                </c:pt>
                <c:pt idx="4472">
                  <c:v>8686.8139933174371</c:v>
                </c:pt>
                <c:pt idx="4473">
                  <c:v>8688.6769771975105</c:v>
                </c:pt>
                <c:pt idx="4474">
                  <c:v>8690.5403606151995</c:v>
                </c:pt>
                <c:pt idx="4475">
                  <c:v>7700.5429073186715</c:v>
                </c:pt>
                <c:pt idx="4476">
                  <c:v>7702.1943743945394</c:v>
                </c:pt>
                <c:pt idx="4477">
                  <c:v>7703.8461956458914</c:v>
                </c:pt>
                <c:pt idx="4478">
                  <c:v>7705.4983711486821</c:v>
                </c:pt>
                <c:pt idx="4479">
                  <c:v>7707.1509009788861</c:v>
                </c:pt>
                <c:pt idx="4480">
                  <c:v>7708.8037852124926</c:v>
                </c:pt>
                <c:pt idx="4481">
                  <c:v>7710.4570239255072</c:v>
                </c:pt>
                <c:pt idx="4482">
                  <c:v>7712.1106171939518</c:v>
                </c:pt>
                <c:pt idx="4483">
                  <c:v>7713.7645650938648</c:v>
                </c:pt>
                <c:pt idx="4484">
                  <c:v>7715.4188677013008</c:v>
                </c:pt>
                <c:pt idx="4485">
                  <c:v>7717.0735250923308</c:v>
                </c:pt>
                <c:pt idx="4486">
                  <c:v>7718.7285373430423</c:v>
                </c:pt>
                <c:pt idx="4487">
                  <c:v>7720.3839045295399</c:v>
                </c:pt>
                <c:pt idx="4488">
                  <c:v>7722.0396267279411</c:v>
                </c:pt>
                <c:pt idx="4489">
                  <c:v>7723.6957040143843</c:v>
                </c:pt>
                <c:pt idx="4490">
                  <c:v>7725.3521364650214</c:v>
                </c:pt>
                <c:pt idx="4491">
                  <c:v>7727.0089241560208</c:v>
                </c:pt>
                <c:pt idx="4492">
                  <c:v>7728.6660671635682</c:v>
                </c:pt>
                <c:pt idx="4493">
                  <c:v>7730.3235655638646</c:v>
                </c:pt>
                <c:pt idx="4494">
                  <c:v>7731.9814194331293</c:v>
                </c:pt>
                <c:pt idx="4495">
                  <c:v>7733.6396288475962</c:v>
                </c:pt>
                <c:pt idx="4496">
                  <c:v>7735.2981938835155</c:v>
                </c:pt>
                <c:pt idx="4497">
                  <c:v>7736.9571146171538</c:v>
                </c:pt>
                <c:pt idx="4498">
                  <c:v>7738.6163911247941</c:v>
                </c:pt>
                <c:pt idx="4499">
                  <c:v>7740.2760234827374</c:v>
                </c:pt>
                <c:pt idx="4500">
                  <c:v>7741.9360117672995</c:v>
                </c:pt>
                <c:pt idx="4501">
                  <c:v>7743.5963560548116</c:v>
                </c:pt>
                <c:pt idx="4502">
                  <c:v>7745.2570564216239</c:v>
                </c:pt>
                <c:pt idx="4503">
                  <c:v>7746.9181129441013</c:v>
                </c:pt>
                <c:pt idx="4504">
                  <c:v>7748.5795256986248</c:v>
                </c:pt>
                <c:pt idx="4505">
                  <c:v>7750.2412947615931</c:v>
                </c:pt>
                <c:pt idx="4506">
                  <c:v>6760.0421838719039</c:v>
                </c:pt>
                <c:pt idx="4507">
                  <c:v>6761.4919501068971</c:v>
                </c:pt>
                <c:pt idx="4508">
                  <c:v>6762.9420272603847</c:v>
                </c:pt>
                <c:pt idx="4509">
                  <c:v>6764.3924153990465</c:v>
                </c:pt>
                <c:pt idx="4510">
                  <c:v>6765.8431145895756</c:v>
                </c:pt>
                <c:pt idx="4511">
                  <c:v>6767.2941248986817</c:v>
                </c:pt>
                <c:pt idx="4512">
                  <c:v>6768.7454463930871</c:v>
                </c:pt>
                <c:pt idx="4513">
                  <c:v>6770.1970791395297</c:v>
                </c:pt>
                <c:pt idx="4514">
                  <c:v>6771.6490232047609</c:v>
                </c:pt>
                <c:pt idx="4515">
                  <c:v>6773.1012786555457</c:v>
                </c:pt>
                <c:pt idx="4516">
                  <c:v>6774.5538455586648</c:v>
                </c:pt>
                <c:pt idx="4517">
                  <c:v>6776.0067239809123</c:v>
                </c:pt>
                <c:pt idx="4518">
                  <c:v>6777.459913989097</c:v>
                </c:pt>
                <c:pt idx="4519">
                  <c:v>6778.9134156500422</c:v>
                </c:pt>
                <c:pt idx="4520">
                  <c:v>6780.3672290305849</c:v>
                </c:pt>
                <c:pt idx="4521">
                  <c:v>6781.8213541975774</c:v>
                </c:pt>
                <c:pt idx="4522">
                  <c:v>6783.2757912178859</c:v>
                </c:pt>
                <c:pt idx="4523">
                  <c:v>6784.7305401583899</c:v>
                </c:pt>
                <c:pt idx="4524">
                  <c:v>6786.1856010859847</c:v>
                </c:pt>
                <c:pt idx="4525">
                  <c:v>6787.6409740675799</c:v>
                </c:pt>
                <c:pt idx="4526">
                  <c:v>6789.0966591700981</c:v>
                </c:pt>
                <c:pt idx="4527">
                  <c:v>6790.5526564604779</c:v>
                </c:pt>
                <c:pt idx="4528">
                  <c:v>6792.0089660056701</c:v>
                </c:pt>
                <c:pt idx="4529">
                  <c:v>6793.4655878726426</c:v>
                </c:pt>
                <c:pt idx="4530">
                  <c:v>6794.9225221283759</c:v>
                </c:pt>
                <c:pt idx="4531">
                  <c:v>6796.3797688398654</c:v>
                </c:pt>
                <c:pt idx="4532">
                  <c:v>6797.8373280741198</c:v>
                </c:pt>
                <c:pt idx="4533">
                  <c:v>6799.2951998981634</c:v>
                </c:pt>
                <c:pt idx="4534">
                  <c:v>6800.7533843790343</c:v>
                </c:pt>
                <c:pt idx="4535">
                  <c:v>6802.2118815837875</c:v>
                </c:pt>
                <c:pt idx="4536">
                  <c:v>6803.6706915794875</c:v>
                </c:pt>
                <c:pt idx="4537">
                  <c:v>5813.2685780957008</c:v>
                </c:pt>
                <c:pt idx="4538">
                  <c:v>5814.5152982004329</c:v>
                </c:pt>
                <c:pt idx="4539">
                  <c:v>5815.7622856781582</c:v>
                </c:pt>
                <c:pt idx="4540">
                  <c:v>5817.0095405862176</c:v>
                </c:pt>
                <c:pt idx="4541">
                  <c:v>5818.2570629819638</c:v>
                </c:pt>
                <c:pt idx="4542">
                  <c:v>5819.5048529227643</c:v>
                </c:pt>
                <c:pt idx="4543">
                  <c:v>5820.7529104659952</c:v>
                </c:pt>
                <c:pt idx="4544">
                  <c:v>5822.0012356690486</c:v>
                </c:pt>
                <c:pt idx="4545">
                  <c:v>5823.2498285893262</c:v>
                </c:pt>
                <c:pt idx="4546">
                  <c:v>5824.4986892842426</c:v>
                </c:pt>
                <c:pt idx="4547">
                  <c:v>5825.7478178112251</c:v>
                </c:pt>
                <c:pt idx="4548">
                  <c:v>5826.9972142277147</c:v>
                </c:pt>
                <c:pt idx="4549">
                  <c:v>5828.2468785911624</c:v>
                </c:pt>
                <c:pt idx="4550">
                  <c:v>5829.4968109590318</c:v>
                </c:pt>
                <c:pt idx="4551">
                  <c:v>5830.7470113888003</c:v>
                </c:pt>
                <c:pt idx="4552">
                  <c:v>5831.9974799379552</c:v>
                </c:pt>
                <c:pt idx="4553">
                  <c:v>5833.2482166640002</c:v>
                </c:pt>
                <c:pt idx="4554">
                  <c:v>5834.4992216244464</c:v>
                </c:pt>
                <c:pt idx="4555">
                  <c:v>5835.750494876821</c:v>
                </c:pt>
                <c:pt idx="4556">
                  <c:v>5837.0020364786624</c:v>
                </c:pt>
                <c:pt idx="4557">
                  <c:v>5838.2538464875206</c:v>
                </c:pt>
                <c:pt idx="4558">
                  <c:v>5839.5059249609585</c:v>
                </c:pt>
                <c:pt idx="4559">
                  <c:v>5840.7582719565507</c:v>
                </c:pt>
                <c:pt idx="4560">
                  <c:v>5842.0108875318847</c:v>
                </c:pt>
                <c:pt idx="4561">
                  <c:v>5843.2637717445623</c:v>
                </c:pt>
                <c:pt idx="4562">
                  <c:v>5844.5169246521946</c:v>
                </c:pt>
                <c:pt idx="4563">
                  <c:v>5845.7703463124053</c:v>
                </c:pt>
                <c:pt idx="4564">
                  <c:v>5847.0240367828328</c:v>
                </c:pt>
                <c:pt idx="4565">
                  <c:v>5848.2779961211263</c:v>
                </c:pt>
                <c:pt idx="4566">
                  <c:v>4857.6709880474309</c:v>
                </c:pt>
                <c:pt idx="4567">
                  <c:v>4858.7127696203297</c:v>
                </c:pt>
                <c:pt idx="4568">
                  <c:v>4859.7547746148739</c:v>
                </c:pt>
                <c:pt idx="4569">
                  <c:v>4860.7970030789793</c:v>
                </c:pt>
                <c:pt idx="4570">
                  <c:v>4861.8394550605708</c:v>
                </c:pt>
                <c:pt idx="4571">
                  <c:v>4862.8821306075843</c:v>
                </c:pt>
                <c:pt idx="4572">
                  <c:v>4863.9250297679664</c:v>
                </c:pt>
                <c:pt idx="4573">
                  <c:v>4864.9681525896731</c:v>
                </c:pt>
                <c:pt idx="4574">
                  <c:v>4866.011499120671</c:v>
                </c:pt>
                <c:pt idx="4575">
                  <c:v>4867.055069408937</c:v>
                </c:pt>
                <c:pt idx="4576">
                  <c:v>4868.0988635024587</c:v>
                </c:pt>
                <c:pt idx="4577">
                  <c:v>4869.1428814492328</c:v>
                </c:pt>
                <c:pt idx="4578">
                  <c:v>4870.187123297268</c:v>
                </c:pt>
                <c:pt idx="4579">
                  <c:v>4871.231589094582</c:v>
                </c:pt>
                <c:pt idx="4580">
                  <c:v>4872.2762788892032</c:v>
                </c:pt>
                <c:pt idx="4581">
                  <c:v>4873.3211927291704</c:v>
                </c:pt>
                <c:pt idx="4582">
                  <c:v>4874.3663306625331</c:v>
                </c:pt>
                <c:pt idx="4583">
                  <c:v>4875.4116927373498</c:v>
                </c:pt>
                <c:pt idx="4584">
                  <c:v>4876.4572790016909</c:v>
                </c:pt>
                <c:pt idx="4585">
                  <c:v>4877.5030895036361</c:v>
                </c:pt>
                <c:pt idx="4586">
                  <c:v>4878.5491242912749</c:v>
                </c:pt>
                <c:pt idx="4587">
                  <c:v>4879.5953834127085</c:v>
                </c:pt>
                <c:pt idx="4588">
                  <c:v>4880.6418669160485</c:v>
                </c:pt>
                <c:pt idx="4589">
                  <c:v>4881.6885748494142</c:v>
                </c:pt>
                <c:pt idx="4590">
                  <c:v>4882.735507260938</c:v>
                </c:pt>
                <c:pt idx="4591">
                  <c:v>4883.7826641987622</c:v>
                </c:pt>
                <c:pt idx="4592">
                  <c:v>4884.830045711039</c:v>
                </c:pt>
                <c:pt idx="4593">
                  <c:v>4885.8776518459308</c:v>
                </c:pt>
                <c:pt idx="4594">
                  <c:v>4886.9254826516099</c:v>
                </c:pt>
                <c:pt idx="4595">
                  <c:v>4887.9735381762594</c:v>
                </c:pt>
                <c:pt idx="4596">
                  <c:v>4889.0218184680734</c:v>
                </c:pt>
                <c:pt idx="4597">
                  <c:v>3898.2090872377403</c:v>
                </c:pt>
                <c:pt idx="4598">
                  <c:v>3899.045101534382</c:v>
                </c:pt>
                <c:pt idx="4599">
                  <c:v>3899.8812951235886</c:v>
                </c:pt>
                <c:pt idx="4600">
                  <c:v>3900.717668043811</c:v>
                </c:pt>
                <c:pt idx="4601">
                  <c:v>3901.5542203335085</c:v>
                </c:pt>
                <c:pt idx="4602">
                  <c:v>3902.390952031149</c:v>
                </c:pt>
                <c:pt idx="4603">
                  <c:v>3903.2278631752088</c:v>
                </c:pt>
                <c:pt idx="4604">
                  <c:v>3904.0649538041721</c:v>
                </c:pt>
                <c:pt idx="4605">
                  <c:v>3904.9022239565311</c:v>
                </c:pt>
                <c:pt idx="4606">
                  <c:v>3905.7396736707869</c:v>
                </c:pt>
                <c:pt idx="4607">
                  <c:v>3906.5773029854486</c:v>
                </c:pt>
                <c:pt idx="4608">
                  <c:v>3907.4151119390335</c:v>
                </c:pt>
                <c:pt idx="4609">
                  <c:v>3908.2531005700671</c:v>
                </c:pt>
                <c:pt idx="4610">
                  <c:v>3909.0912689170827</c:v>
                </c:pt>
                <c:pt idx="4611">
                  <c:v>3909.929617018623</c:v>
                </c:pt>
                <c:pt idx="4612">
                  <c:v>3910.7681449132383</c:v>
                </c:pt>
                <c:pt idx="4613">
                  <c:v>3911.606852639487</c:v>
                </c:pt>
                <c:pt idx="4614">
                  <c:v>3912.4457402359367</c:v>
                </c:pt>
                <c:pt idx="4615">
                  <c:v>3913.2848077411613</c:v>
                </c:pt>
                <c:pt idx="4616">
                  <c:v>3914.1240551937444</c:v>
                </c:pt>
                <c:pt idx="4617">
                  <c:v>3914.963482632279</c:v>
                </c:pt>
                <c:pt idx="4618">
                  <c:v>3915.8030900953645</c:v>
                </c:pt>
                <c:pt idx="4619">
                  <c:v>3916.6428776216094</c:v>
                </c:pt>
                <c:pt idx="4620">
                  <c:v>3917.4828452496295</c:v>
                </c:pt>
                <c:pt idx="4621">
                  <c:v>3918.3229930180496</c:v>
                </c:pt>
                <c:pt idx="4622">
                  <c:v>3919.1633209655033</c:v>
                </c:pt>
                <c:pt idx="4623">
                  <c:v>3920.0038291306319</c:v>
                </c:pt>
                <c:pt idx="4624">
                  <c:v>3920.8445175520851</c:v>
                </c:pt>
                <c:pt idx="4625">
                  <c:v>3921.6853862685211</c:v>
                </c:pt>
                <c:pt idx="4626">
                  <c:v>3922.5264353186058</c:v>
                </c:pt>
                <c:pt idx="4627">
                  <c:v>2931.5064284034979</c:v>
                </c:pt>
                <c:pt idx="4628">
                  <c:v>2932.1351225627891</c:v>
                </c:pt>
                <c:pt idx="4629">
                  <c:v>2932.7639515525357</c:v>
                </c:pt>
                <c:pt idx="4630">
                  <c:v>2933.3929154016532</c:v>
                </c:pt>
                <c:pt idx="4631">
                  <c:v>2934.0220141390637</c:v>
                </c:pt>
                <c:pt idx="4632">
                  <c:v>2934.6512477936958</c:v>
                </c:pt>
                <c:pt idx="4633">
                  <c:v>2935.2806163944833</c:v>
                </c:pt>
                <c:pt idx="4634">
                  <c:v>2935.9101199703678</c:v>
                </c:pt>
                <c:pt idx="4635">
                  <c:v>2936.539758550296</c:v>
                </c:pt>
                <c:pt idx="4636">
                  <c:v>2937.1695321632205</c:v>
                </c:pt>
                <c:pt idx="4637">
                  <c:v>2937.7994408381014</c:v>
                </c:pt>
                <c:pt idx="4638">
                  <c:v>2938.4294846039033</c:v>
                </c:pt>
                <c:pt idx="4639">
                  <c:v>2939.0596634895987</c:v>
                </c:pt>
                <c:pt idx="4640">
                  <c:v>2939.6899775241654</c:v>
                </c:pt>
                <c:pt idx="4641">
                  <c:v>2940.3204267365882</c:v>
                </c:pt>
                <c:pt idx="4642">
                  <c:v>2940.9510111558561</c:v>
                </c:pt>
                <c:pt idx="4643">
                  <c:v>2941.5817308109663</c:v>
                </c:pt>
                <c:pt idx="4644">
                  <c:v>2942.2125857309215</c:v>
                </c:pt>
                <c:pt idx="4645">
                  <c:v>2942.8435759447311</c:v>
                </c:pt>
                <c:pt idx="4646">
                  <c:v>2943.4747014814106</c:v>
                </c:pt>
                <c:pt idx="4647">
                  <c:v>2944.1059623699807</c:v>
                </c:pt>
                <c:pt idx="4648">
                  <c:v>2944.7373586394701</c:v>
                </c:pt>
                <c:pt idx="4649">
                  <c:v>2945.3688903189118</c:v>
                </c:pt>
                <c:pt idx="4650">
                  <c:v>2946.0005574373467</c:v>
                </c:pt>
                <c:pt idx="4651">
                  <c:v>2944.5668918986876</c:v>
                </c:pt>
                <c:pt idx="4652">
                  <c:v>2945.1983870196404</c:v>
                </c:pt>
                <c:pt idx="4653">
                  <c:v>2945.8300175717463</c:v>
                </c:pt>
                <c:pt idx="4654">
                  <c:v>2946.4617835840495</c:v>
                </c:pt>
                <c:pt idx="4655">
                  <c:v>2947.0936850856001</c:v>
                </c:pt>
                <c:pt idx="4656">
                  <c:v>2947.7257221054565</c:v>
                </c:pt>
                <c:pt idx="4657">
                  <c:v>2948.3578946726816</c:v>
                </c:pt>
                <c:pt idx="4658">
                  <c:v>1957.1289664788289</c:v>
                </c:pt>
                <c:pt idx="4659">
                  <c:v>1957.5486945538839</c:v>
                </c:pt>
                <c:pt idx="4660">
                  <c:v>1957.968512644293</c:v>
                </c:pt>
                <c:pt idx="4661">
                  <c:v>1958.3884207693611</c:v>
                </c:pt>
                <c:pt idx="4662">
                  <c:v>1958.808418948397</c:v>
                </c:pt>
                <c:pt idx="4663">
                  <c:v>1959.2285072007141</c:v>
                </c:pt>
                <c:pt idx="4664">
                  <c:v>1959.6486855456292</c:v>
                </c:pt>
                <c:pt idx="4665">
                  <c:v>1960.0689540024637</c:v>
                </c:pt>
                <c:pt idx="4666">
                  <c:v>1960.4893125905432</c:v>
                </c:pt>
                <c:pt idx="4667">
                  <c:v>1960.9097613291974</c:v>
                </c:pt>
                <c:pt idx="4668">
                  <c:v>1961.3303002377602</c:v>
                </c:pt>
                <c:pt idx="4669">
                  <c:v>1961.7509293355693</c:v>
                </c:pt>
                <c:pt idx="4670">
                  <c:v>1962.1716486419668</c:v>
                </c:pt>
                <c:pt idx="4671">
                  <c:v>1962.592458176299</c:v>
                </c:pt>
                <c:pt idx="4672">
                  <c:v>1963.0133579579165</c:v>
                </c:pt>
                <c:pt idx="4673">
                  <c:v>1963.4343480061734</c:v>
                </c:pt>
                <c:pt idx="4674">
                  <c:v>1963.8554283404287</c:v>
                </c:pt>
                <c:pt idx="4675">
                  <c:v>1964.2765989800453</c:v>
                </c:pt>
                <c:pt idx="4676">
                  <c:v>1964.6978599443898</c:v>
                </c:pt>
                <c:pt idx="4677">
                  <c:v>1965.1192112528338</c:v>
                </c:pt>
                <c:pt idx="4678">
                  <c:v>1965.5406529247521</c:v>
                </c:pt>
                <c:pt idx="4679">
                  <c:v>1965.9621849795246</c:v>
                </c:pt>
                <c:pt idx="4680">
                  <c:v>1966.3838074365351</c:v>
                </c:pt>
                <c:pt idx="4681">
                  <c:v>1974.1852512671624</c:v>
                </c:pt>
                <c:pt idx="4682">
                  <c:v>1974.6086372521988</c:v>
                </c:pt>
                <c:pt idx="4683">
                  <c:v>1975.0321140370691</c:v>
                </c:pt>
                <c:pt idx="4684">
                  <c:v>1975.4556816412462</c:v>
                </c:pt>
                <c:pt idx="4685">
                  <c:v>1975.8793400842071</c:v>
                </c:pt>
                <c:pt idx="4686">
                  <c:v>1976.3030893854332</c:v>
                </c:pt>
                <c:pt idx="4687">
                  <c:v>1976.7269295644101</c:v>
                </c:pt>
                <c:pt idx="4688">
                  <c:v>985.28962430311117</c:v>
                </c:pt>
                <c:pt idx="4689">
                  <c:v>985.50093062194037</c:v>
                </c:pt>
                <c:pt idx="4690">
                  <c:v>985.71228225775985</c:v>
                </c:pt>
                <c:pt idx="4691">
                  <c:v>985.92367922028836</c:v>
                </c:pt>
                <c:pt idx="4692">
                  <c:v>986.13512151924681</c:v>
                </c:pt>
                <c:pt idx="4693">
                  <c:v>986.34660916435814</c:v>
                </c:pt>
                <c:pt idx="4694">
                  <c:v>986.55814216534702</c:v>
                </c:pt>
                <c:pt idx="4695">
                  <c:v>986.76972053194083</c:v>
                </c:pt>
                <c:pt idx="4696">
                  <c:v>986.98134427386856</c:v>
                </c:pt>
                <c:pt idx="4697">
                  <c:v>987.19301340086167</c:v>
                </c:pt>
                <c:pt idx="4698">
                  <c:v>987.40472792265336</c:v>
                </c:pt>
                <c:pt idx="4699">
                  <c:v>987.61648784897886</c:v>
                </c:pt>
                <c:pt idx="4700">
                  <c:v>987.82829318957602</c:v>
                </c:pt>
                <c:pt idx="4701">
                  <c:v>988.04014395418426</c:v>
                </c:pt>
                <c:pt idx="4702">
                  <c:v>988.25204015254519</c:v>
                </c:pt>
                <c:pt idx="4703">
                  <c:v>988.4639817944028</c:v>
                </c:pt>
                <c:pt idx="4704">
                  <c:v>988.67596888950266</c:v>
                </c:pt>
                <c:pt idx="4705">
                  <c:v>988.88800144759296</c:v>
                </c:pt>
                <c:pt idx="4706">
                  <c:v>989.10007947842371</c:v>
                </c:pt>
                <c:pt idx="4707">
                  <c:v>989.31220299174697</c:v>
                </c:pt>
                <c:pt idx="4708">
                  <c:v>989.52437199731696</c:v>
                </c:pt>
                <c:pt idx="4709">
                  <c:v>989.73658650489006</c:v>
                </c:pt>
                <c:pt idx="4710">
                  <c:v>989.94884652422468</c:v>
                </c:pt>
                <c:pt idx="4711">
                  <c:v>990.1611520650813</c:v>
                </c:pt>
                <c:pt idx="4712">
                  <c:v>990.37350313722254</c:v>
                </c:pt>
                <c:pt idx="4713">
                  <c:v>990.5858997504132</c:v>
                </c:pt>
                <c:pt idx="4714">
                  <c:v>990.79834191441989</c:v>
                </c:pt>
                <c:pt idx="4715">
                  <c:v>991.01082963901138</c:v>
                </c:pt>
                <c:pt idx="4716">
                  <c:v>991.22336293395892</c:v>
                </c:pt>
                <c:pt idx="4717">
                  <c:v>991.43594180903551</c:v>
                </c:pt>
                <c:pt idx="4718">
                  <c:v>991.64856627401628</c:v>
                </c:pt>
                <c:pt idx="4719">
                  <c:v>1.1622205420280807E-9</c:v>
                </c:pt>
                <c:pt idx="4720">
                  <c:v>1.1624697931501326E-9</c:v>
                </c:pt>
                <c:pt idx="4721">
                  <c:v>1.1627190977268599E-9</c:v>
                </c:pt>
                <c:pt idx="4722">
                  <c:v>1.1629684557697265E-9</c:v>
                </c:pt>
                <c:pt idx="4723">
                  <c:v>1.163217867290199E-9</c:v>
                </c:pt>
                <c:pt idx="4724">
                  <c:v>1.163467332299746E-9</c:v>
                </c:pt>
                <c:pt idx="4725">
                  <c:v>1.1637168508098388E-9</c:v>
                </c:pt>
                <c:pt idx="4726">
                  <c:v>1.1639664228319517E-9</c:v>
                </c:pt>
                <c:pt idx="4727">
                  <c:v>1.1642160483775606E-9</c:v>
                </c:pt>
                <c:pt idx="4728">
                  <c:v>1.1644657274581441E-9</c:v>
                </c:pt>
                <c:pt idx="4729">
                  <c:v>1.1647154600851836E-9</c:v>
                </c:pt>
                <c:pt idx="4730">
                  <c:v>1.1649652462701625E-9</c:v>
                </c:pt>
                <c:pt idx="4731">
                  <c:v>1.165215086024567E-9</c:v>
                </c:pt>
                <c:pt idx="4732">
                  <c:v>1.1654649793598855E-9</c:v>
                </c:pt>
                <c:pt idx="4733">
                  <c:v>1.1657149262876094E-9</c:v>
                </c:pt>
                <c:pt idx="4734">
                  <c:v>1.1659649268192321E-9</c:v>
                </c:pt>
                <c:pt idx="4735">
                  <c:v>1.1662149809662492E-9</c:v>
                </c:pt>
                <c:pt idx="4736">
                  <c:v>1.1664650887401595E-9</c:v>
                </c:pt>
                <c:pt idx="4737">
                  <c:v>1.1667152501524639E-9</c:v>
                </c:pt>
                <c:pt idx="4738">
                  <c:v>1.1669654652146655E-9</c:v>
                </c:pt>
                <c:pt idx="4739">
                  <c:v>1.1672157339382702E-9</c:v>
                </c:pt>
                <c:pt idx="4740">
                  <c:v>1.1674660563347862E-9</c:v>
                </c:pt>
                <c:pt idx="4741">
                  <c:v>1.1677164324157243E-9</c:v>
                </c:pt>
                <c:pt idx="4742">
                  <c:v>1.1679668621925981E-9</c:v>
                </c:pt>
                <c:pt idx="4743">
                  <c:v>1.1682173456769228E-9</c:v>
                </c:pt>
                <c:pt idx="4744">
                  <c:v>1.1684678828802165E-9</c:v>
                </c:pt>
                <c:pt idx="4745">
                  <c:v>1.168718473814E-9</c:v>
                </c:pt>
                <c:pt idx="4746">
                  <c:v>1.1689691184897967E-9</c:v>
                </c:pt>
                <c:pt idx="4747">
                  <c:v>1.1692198169191317E-9</c:v>
                </c:pt>
                <c:pt idx="4748">
                  <c:v>1.1694705691135334E-9</c:v>
                </c:pt>
                <c:pt idx="4749">
                  <c:v>1.1697213750845323E-9</c:v>
                </c:pt>
              </c:numCache>
            </c:numRef>
          </c:val>
          <c:smooth val="0"/>
          <c:extLst>
            <c:ext xmlns:c16="http://schemas.microsoft.com/office/drawing/2014/chart" uri="{C3380CC4-5D6E-409C-BE32-E72D297353CC}">
              <c16:uniqueId val="{00000001-E7E0-489F-9581-89C7B5B2549F}"/>
            </c:ext>
          </c:extLst>
        </c:ser>
        <c:dLbls>
          <c:showLegendKey val="0"/>
          <c:showVal val="0"/>
          <c:showCatName val="0"/>
          <c:showSerName val="0"/>
          <c:showPercent val="0"/>
          <c:showBubbleSize val="0"/>
        </c:dLbls>
        <c:smooth val="0"/>
        <c:axId val="1566878000"/>
        <c:axId val="1566873680"/>
      </c:lineChart>
      <c:dateAx>
        <c:axId val="156687800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venir Next LT Pro" panose="020B0504020202020204" pitchFamily="34" charset="0"/>
                <a:ea typeface="+mn-ea"/>
                <a:cs typeface="+mn-cs"/>
              </a:defRPr>
            </a:pPr>
            <a:endParaRPr lang="en-US"/>
          </a:p>
        </c:txPr>
        <c:crossAx val="1566873680"/>
        <c:crosses val="autoZero"/>
        <c:auto val="1"/>
        <c:lblOffset val="100"/>
        <c:baseTimeUnit val="days"/>
      </c:dateAx>
      <c:valAx>
        <c:axId val="1566873680"/>
        <c:scaling>
          <c:orientation val="minMax"/>
          <c:max val="1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r>
                  <a:rPr lang="en-US" dirty="0"/>
                  <a:t>Retirement pot size under decumulatio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156687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chemeClr val="tx1"/>
          </a:solidFill>
          <a:latin typeface="Avenir Next LT Pro" panose="020B05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29351264983417E-2"/>
          <c:y val="2.0680367303728481E-2"/>
          <c:w val="0.92587115948741705"/>
          <c:h val="0.67995624702816204"/>
        </c:manualLayout>
      </c:layout>
      <c:lineChart>
        <c:grouping val="standard"/>
        <c:varyColors val="0"/>
        <c:ser>
          <c:idx val="0"/>
          <c:order val="0"/>
          <c:tx>
            <c:strRef>
              <c:f>Data!$C$8</c:f>
              <c:strCache>
                <c:ptCount val="1"/>
                <c:pt idx="0">
                  <c:v>Balanced Portfolio</c:v>
                </c:pt>
              </c:strCache>
            </c:strRef>
          </c:tx>
          <c:spPr>
            <a:ln w="28575" cap="rnd">
              <a:solidFill>
                <a:schemeClr val="accent2"/>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C$9:$C$4758</c:f>
              <c:numCache>
                <c:formatCode>General</c:formatCode>
                <c:ptCount val="4750"/>
                <c:pt idx="0">
                  <c:v>100</c:v>
                </c:pt>
                <c:pt idx="1">
                  <c:v>100.44682555999999</c:v>
                </c:pt>
                <c:pt idx="2">
                  <c:v>99.203800412908492</c:v>
                </c:pt>
                <c:pt idx="3">
                  <c:v>99.203800412908492</c:v>
                </c:pt>
                <c:pt idx="4">
                  <c:v>99.203800412908492</c:v>
                </c:pt>
                <c:pt idx="5">
                  <c:v>97.687992433198758</c:v>
                </c:pt>
                <c:pt idx="6">
                  <c:v>97.932641069192542</c:v>
                </c:pt>
                <c:pt idx="7">
                  <c:v>99.500746744334307</c:v>
                </c:pt>
                <c:pt idx="8">
                  <c:v>99.460227493040904</c:v>
                </c:pt>
                <c:pt idx="9">
                  <c:v>98.240622511987084</c:v>
                </c:pt>
                <c:pt idx="10">
                  <c:v>98.240622511987084</c:v>
                </c:pt>
                <c:pt idx="11">
                  <c:v>98.240622511987084</c:v>
                </c:pt>
                <c:pt idx="12">
                  <c:v>97.012618660212155</c:v>
                </c:pt>
                <c:pt idx="13">
                  <c:v>97.344505095663891</c:v>
                </c:pt>
                <c:pt idx="14">
                  <c:v>97.720311403552813</c:v>
                </c:pt>
                <c:pt idx="15">
                  <c:v>98.591677459399293</c:v>
                </c:pt>
                <c:pt idx="16">
                  <c:v>99.065916185742068</c:v>
                </c:pt>
                <c:pt idx="17">
                  <c:v>99.065916185742068</c:v>
                </c:pt>
                <c:pt idx="18">
                  <c:v>99.065916185742068</c:v>
                </c:pt>
                <c:pt idx="19">
                  <c:v>98.276248532619121</c:v>
                </c:pt>
                <c:pt idx="20">
                  <c:v>99.100856888947618</c:v>
                </c:pt>
                <c:pt idx="21">
                  <c:v>98.471352885356211</c:v>
                </c:pt>
                <c:pt idx="22">
                  <c:v>96.05892093586138</c:v>
                </c:pt>
                <c:pt idx="23">
                  <c:v>95.530623824847353</c:v>
                </c:pt>
                <c:pt idx="24">
                  <c:v>95.530623824847353</c:v>
                </c:pt>
                <c:pt idx="25">
                  <c:v>95.530623824847353</c:v>
                </c:pt>
                <c:pt idx="26">
                  <c:v>95.251896817677192</c:v>
                </c:pt>
                <c:pt idx="27">
                  <c:v>96.951452504368902</c:v>
                </c:pt>
                <c:pt idx="28">
                  <c:v>96.368604251055388</c:v>
                </c:pt>
                <c:pt idx="29">
                  <c:v>96.283132411087692</c:v>
                </c:pt>
                <c:pt idx="30">
                  <c:v>95.631896122561471</c:v>
                </c:pt>
                <c:pt idx="31">
                  <c:v>95.631896122561471</c:v>
                </c:pt>
                <c:pt idx="32">
                  <c:v>95.631896122561471</c:v>
                </c:pt>
                <c:pt idx="33">
                  <c:v>94.799673030652229</c:v>
                </c:pt>
                <c:pt idx="34">
                  <c:v>93.900339058105146</c:v>
                </c:pt>
                <c:pt idx="35">
                  <c:v>95.141101986788399</c:v>
                </c:pt>
                <c:pt idx="36">
                  <c:v>97.223322278712658</c:v>
                </c:pt>
                <c:pt idx="37">
                  <c:v>96.636953702438745</c:v>
                </c:pt>
                <c:pt idx="38">
                  <c:v>96.636953702438745</c:v>
                </c:pt>
                <c:pt idx="39">
                  <c:v>96.636953702438745</c:v>
                </c:pt>
                <c:pt idx="40">
                  <c:v>97.82950821436873</c:v>
                </c:pt>
                <c:pt idx="41">
                  <c:v>98.134837533538558</c:v>
                </c:pt>
                <c:pt idx="42">
                  <c:v>98.663353594042391</c:v>
                </c:pt>
                <c:pt idx="43">
                  <c:v>98.305840223186337</c:v>
                </c:pt>
                <c:pt idx="44">
                  <c:v>99.074227670593629</c:v>
                </c:pt>
                <c:pt idx="45">
                  <c:v>99.074227670593629</c:v>
                </c:pt>
                <c:pt idx="46">
                  <c:v>99.074227670593629</c:v>
                </c:pt>
                <c:pt idx="47">
                  <c:v>98.685718093280386</c:v>
                </c:pt>
                <c:pt idx="48">
                  <c:v>98.83652500891607</c:v>
                </c:pt>
                <c:pt idx="49">
                  <c:v>98.419845371117759</c:v>
                </c:pt>
                <c:pt idx="50">
                  <c:v>97.843948928997222</c:v>
                </c:pt>
                <c:pt idx="51">
                  <c:v>98.496933672053203</c:v>
                </c:pt>
                <c:pt idx="52">
                  <c:v>98.496933672053203</c:v>
                </c:pt>
                <c:pt idx="53">
                  <c:v>98.496933672053203</c:v>
                </c:pt>
                <c:pt idx="54">
                  <c:v>99.240827232752437</c:v>
                </c:pt>
                <c:pt idx="55">
                  <c:v>99.115549333984831</c:v>
                </c:pt>
                <c:pt idx="56">
                  <c:v>99.531605228337085</c:v>
                </c:pt>
                <c:pt idx="57">
                  <c:v>101.50629655007367</c:v>
                </c:pt>
                <c:pt idx="58">
                  <c:v>101.34545836149941</c:v>
                </c:pt>
                <c:pt idx="59">
                  <c:v>101.34545836149941</c:v>
                </c:pt>
                <c:pt idx="60">
                  <c:v>101.34545836149941</c:v>
                </c:pt>
                <c:pt idx="61">
                  <c:v>99.645059532818323</c:v>
                </c:pt>
                <c:pt idx="62">
                  <c:v>98.12741216531677</c:v>
                </c:pt>
                <c:pt idx="63">
                  <c:v>99.001596505741915</c:v>
                </c:pt>
                <c:pt idx="64">
                  <c:v>100.05500319304196</c:v>
                </c:pt>
                <c:pt idx="65">
                  <c:v>99.754681237184826</c:v>
                </c:pt>
                <c:pt idx="66">
                  <c:v>99.754681237184826</c:v>
                </c:pt>
                <c:pt idx="67">
                  <c:v>99.754681237184826</c:v>
                </c:pt>
                <c:pt idx="68">
                  <c:v>99.835884600205134</c:v>
                </c:pt>
                <c:pt idx="69">
                  <c:v>100.24759447018938</c:v>
                </c:pt>
                <c:pt idx="70">
                  <c:v>99.229727712803665</c:v>
                </c:pt>
                <c:pt idx="71">
                  <c:v>99.303508915086425</c:v>
                </c:pt>
                <c:pt idx="72">
                  <c:v>100.04088766670471</c:v>
                </c:pt>
                <c:pt idx="73">
                  <c:v>100.04088766670471</c:v>
                </c:pt>
                <c:pt idx="74">
                  <c:v>100.04088766670471</c:v>
                </c:pt>
                <c:pt idx="75">
                  <c:v>100.083407855112</c:v>
                </c:pt>
                <c:pt idx="76">
                  <c:v>100.10048406614355</c:v>
                </c:pt>
                <c:pt idx="77">
                  <c:v>99.844554706069786</c:v>
                </c:pt>
                <c:pt idx="78">
                  <c:v>98.947645250207614</c:v>
                </c:pt>
                <c:pt idx="79">
                  <c:v>98.317869966579906</c:v>
                </c:pt>
                <c:pt idx="80">
                  <c:v>98.317869966579906</c:v>
                </c:pt>
                <c:pt idx="81">
                  <c:v>98.317869966579906</c:v>
                </c:pt>
                <c:pt idx="82">
                  <c:v>97.325871170799402</c:v>
                </c:pt>
                <c:pt idx="83">
                  <c:v>97.284825356927897</c:v>
                </c:pt>
                <c:pt idx="84">
                  <c:v>96.603085832872139</c:v>
                </c:pt>
                <c:pt idx="85">
                  <c:v>96.260074667042659</c:v>
                </c:pt>
                <c:pt idx="86">
                  <c:v>96.264635623396501</c:v>
                </c:pt>
                <c:pt idx="87">
                  <c:v>96.264635623396501</c:v>
                </c:pt>
                <c:pt idx="88">
                  <c:v>96.264635623396501</c:v>
                </c:pt>
                <c:pt idx="89">
                  <c:v>97.879600030005292</c:v>
                </c:pt>
                <c:pt idx="90">
                  <c:v>98.064118032064727</c:v>
                </c:pt>
                <c:pt idx="91">
                  <c:v>99.988034139235197</c:v>
                </c:pt>
                <c:pt idx="92">
                  <c:v>100.12190299875687</c:v>
                </c:pt>
                <c:pt idx="93">
                  <c:v>100.29851196825935</c:v>
                </c:pt>
                <c:pt idx="94">
                  <c:v>100.29851196825935</c:v>
                </c:pt>
                <c:pt idx="95">
                  <c:v>100.29851196825935</c:v>
                </c:pt>
                <c:pt idx="96">
                  <c:v>100.31809003719852</c:v>
                </c:pt>
                <c:pt idx="97">
                  <c:v>100.34512100738607</c:v>
                </c:pt>
                <c:pt idx="98">
                  <c:v>100.11003657203992</c:v>
                </c:pt>
                <c:pt idx="99">
                  <c:v>99.357667300655564</c:v>
                </c:pt>
                <c:pt idx="100">
                  <c:v>99.851125029050195</c:v>
                </c:pt>
                <c:pt idx="101">
                  <c:v>99.851125029050195</c:v>
                </c:pt>
                <c:pt idx="102">
                  <c:v>99.851125029050195</c:v>
                </c:pt>
                <c:pt idx="103">
                  <c:v>98.589314050594723</c:v>
                </c:pt>
                <c:pt idx="104">
                  <c:v>98.671176376278751</c:v>
                </c:pt>
                <c:pt idx="105">
                  <c:v>97.741808491518441</c:v>
                </c:pt>
                <c:pt idx="106">
                  <c:v>97.784286583005624</c:v>
                </c:pt>
                <c:pt idx="107">
                  <c:v>97.739014873589582</c:v>
                </c:pt>
                <c:pt idx="108">
                  <c:v>97.739014873589582</c:v>
                </c:pt>
                <c:pt idx="109">
                  <c:v>97.739014873589582</c:v>
                </c:pt>
                <c:pt idx="110">
                  <c:v>97.460763861499885</c:v>
                </c:pt>
                <c:pt idx="111">
                  <c:v>97.943569184329832</c:v>
                </c:pt>
                <c:pt idx="112">
                  <c:v>97.855856927709127</c:v>
                </c:pt>
                <c:pt idx="113">
                  <c:v>98.047512594579572</c:v>
                </c:pt>
                <c:pt idx="114">
                  <c:v>98.638661932132464</c:v>
                </c:pt>
                <c:pt idx="115">
                  <c:v>98.638661932132464</c:v>
                </c:pt>
                <c:pt idx="116">
                  <c:v>98.638661932132464</c:v>
                </c:pt>
                <c:pt idx="117">
                  <c:v>98.665017166622505</c:v>
                </c:pt>
                <c:pt idx="118">
                  <c:v>98.643753987170953</c:v>
                </c:pt>
                <c:pt idx="119">
                  <c:v>98.667036941475175</c:v>
                </c:pt>
                <c:pt idx="120">
                  <c:v>99.297978898589278</c:v>
                </c:pt>
                <c:pt idx="121">
                  <c:v>99.256677036263369</c:v>
                </c:pt>
                <c:pt idx="122">
                  <c:v>99.258102004821566</c:v>
                </c:pt>
                <c:pt idx="123">
                  <c:v>99.258102004821566</c:v>
                </c:pt>
                <c:pt idx="124">
                  <c:v>99.406009629249169</c:v>
                </c:pt>
                <c:pt idx="125">
                  <c:v>100.39341767418929</c:v>
                </c:pt>
                <c:pt idx="126">
                  <c:v>100.20077264462087</c:v>
                </c:pt>
                <c:pt idx="127">
                  <c:v>100.08477239450703</c:v>
                </c:pt>
                <c:pt idx="128">
                  <c:v>100.34855281808682</c:v>
                </c:pt>
                <c:pt idx="129">
                  <c:v>100.34855281808682</c:v>
                </c:pt>
                <c:pt idx="130">
                  <c:v>100.34855281808682</c:v>
                </c:pt>
                <c:pt idx="131">
                  <c:v>100.14335650480619</c:v>
                </c:pt>
                <c:pt idx="132">
                  <c:v>100.8697584185026</c:v>
                </c:pt>
                <c:pt idx="133">
                  <c:v>101.14990813421841</c:v>
                </c:pt>
                <c:pt idx="134">
                  <c:v>101.3541851783161</c:v>
                </c:pt>
                <c:pt idx="135">
                  <c:v>100.91458921169357</c:v>
                </c:pt>
                <c:pt idx="136">
                  <c:v>100.91458921169357</c:v>
                </c:pt>
                <c:pt idx="137">
                  <c:v>100.91458921169357</c:v>
                </c:pt>
                <c:pt idx="138">
                  <c:v>101.08321910489973</c:v>
                </c:pt>
                <c:pt idx="139">
                  <c:v>101.43564109848087</c:v>
                </c:pt>
                <c:pt idx="140">
                  <c:v>101.59293967000848</c:v>
                </c:pt>
                <c:pt idx="141">
                  <c:v>101.5815803500788</c:v>
                </c:pt>
                <c:pt idx="142">
                  <c:v>101.22824213001807</c:v>
                </c:pt>
                <c:pt idx="143">
                  <c:v>101.22824213001807</c:v>
                </c:pt>
                <c:pt idx="144">
                  <c:v>101.22824213001807</c:v>
                </c:pt>
                <c:pt idx="145">
                  <c:v>101.49445992537775</c:v>
                </c:pt>
                <c:pt idx="146">
                  <c:v>101.13369154446815</c:v>
                </c:pt>
                <c:pt idx="147">
                  <c:v>101.21983928605304</c:v>
                </c:pt>
                <c:pt idx="148">
                  <c:v>101.74895577271712</c:v>
                </c:pt>
                <c:pt idx="149">
                  <c:v>101.72161831097551</c:v>
                </c:pt>
                <c:pt idx="150">
                  <c:v>101.72161831097551</c:v>
                </c:pt>
                <c:pt idx="151">
                  <c:v>101.72161831097551</c:v>
                </c:pt>
                <c:pt idx="152">
                  <c:v>101.29006457925092</c:v>
                </c:pt>
                <c:pt idx="153">
                  <c:v>101.02131661411596</c:v>
                </c:pt>
                <c:pt idx="154">
                  <c:v>101.67688287124039</c:v>
                </c:pt>
                <c:pt idx="155">
                  <c:v>101.85869954132997</c:v>
                </c:pt>
                <c:pt idx="156">
                  <c:v>102.39525521439275</c:v>
                </c:pt>
                <c:pt idx="157">
                  <c:v>102.39525521439275</c:v>
                </c:pt>
                <c:pt idx="158">
                  <c:v>102.39525521439275</c:v>
                </c:pt>
                <c:pt idx="159">
                  <c:v>102.22845796167451</c:v>
                </c:pt>
                <c:pt idx="160">
                  <c:v>102.26547583702708</c:v>
                </c:pt>
                <c:pt idx="161">
                  <c:v>102.33545653165736</c:v>
                </c:pt>
                <c:pt idx="162">
                  <c:v>102.52293576343736</c:v>
                </c:pt>
                <c:pt idx="163">
                  <c:v>102.17961747500597</c:v>
                </c:pt>
                <c:pt idx="164">
                  <c:v>102.17961747500597</c:v>
                </c:pt>
                <c:pt idx="165">
                  <c:v>102.17961747500597</c:v>
                </c:pt>
                <c:pt idx="166">
                  <c:v>102.6326835133281</c:v>
                </c:pt>
                <c:pt idx="167">
                  <c:v>102.74719377467173</c:v>
                </c:pt>
                <c:pt idx="168">
                  <c:v>102.73052847780833</c:v>
                </c:pt>
                <c:pt idx="169">
                  <c:v>102.69756716173907</c:v>
                </c:pt>
                <c:pt idx="170">
                  <c:v>102.78916044148411</c:v>
                </c:pt>
                <c:pt idx="171">
                  <c:v>102.78916044148411</c:v>
                </c:pt>
                <c:pt idx="172">
                  <c:v>102.78916044148411</c:v>
                </c:pt>
                <c:pt idx="173">
                  <c:v>103.08661764490424</c:v>
                </c:pt>
                <c:pt idx="174">
                  <c:v>103.28244407638103</c:v>
                </c:pt>
                <c:pt idx="175">
                  <c:v>103.81128210432732</c:v>
                </c:pt>
                <c:pt idx="176">
                  <c:v>104.12313379105078</c:v>
                </c:pt>
                <c:pt idx="177">
                  <c:v>103.72634429948452</c:v>
                </c:pt>
                <c:pt idx="178">
                  <c:v>103.72634429948452</c:v>
                </c:pt>
                <c:pt idx="179">
                  <c:v>103.72634429948452</c:v>
                </c:pt>
                <c:pt idx="180">
                  <c:v>103.61663101580895</c:v>
                </c:pt>
                <c:pt idx="181">
                  <c:v>103.87228031955064</c:v>
                </c:pt>
                <c:pt idx="182">
                  <c:v>103.052405504399</c:v>
                </c:pt>
                <c:pt idx="183">
                  <c:v>103.24852185795187</c:v>
                </c:pt>
                <c:pt idx="184">
                  <c:v>103.17309569462928</c:v>
                </c:pt>
                <c:pt idx="185">
                  <c:v>103.17309569462928</c:v>
                </c:pt>
                <c:pt idx="186">
                  <c:v>103.17309569462928</c:v>
                </c:pt>
                <c:pt idx="187">
                  <c:v>102.93611699843591</c:v>
                </c:pt>
                <c:pt idx="188">
                  <c:v>101.82294153629121</c:v>
                </c:pt>
                <c:pt idx="189">
                  <c:v>102.21436562251913</c:v>
                </c:pt>
                <c:pt idx="190">
                  <c:v>102.8855813582276</c:v>
                </c:pt>
                <c:pt idx="191">
                  <c:v>103.35786624030723</c:v>
                </c:pt>
                <c:pt idx="192">
                  <c:v>103.35786624030723</c:v>
                </c:pt>
                <c:pt idx="193">
                  <c:v>103.35786624030723</c:v>
                </c:pt>
                <c:pt idx="194">
                  <c:v>103.61059389745991</c:v>
                </c:pt>
                <c:pt idx="195">
                  <c:v>103.799103892687</c:v>
                </c:pt>
                <c:pt idx="196">
                  <c:v>103.32467768435255</c:v>
                </c:pt>
                <c:pt idx="197">
                  <c:v>103.41699674432581</c:v>
                </c:pt>
                <c:pt idx="198">
                  <c:v>103.107169712071</c:v>
                </c:pt>
                <c:pt idx="199">
                  <c:v>103.107169712071</c:v>
                </c:pt>
                <c:pt idx="200">
                  <c:v>103.107169712071</c:v>
                </c:pt>
                <c:pt idx="201">
                  <c:v>102.94524462434656</c:v>
                </c:pt>
                <c:pt idx="202">
                  <c:v>102.66817907978015</c:v>
                </c:pt>
                <c:pt idx="203">
                  <c:v>102.65776765374194</c:v>
                </c:pt>
                <c:pt idx="204">
                  <c:v>102.46944967831372</c:v>
                </c:pt>
                <c:pt idx="205">
                  <c:v>102.5814127995414</c:v>
                </c:pt>
                <c:pt idx="206">
                  <c:v>102.5814127995414</c:v>
                </c:pt>
                <c:pt idx="207">
                  <c:v>102.5814127995414</c:v>
                </c:pt>
                <c:pt idx="208">
                  <c:v>103.08147261869078</c:v>
                </c:pt>
                <c:pt idx="209">
                  <c:v>102.72141944606243</c:v>
                </c:pt>
                <c:pt idx="210">
                  <c:v>102.68056780523796</c:v>
                </c:pt>
                <c:pt idx="211">
                  <c:v>102.03082771055104</c:v>
                </c:pt>
                <c:pt idx="212">
                  <c:v>102.24030236666233</c:v>
                </c:pt>
                <c:pt idx="213">
                  <c:v>102.24179461499553</c:v>
                </c:pt>
                <c:pt idx="214">
                  <c:v>102.24179461499553</c:v>
                </c:pt>
                <c:pt idx="215">
                  <c:v>102.87867633924101</c:v>
                </c:pt>
                <c:pt idx="216">
                  <c:v>102.6803130107733</c:v>
                </c:pt>
                <c:pt idx="217">
                  <c:v>101.23481889076753</c:v>
                </c:pt>
                <c:pt idx="218">
                  <c:v>101.20479028471324</c:v>
                </c:pt>
                <c:pt idx="219">
                  <c:v>101.20585968537075</c:v>
                </c:pt>
                <c:pt idx="220">
                  <c:v>101.20585968537075</c:v>
                </c:pt>
                <c:pt idx="221">
                  <c:v>101.20585968537075</c:v>
                </c:pt>
                <c:pt idx="222">
                  <c:v>101.01400793720838</c:v>
                </c:pt>
                <c:pt idx="223">
                  <c:v>100.51380513627798</c:v>
                </c:pt>
                <c:pt idx="224">
                  <c:v>100.57443543543728</c:v>
                </c:pt>
                <c:pt idx="225">
                  <c:v>101.12028186198279</c:v>
                </c:pt>
                <c:pt idx="226">
                  <c:v>100.79042580372827</c:v>
                </c:pt>
                <c:pt idx="227">
                  <c:v>100.79042580372827</c:v>
                </c:pt>
                <c:pt idx="228">
                  <c:v>100.79042580372827</c:v>
                </c:pt>
                <c:pt idx="229">
                  <c:v>100.94427017291805</c:v>
                </c:pt>
                <c:pt idx="230">
                  <c:v>101.661752468636</c:v>
                </c:pt>
                <c:pt idx="231">
                  <c:v>101.09390402686415</c:v>
                </c:pt>
                <c:pt idx="232">
                  <c:v>100.94448111042186</c:v>
                </c:pt>
                <c:pt idx="233">
                  <c:v>101.11129650890297</c:v>
                </c:pt>
                <c:pt idx="234">
                  <c:v>101.11129650890297</c:v>
                </c:pt>
                <c:pt idx="235">
                  <c:v>101.11129650890297</c:v>
                </c:pt>
                <c:pt idx="236">
                  <c:v>100.19089265169382</c:v>
                </c:pt>
                <c:pt idx="237">
                  <c:v>100.37015784377472</c:v>
                </c:pt>
                <c:pt idx="238">
                  <c:v>100.70146379603595</c:v>
                </c:pt>
                <c:pt idx="239">
                  <c:v>100.76242758611534</c:v>
                </c:pt>
                <c:pt idx="240">
                  <c:v>100.93493991551269</c:v>
                </c:pt>
                <c:pt idx="241">
                  <c:v>100.93493991551269</c:v>
                </c:pt>
                <c:pt idx="242">
                  <c:v>100.93493991551269</c:v>
                </c:pt>
                <c:pt idx="243">
                  <c:v>100.88510705380266</c:v>
                </c:pt>
                <c:pt idx="244">
                  <c:v>101.23730681900244</c:v>
                </c:pt>
                <c:pt idx="245">
                  <c:v>100.98574738826682</c:v>
                </c:pt>
                <c:pt idx="246">
                  <c:v>100.96435043722302</c:v>
                </c:pt>
                <c:pt idx="247">
                  <c:v>100.18421562109103</c:v>
                </c:pt>
                <c:pt idx="248">
                  <c:v>100.18421562109103</c:v>
                </c:pt>
                <c:pt idx="249">
                  <c:v>100.18421562109103</c:v>
                </c:pt>
                <c:pt idx="250">
                  <c:v>99.992182125870073</c:v>
                </c:pt>
                <c:pt idx="251">
                  <c:v>99.294997335160929</c:v>
                </c:pt>
                <c:pt idx="252">
                  <c:v>99.214751983769517</c:v>
                </c:pt>
                <c:pt idx="253">
                  <c:v>99.203695829138596</c:v>
                </c:pt>
                <c:pt idx="254">
                  <c:v>99.652888338504923</c:v>
                </c:pt>
                <c:pt idx="255">
                  <c:v>99.652888338504923</c:v>
                </c:pt>
                <c:pt idx="256">
                  <c:v>99.652888338504923</c:v>
                </c:pt>
                <c:pt idx="257">
                  <c:v>98.572157348506707</c:v>
                </c:pt>
                <c:pt idx="258">
                  <c:v>98.181295383018593</c:v>
                </c:pt>
                <c:pt idx="259">
                  <c:v>98.297811132046462</c:v>
                </c:pt>
                <c:pt idx="260">
                  <c:v>98.38543632714331</c:v>
                </c:pt>
                <c:pt idx="261">
                  <c:v>98.078430741851321</c:v>
                </c:pt>
                <c:pt idx="262">
                  <c:v>98.078430741851321</c:v>
                </c:pt>
                <c:pt idx="263">
                  <c:v>98.078430741851321</c:v>
                </c:pt>
                <c:pt idx="264">
                  <c:v>98.586422873800345</c:v>
                </c:pt>
                <c:pt idx="265">
                  <c:v>99.092881439733318</c:v>
                </c:pt>
                <c:pt idx="266">
                  <c:v>98.177191432346874</c:v>
                </c:pt>
                <c:pt idx="267">
                  <c:v>98.854695687564757</c:v>
                </c:pt>
                <c:pt idx="268">
                  <c:v>99.058139540982026</c:v>
                </c:pt>
                <c:pt idx="269">
                  <c:v>99.058139540982026</c:v>
                </c:pt>
                <c:pt idx="270">
                  <c:v>99.058139540982026</c:v>
                </c:pt>
                <c:pt idx="271">
                  <c:v>98.997176715172458</c:v>
                </c:pt>
                <c:pt idx="272">
                  <c:v>99.437159331777792</c:v>
                </c:pt>
                <c:pt idx="273">
                  <c:v>98.965385755220026</c:v>
                </c:pt>
                <c:pt idx="274">
                  <c:v>99.559460645617293</c:v>
                </c:pt>
                <c:pt idx="275">
                  <c:v>99.211710500682287</c:v>
                </c:pt>
                <c:pt idx="276">
                  <c:v>99.211710500682287</c:v>
                </c:pt>
                <c:pt idx="277">
                  <c:v>99.211710500682287</c:v>
                </c:pt>
                <c:pt idx="278">
                  <c:v>99.268617921136283</c:v>
                </c:pt>
                <c:pt idx="279">
                  <c:v>99.369567325515476</c:v>
                </c:pt>
                <c:pt idx="280">
                  <c:v>100.04804216171367</c:v>
                </c:pt>
                <c:pt idx="281">
                  <c:v>99.932400571671806</c:v>
                </c:pt>
                <c:pt idx="282">
                  <c:v>100.35177108783166</c:v>
                </c:pt>
                <c:pt idx="283">
                  <c:v>100.35177108783166</c:v>
                </c:pt>
                <c:pt idx="284">
                  <c:v>100.35177108783166</c:v>
                </c:pt>
                <c:pt idx="285">
                  <c:v>100.10484139543516</c:v>
                </c:pt>
                <c:pt idx="286">
                  <c:v>100.37866810851486</c:v>
                </c:pt>
                <c:pt idx="287">
                  <c:v>100.48918331566497</c:v>
                </c:pt>
                <c:pt idx="288">
                  <c:v>100.75254921603438</c:v>
                </c:pt>
                <c:pt idx="289">
                  <c:v>100.72011529794942</c:v>
                </c:pt>
                <c:pt idx="290">
                  <c:v>100.72011529794942</c:v>
                </c:pt>
                <c:pt idx="291">
                  <c:v>100.72011529794942</c:v>
                </c:pt>
                <c:pt idx="292">
                  <c:v>100.88992311733456</c:v>
                </c:pt>
                <c:pt idx="293">
                  <c:v>101.78879411882437</c:v>
                </c:pt>
                <c:pt idx="294">
                  <c:v>101.74930081994334</c:v>
                </c:pt>
                <c:pt idx="295">
                  <c:v>101.06073857621469</c:v>
                </c:pt>
                <c:pt idx="296">
                  <c:v>100.8461943189396</c:v>
                </c:pt>
                <c:pt idx="297">
                  <c:v>100.8461943189396</c:v>
                </c:pt>
                <c:pt idx="298">
                  <c:v>100.8461943189396</c:v>
                </c:pt>
                <c:pt idx="299">
                  <c:v>100.25114247489559</c:v>
                </c:pt>
                <c:pt idx="300">
                  <c:v>100.16116291410195</c:v>
                </c:pt>
                <c:pt idx="301">
                  <c:v>100.7944970715434</c:v>
                </c:pt>
                <c:pt idx="302">
                  <c:v>100.83993543241225</c:v>
                </c:pt>
                <c:pt idx="303">
                  <c:v>101.87330023375104</c:v>
                </c:pt>
                <c:pt idx="304">
                  <c:v>101.87586096177502</c:v>
                </c:pt>
                <c:pt idx="305">
                  <c:v>101.87586096177502</c:v>
                </c:pt>
                <c:pt idx="306">
                  <c:v>102.36404899743212</c:v>
                </c:pt>
                <c:pt idx="307">
                  <c:v>103.07985137264349</c:v>
                </c:pt>
                <c:pt idx="308">
                  <c:v>103.36100448134232</c:v>
                </c:pt>
                <c:pt idx="309">
                  <c:v>103.4008968263995</c:v>
                </c:pt>
                <c:pt idx="310">
                  <c:v>102.87802361756633</c:v>
                </c:pt>
                <c:pt idx="311">
                  <c:v>102.87802361756633</c:v>
                </c:pt>
                <c:pt idx="312">
                  <c:v>102.87802361756633</c:v>
                </c:pt>
                <c:pt idx="313">
                  <c:v>102.62010215737325</c:v>
                </c:pt>
                <c:pt idx="314">
                  <c:v>102.7127700696653</c:v>
                </c:pt>
                <c:pt idx="315">
                  <c:v>102.39571335342903</c:v>
                </c:pt>
                <c:pt idx="316">
                  <c:v>102.32404236471001</c:v>
                </c:pt>
                <c:pt idx="317">
                  <c:v>102.75681470851138</c:v>
                </c:pt>
                <c:pt idx="318">
                  <c:v>102.75681470851138</c:v>
                </c:pt>
                <c:pt idx="319">
                  <c:v>102.75681470851138</c:v>
                </c:pt>
                <c:pt idx="320">
                  <c:v>102.66968573589759</c:v>
                </c:pt>
                <c:pt idx="321">
                  <c:v>102.81237051070335</c:v>
                </c:pt>
                <c:pt idx="322">
                  <c:v>103.17869527410885</c:v>
                </c:pt>
                <c:pt idx="323">
                  <c:v>103.46194052040282</c:v>
                </c:pt>
                <c:pt idx="324">
                  <c:v>103.22295135263913</c:v>
                </c:pt>
                <c:pt idx="325">
                  <c:v>103.22295135263913</c:v>
                </c:pt>
                <c:pt idx="326">
                  <c:v>103.22295135263913</c:v>
                </c:pt>
                <c:pt idx="327">
                  <c:v>102.58817319417963</c:v>
                </c:pt>
                <c:pt idx="328">
                  <c:v>102.12719067322726</c:v>
                </c:pt>
                <c:pt idx="329">
                  <c:v>102.4765207323109</c:v>
                </c:pt>
                <c:pt idx="330">
                  <c:v>102.95734495358198</c:v>
                </c:pt>
                <c:pt idx="331">
                  <c:v>103.62298889846969</c:v>
                </c:pt>
                <c:pt idx="332">
                  <c:v>103.62298889846969</c:v>
                </c:pt>
                <c:pt idx="333">
                  <c:v>103.62298889846969</c:v>
                </c:pt>
                <c:pt idx="334">
                  <c:v>103.92928943845354</c:v>
                </c:pt>
                <c:pt idx="335">
                  <c:v>103.93392595269982</c:v>
                </c:pt>
                <c:pt idx="336">
                  <c:v>104.38735867853474</c:v>
                </c:pt>
                <c:pt idx="337">
                  <c:v>103.96095114133786</c:v>
                </c:pt>
                <c:pt idx="338">
                  <c:v>104.93817025525993</c:v>
                </c:pt>
                <c:pt idx="339">
                  <c:v>104.93817025525993</c:v>
                </c:pt>
                <c:pt idx="340">
                  <c:v>104.93817025525993</c:v>
                </c:pt>
                <c:pt idx="341">
                  <c:v>105.14173319013958</c:v>
                </c:pt>
                <c:pt idx="342">
                  <c:v>105.34265687634624</c:v>
                </c:pt>
                <c:pt idx="343">
                  <c:v>105.55613611964741</c:v>
                </c:pt>
                <c:pt idx="344">
                  <c:v>105.74629344052229</c:v>
                </c:pt>
                <c:pt idx="345">
                  <c:v>105.60303927518656</c:v>
                </c:pt>
                <c:pt idx="346">
                  <c:v>105.60303927518656</c:v>
                </c:pt>
                <c:pt idx="347">
                  <c:v>105.60303927518656</c:v>
                </c:pt>
                <c:pt idx="348">
                  <c:v>105.53624083303492</c:v>
                </c:pt>
                <c:pt idx="349">
                  <c:v>105.84044070987312</c:v>
                </c:pt>
                <c:pt idx="350">
                  <c:v>105.65799202678156</c:v>
                </c:pt>
                <c:pt idx="351">
                  <c:v>105.846601611756</c:v>
                </c:pt>
                <c:pt idx="352">
                  <c:v>106.03538715474959</c:v>
                </c:pt>
                <c:pt idx="353">
                  <c:v>106.03538715474959</c:v>
                </c:pt>
                <c:pt idx="354">
                  <c:v>106.03538715474959</c:v>
                </c:pt>
                <c:pt idx="355">
                  <c:v>105.94090454569965</c:v>
                </c:pt>
                <c:pt idx="356">
                  <c:v>105.9313098593622</c:v>
                </c:pt>
                <c:pt idx="357">
                  <c:v>105.56665530810425</c:v>
                </c:pt>
                <c:pt idx="358">
                  <c:v>105.49936224483139</c:v>
                </c:pt>
                <c:pt idx="359">
                  <c:v>106.00754592080557</c:v>
                </c:pt>
                <c:pt idx="360">
                  <c:v>106.00754592080557</c:v>
                </c:pt>
                <c:pt idx="361">
                  <c:v>106.00754592080557</c:v>
                </c:pt>
                <c:pt idx="362">
                  <c:v>106.20292723080694</c:v>
                </c:pt>
                <c:pt idx="363">
                  <c:v>105.90868086960663</c:v>
                </c:pt>
                <c:pt idx="364">
                  <c:v>105.73591584062568</c:v>
                </c:pt>
                <c:pt idx="365">
                  <c:v>105.39180633845197</c:v>
                </c:pt>
                <c:pt idx="366">
                  <c:v>105.41104941734326</c:v>
                </c:pt>
                <c:pt idx="367">
                  <c:v>105.41104941734326</c:v>
                </c:pt>
                <c:pt idx="368">
                  <c:v>105.41104941734326</c:v>
                </c:pt>
                <c:pt idx="369">
                  <c:v>105.71806012125846</c:v>
                </c:pt>
                <c:pt idx="370">
                  <c:v>105.15371845709358</c:v>
                </c:pt>
                <c:pt idx="371">
                  <c:v>105.16749849437473</c:v>
                </c:pt>
                <c:pt idx="372">
                  <c:v>106.37320232345083</c:v>
                </c:pt>
                <c:pt idx="373">
                  <c:v>106.41275674133003</c:v>
                </c:pt>
                <c:pt idx="374">
                  <c:v>106.41275674133003</c:v>
                </c:pt>
                <c:pt idx="375">
                  <c:v>106.41275674133003</c:v>
                </c:pt>
                <c:pt idx="376">
                  <c:v>106.33951989603074</c:v>
                </c:pt>
                <c:pt idx="377">
                  <c:v>106.36312516392518</c:v>
                </c:pt>
                <c:pt idx="378">
                  <c:v>106.18004533729327</c:v>
                </c:pt>
                <c:pt idx="379">
                  <c:v>106.64720712681238</c:v>
                </c:pt>
                <c:pt idx="380">
                  <c:v>107.2023577770973</c:v>
                </c:pt>
                <c:pt idx="381">
                  <c:v>107.2023577770973</c:v>
                </c:pt>
                <c:pt idx="382">
                  <c:v>107.2023577770973</c:v>
                </c:pt>
                <c:pt idx="383">
                  <c:v>106.98903001642934</c:v>
                </c:pt>
                <c:pt idx="384">
                  <c:v>106.90378081494735</c:v>
                </c:pt>
                <c:pt idx="385">
                  <c:v>107.4972619006694</c:v>
                </c:pt>
                <c:pt idx="386">
                  <c:v>107.31549354430305</c:v>
                </c:pt>
                <c:pt idx="387">
                  <c:v>107.33967772393468</c:v>
                </c:pt>
                <c:pt idx="388">
                  <c:v>107.33967772393468</c:v>
                </c:pt>
                <c:pt idx="389">
                  <c:v>107.33967772393468</c:v>
                </c:pt>
                <c:pt idx="390">
                  <c:v>107.27059567845623</c:v>
                </c:pt>
                <c:pt idx="391">
                  <c:v>107.27382749478167</c:v>
                </c:pt>
                <c:pt idx="392">
                  <c:v>106.82570601293901</c:v>
                </c:pt>
                <c:pt idx="393">
                  <c:v>107.17716589731846</c:v>
                </c:pt>
                <c:pt idx="394">
                  <c:v>107.05881092469365</c:v>
                </c:pt>
                <c:pt idx="395">
                  <c:v>107.05881092469365</c:v>
                </c:pt>
                <c:pt idx="396">
                  <c:v>107.06456852613341</c:v>
                </c:pt>
                <c:pt idx="397">
                  <c:v>107.55219072024533</c:v>
                </c:pt>
                <c:pt idx="398">
                  <c:v>107.59813410145667</c:v>
                </c:pt>
                <c:pt idx="399">
                  <c:v>107.69604117289437</c:v>
                </c:pt>
                <c:pt idx="400">
                  <c:v>107.53764689725121</c:v>
                </c:pt>
                <c:pt idx="401">
                  <c:v>107.8929369800927</c:v>
                </c:pt>
                <c:pt idx="402">
                  <c:v>107.8929369800927</c:v>
                </c:pt>
                <c:pt idx="403">
                  <c:v>107.8929369800927</c:v>
                </c:pt>
                <c:pt idx="404">
                  <c:v>107.88525171224514</c:v>
                </c:pt>
                <c:pt idx="405">
                  <c:v>107.40126150271391</c:v>
                </c:pt>
                <c:pt idx="406">
                  <c:v>106.93506216187754</c:v>
                </c:pt>
                <c:pt idx="407">
                  <c:v>107.36169103442401</c:v>
                </c:pt>
                <c:pt idx="408">
                  <c:v>106.95993870161625</c:v>
                </c:pt>
                <c:pt idx="409">
                  <c:v>106.95993870161625</c:v>
                </c:pt>
                <c:pt idx="410">
                  <c:v>106.95993870161625</c:v>
                </c:pt>
                <c:pt idx="411">
                  <c:v>107.17092717076348</c:v>
                </c:pt>
                <c:pt idx="412">
                  <c:v>107.72005889127171</c:v>
                </c:pt>
                <c:pt idx="413">
                  <c:v>107.61931420170592</c:v>
                </c:pt>
                <c:pt idx="414">
                  <c:v>107.60806402298108</c:v>
                </c:pt>
                <c:pt idx="415">
                  <c:v>107.381668202622</c:v>
                </c:pt>
                <c:pt idx="416">
                  <c:v>107.381668202622</c:v>
                </c:pt>
                <c:pt idx="417">
                  <c:v>107.381668202622</c:v>
                </c:pt>
                <c:pt idx="418">
                  <c:v>107.15096248979972</c:v>
                </c:pt>
                <c:pt idx="419">
                  <c:v>106.29054861878171</c:v>
                </c:pt>
                <c:pt idx="420">
                  <c:v>105.86057528891391</c:v>
                </c:pt>
                <c:pt idx="421">
                  <c:v>105.55178471217781</c:v>
                </c:pt>
                <c:pt idx="422">
                  <c:v>105.79000191741046</c:v>
                </c:pt>
                <c:pt idx="423">
                  <c:v>105.79000191741046</c:v>
                </c:pt>
                <c:pt idx="424">
                  <c:v>105.79000191741046</c:v>
                </c:pt>
                <c:pt idx="425">
                  <c:v>105.92859586496742</c:v>
                </c:pt>
                <c:pt idx="426">
                  <c:v>106.22224200856505</c:v>
                </c:pt>
                <c:pt idx="427">
                  <c:v>105.88695532566572</c:v>
                </c:pt>
                <c:pt idx="428">
                  <c:v>106.13839504039422</c:v>
                </c:pt>
                <c:pt idx="429">
                  <c:v>105.97587418923868</c:v>
                </c:pt>
                <c:pt idx="430">
                  <c:v>105.97587418923868</c:v>
                </c:pt>
                <c:pt idx="431">
                  <c:v>105.97587418923868</c:v>
                </c:pt>
                <c:pt idx="432">
                  <c:v>106.02651680605439</c:v>
                </c:pt>
                <c:pt idx="433">
                  <c:v>106.33009245910606</c:v>
                </c:pt>
                <c:pt idx="434">
                  <c:v>105.60284626057867</c:v>
                </c:pt>
                <c:pt idx="435">
                  <c:v>105.34753827443051</c:v>
                </c:pt>
                <c:pt idx="436">
                  <c:v>105.49611781925907</c:v>
                </c:pt>
                <c:pt idx="437">
                  <c:v>105.49611781925907</c:v>
                </c:pt>
                <c:pt idx="438">
                  <c:v>105.49611781925907</c:v>
                </c:pt>
                <c:pt idx="439">
                  <c:v>105.5203418905808</c:v>
                </c:pt>
                <c:pt idx="440">
                  <c:v>105.28254043558954</c:v>
                </c:pt>
                <c:pt idx="441">
                  <c:v>104.83118934174531</c:v>
                </c:pt>
                <c:pt idx="442">
                  <c:v>104.18875962890371</c:v>
                </c:pt>
                <c:pt idx="443">
                  <c:v>103.88889380353262</c:v>
                </c:pt>
                <c:pt idx="444">
                  <c:v>103.88889380353262</c:v>
                </c:pt>
                <c:pt idx="445">
                  <c:v>103.88889380353262</c:v>
                </c:pt>
                <c:pt idx="446">
                  <c:v>105.09746665348402</c:v>
                </c:pt>
                <c:pt idx="447">
                  <c:v>105.05711397669458</c:v>
                </c:pt>
                <c:pt idx="448">
                  <c:v>105.24606730659086</c:v>
                </c:pt>
                <c:pt idx="449">
                  <c:v>105.56448783083123</c:v>
                </c:pt>
                <c:pt idx="450">
                  <c:v>106.02174628981246</c:v>
                </c:pt>
                <c:pt idx="451">
                  <c:v>106.02174628981246</c:v>
                </c:pt>
                <c:pt idx="452">
                  <c:v>106.02174628981246</c:v>
                </c:pt>
                <c:pt idx="453">
                  <c:v>105.84376846429625</c:v>
                </c:pt>
                <c:pt idx="454">
                  <c:v>105.66965707399777</c:v>
                </c:pt>
                <c:pt idx="455">
                  <c:v>106.00209402649189</c:v>
                </c:pt>
                <c:pt idx="456">
                  <c:v>106.56512356590207</c:v>
                </c:pt>
                <c:pt idx="457">
                  <c:v>106.47091770551965</c:v>
                </c:pt>
                <c:pt idx="458">
                  <c:v>106.47091770551965</c:v>
                </c:pt>
                <c:pt idx="459">
                  <c:v>106.47091770551965</c:v>
                </c:pt>
                <c:pt idx="460">
                  <c:v>106.15437466304802</c:v>
                </c:pt>
                <c:pt idx="461">
                  <c:v>106.09981368171377</c:v>
                </c:pt>
                <c:pt idx="462">
                  <c:v>106.18931816889797</c:v>
                </c:pt>
                <c:pt idx="463">
                  <c:v>106.52383533423635</c:v>
                </c:pt>
                <c:pt idx="464">
                  <c:v>106.76305265161707</c:v>
                </c:pt>
                <c:pt idx="465">
                  <c:v>106.76305265161707</c:v>
                </c:pt>
                <c:pt idx="466">
                  <c:v>106.76305265161707</c:v>
                </c:pt>
                <c:pt idx="467">
                  <c:v>106.87402546752148</c:v>
                </c:pt>
                <c:pt idx="468">
                  <c:v>107.01266537101884</c:v>
                </c:pt>
                <c:pt idx="469">
                  <c:v>107.2003798829717</c:v>
                </c:pt>
                <c:pt idx="470">
                  <c:v>106.69609542427305</c:v>
                </c:pt>
                <c:pt idx="471">
                  <c:v>106.6463056700041</c:v>
                </c:pt>
                <c:pt idx="472">
                  <c:v>106.6463056700041</c:v>
                </c:pt>
                <c:pt idx="473">
                  <c:v>106.6463056700041</c:v>
                </c:pt>
                <c:pt idx="474">
                  <c:v>106.5979232698767</c:v>
                </c:pt>
                <c:pt idx="475">
                  <c:v>106.88814709556505</c:v>
                </c:pt>
                <c:pt idx="476">
                  <c:v>106.72750271877692</c:v>
                </c:pt>
                <c:pt idx="477">
                  <c:v>106.75750832369178</c:v>
                </c:pt>
                <c:pt idx="478">
                  <c:v>106.69632369538782</c:v>
                </c:pt>
                <c:pt idx="479">
                  <c:v>106.69632369538782</c:v>
                </c:pt>
                <c:pt idx="480">
                  <c:v>106.69632369538782</c:v>
                </c:pt>
                <c:pt idx="481">
                  <c:v>106.85201827851016</c:v>
                </c:pt>
                <c:pt idx="482">
                  <c:v>106.88727980783892</c:v>
                </c:pt>
                <c:pt idx="483">
                  <c:v>106.78122997917966</c:v>
                </c:pt>
                <c:pt idx="484">
                  <c:v>106.80140412492524</c:v>
                </c:pt>
                <c:pt idx="485">
                  <c:v>106.22109585469511</c:v>
                </c:pt>
                <c:pt idx="486">
                  <c:v>106.22109585469511</c:v>
                </c:pt>
                <c:pt idx="487">
                  <c:v>106.22109585469511</c:v>
                </c:pt>
                <c:pt idx="488">
                  <c:v>106.25168051970893</c:v>
                </c:pt>
                <c:pt idx="489">
                  <c:v>106.25370534735943</c:v>
                </c:pt>
                <c:pt idx="490">
                  <c:v>107.67356096772525</c:v>
                </c:pt>
                <c:pt idx="491">
                  <c:v>107.98562005142767</c:v>
                </c:pt>
                <c:pt idx="492">
                  <c:v>108.65326053081442</c:v>
                </c:pt>
                <c:pt idx="493">
                  <c:v>108.65326053081442</c:v>
                </c:pt>
                <c:pt idx="494">
                  <c:v>108.65326053081442</c:v>
                </c:pt>
                <c:pt idx="495">
                  <c:v>108.16778050862497</c:v>
                </c:pt>
                <c:pt idx="496">
                  <c:v>108.18992322128632</c:v>
                </c:pt>
                <c:pt idx="497">
                  <c:v>108.53930075642195</c:v>
                </c:pt>
                <c:pt idx="498">
                  <c:v>108.6605620463054</c:v>
                </c:pt>
                <c:pt idx="499">
                  <c:v>108.76450311069613</c:v>
                </c:pt>
                <c:pt idx="500">
                  <c:v>108.76450311069613</c:v>
                </c:pt>
                <c:pt idx="501">
                  <c:v>108.76450311069613</c:v>
                </c:pt>
                <c:pt idx="502">
                  <c:v>108.75779575605959</c:v>
                </c:pt>
                <c:pt idx="503">
                  <c:v>108.78532183212802</c:v>
                </c:pt>
                <c:pt idx="504">
                  <c:v>109.03316979149963</c:v>
                </c:pt>
                <c:pt idx="505">
                  <c:v>109.68451439818671</c:v>
                </c:pt>
                <c:pt idx="506">
                  <c:v>109.96281564422885</c:v>
                </c:pt>
                <c:pt idx="507">
                  <c:v>109.96281564422885</c:v>
                </c:pt>
                <c:pt idx="508">
                  <c:v>109.96281564422885</c:v>
                </c:pt>
                <c:pt idx="509">
                  <c:v>110.37439295975145</c:v>
                </c:pt>
                <c:pt idx="510">
                  <c:v>110.32367563921301</c:v>
                </c:pt>
                <c:pt idx="511">
                  <c:v>110.61310693383692</c:v>
                </c:pt>
                <c:pt idx="512">
                  <c:v>111.18994485119886</c:v>
                </c:pt>
                <c:pt idx="513">
                  <c:v>111.47103247583296</c:v>
                </c:pt>
                <c:pt idx="514">
                  <c:v>111.47103247583296</c:v>
                </c:pt>
                <c:pt idx="515">
                  <c:v>111.47103247583296</c:v>
                </c:pt>
                <c:pt idx="516">
                  <c:v>111.63815026016353</c:v>
                </c:pt>
                <c:pt idx="517">
                  <c:v>111.8354825243923</c:v>
                </c:pt>
                <c:pt idx="518">
                  <c:v>111.72543170131449</c:v>
                </c:pt>
                <c:pt idx="519">
                  <c:v>111.31717211439548</c:v>
                </c:pt>
                <c:pt idx="520">
                  <c:v>112.5828473594816</c:v>
                </c:pt>
                <c:pt idx="521">
                  <c:v>112.5828473594816</c:v>
                </c:pt>
                <c:pt idx="522">
                  <c:v>112.5828473594816</c:v>
                </c:pt>
                <c:pt idx="523">
                  <c:v>111.5664118783989</c:v>
                </c:pt>
                <c:pt idx="524">
                  <c:v>112.06546152547109</c:v>
                </c:pt>
                <c:pt idx="525">
                  <c:v>112.07288084176447</c:v>
                </c:pt>
                <c:pt idx="526">
                  <c:v>111.39515013040597</c:v>
                </c:pt>
                <c:pt idx="527">
                  <c:v>111.35405994619106</c:v>
                </c:pt>
                <c:pt idx="528">
                  <c:v>111.35405994619106</c:v>
                </c:pt>
                <c:pt idx="529">
                  <c:v>111.35405994619106</c:v>
                </c:pt>
                <c:pt idx="530">
                  <c:v>111.82750172010606</c:v>
                </c:pt>
                <c:pt idx="531">
                  <c:v>112.25290977400259</c:v>
                </c:pt>
                <c:pt idx="532">
                  <c:v>112.69781508940615</c:v>
                </c:pt>
                <c:pt idx="533">
                  <c:v>112.58212195797796</c:v>
                </c:pt>
                <c:pt idx="534">
                  <c:v>112.386080558694</c:v>
                </c:pt>
                <c:pt idx="535">
                  <c:v>112.386080558694</c:v>
                </c:pt>
                <c:pt idx="536">
                  <c:v>112.386080558694</c:v>
                </c:pt>
                <c:pt idx="537">
                  <c:v>112.41791270224259</c:v>
                </c:pt>
                <c:pt idx="538">
                  <c:v>113.25628269767655</c:v>
                </c:pt>
                <c:pt idx="539">
                  <c:v>113.75243582091855</c:v>
                </c:pt>
                <c:pt idx="540">
                  <c:v>112.76643619111168</c:v>
                </c:pt>
                <c:pt idx="541">
                  <c:v>113.31675015722954</c:v>
                </c:pt>
                <c:pt idx="542">
                  <c:v>113.31675015722954</c:v>
                </c:pt>
                <c:pt idx="543">
                  <c:v>113.31675015722954</c:v>
                </c:pt>
                <c:pt idx="544">
                  <c:v>113.91732542024359</c:v>
                </c:pt>
                <c:pt idx="545">
                  <c:v>113.32214908866392</c:v>
                </c:pt>
                <c:pt idx="546">
                  <c:v>113.90852049717672</c:v>
                </c:pt>
                <c:pt idx="547">
                  <c:v>114.104922718694</c:v>
                </c:pt>
                <c:pt idx="548">
                  <c:v>114.72976647868605</c:v>
                </c:pt>
                <c:pt idx="549">
                  <c:v>114.72976647868605</c:v>
                </c:pt>
                <c:pt idx="550">
                  <c:v>114.72976647868605</c:v>
                </c:pt>
                <c:pt idx="551">
                  <c:v>114.68391320160694</c:v>
                </c:pt>
                <c:pt idx="552">
                  <c:v>115.50458337128764</c:v>
                </c:pt>
                <c:pt idx="553">
                  <c:v>115.99817990708672</c:v>
                </c:pt>
                <c:pt idx="554">
                  <c:v>116.1192286129475</c:v>
                </c:pt>
                <c:pt idx="555">
                  <c:v>116.73781145470029</c:v>
                </c:pt>
                <c:pt idx="556">
                  <c:v>116.73781145470029</c:v>
                </c:pt>
                <c:pt idx="557">
                  <c:v>116.73781145470029</c:v>
                </c:pt>
                <c:pt idx="558">
                  <c:v>117.0268990564866</c:v>
                </c:pt>
                <c:pt idx="559">
                  <c:v>117.24112944581728</c:v>
                </c:pt>
                <c:pt idx="560">
                  <c:v>117.0429125530851</c:v>
                </c:pt>
                <c:pt idx="561">
                  <c:v>117.08552570054752</c:v>
                </c:pt>
                <c:pt idx="562">
                  <c:v>116.8802760502267</c:v>
                </c:pt>
                <c:pt idx="563">
                  <c:v>116.8802760502267</c:v>
                </c:pt>
                <c:pt idx="564">
                  <c:v>116.8802760502267</c:v>
                </c:pt>
                <c:pt idx="565">
                  <c:v>116.63815598702257</c:v>
                </c:pt>
                <c:pt idx="566">
                  <c:v>116.72160821987671</c:v>
                </c:pt>
                <c:pt idx="567">
                  <c:v>117.059254815465</c:v>
                </c:pt>
                <c:pt idx="568">
                  <c:v>116.54739119323261</c:v>
                </c:pt>
                <c:pt idx="569">
                  <c:v>116.40016200202342</c:v>
                </c:pt>
                <c:pt idx="570">
                  <c:v>116.40016200202342</c:v>
                </c:pt>
                <c:pt idx="571">
                  <c:v>116.40016200202342</c:v>
                </c:pt>
                <c:pt idx="572">
                  <c:v>116.3706677723743</c:v>
                </c:pt>
                <c:pt idx="573">
                  <c:v>116.81450323003011</c:v>
                </c:pt>
                <c:pt idx="574">
                  <c:v>116.96387443761272</c:v>
                </c:pt>
                <c:pt idx="575">
                  <c:v>117.24586158981948</c:v>
                </c:pt>
                <c:pt idx="576">
                  <c:v>117.25465116032528</c:v>
                </c:pt>
                <c:pt idx="577">
                  <c:v>117.25465116032528</c:v>
                </c:pt>
                <c:pt idx="578">
                  <c:v>117.25465116032528</c:v>
                </c:pt>
                <c:pt idx="579">
                  <c:v>116.94873714065648</c:v>
                </c:pt>
                <c:pt idx="580">
                  <c:v>117.82587828098482</c:v>
                </c:pt>
                <c:pt idx="581">
                  <c:v>117.3500078368187</c:v>
                </c:pt>
                <c:pt idx="582">
                  <c:v>116.69296907416562</c:v>
                </c:pt>
                <c:pt idx="583">
                  <c:v>115.68183488281223</c:v>
                </c:pt>
                <c:pt idx="584">
                  <c:v>115.68183488281223</c:v>
                </c:pt>
                <c:pt idx="585">
                  <c:v>115.68183488281223</c:v>
                </c:pt>
                <c:pt idx="586">
                  <c:v>116.44996596825281</c:v>
                </c:pt>
                <c:pt idx="587">
                  <c:v>116.81986594303694</c:v>
                </c:pt>
                <c:pt idx="588">
                  <c:v>117.3794017347701</c:v>
                </c:pt>
                <c:pt idx="589">
                  <c:v>117.51990572377832</c:v>
                </c:pt>
                <c:pt idx="590">
                  <c:v>116.93839040046259</c:v>
                </c:pt>
                <c:pt idx="591">
                  <c:v>116.93839040046259</c:v>
                </c:pt>
                <c:pt idx="592">
                  <c:v>116.93839040046259</c:v>
                </c:pt>
                <c:pt idx="593">
                  <c:v>116.52154514855286</c:v>
                </c:pt>
                <c:pt idx="594">
                  <c:v>116.26247121498248</c:v>
                </c:pt>
                <c:pt idx="595">
                  <c:v>115.46145423730972</c:v>
                </c:pt>
                <c:pt idx="596">
                  <c:v>115.29482168673033</c:v>
                </c:pt>
                <c:pt idx="597">
                  <c:v>115.69475451948011</c:v>
                </c:pt>
                <c:pt idx="598">
                  <c:v>115.69475451948011</c:v>
                </c:pt>
                <c:pt idx="599">
                  <c:v>115.69475451948011</c:v>
                </c:pt>
                <c:pt idx="600">
                  <c:v>115.90093167721101</c:v>
                </c:pt>
                <c:pt idx="601">
                  <c:v>116.92024393205917</c:v>
                </c:pt>
                <c:pt idx="602">
                  <c:v>117.62444981430006</c:v>
                </c:pt>
                <c:pt idx="603">
                  <c:v>117.57924936126166</c:v>
                </c:pt>
                <c:pt idx="604">
                  <c:v>117.49880444899274</c:v>
                </c:pt>
                <c:pt idx="605">
                  <c:v>117.49880444899274</c:v>
                </c:pt>
                <c:pt idx="606">
                  <c:v>117.49880444899274</c:v>
                </c:pt>
                <c:pt idx="607">
                  <c:v>118.13673542054146</c:v>
                </c:pt>
                <c:pt idx="608">
                  <c:v>117.98226502332192</c:v>
                </c:pt>
                <c:pt idx="609">
                  <c:v>117.78659393800476</c:v>
                </c:pt>
                <c:pt idx="610">
                  <c:v>118.06241340336892</c:v>
                </c:pt>
                <c:pt idx="611">
                  <c:v>118.45748842000108</c:v>
                </c:pt>
                <c:pt idx="612">
                  <c:v>118.45748842000108</c:v>
                </c:pt>
                <c:pt idx="613">
                  <c:v>118.45748842000108</c:v>
                </c:pt>
                <c:pt idx="614">
                  <c:v>118.4227617188396</c:v>
                </c:pt>
                <c:pt idx="615">
                  <c:v>118.86747711990442</c:v>
                </c:pt>
                <c:pt idx="616">
                  <c:v>119.62740658883135</c:v>
                </c:pt>
                <c:pt idx="617">
                  <c:v>119.72826951556569</c:v>
                </c:pt>
                <c:pt idx="618">
                  <c:v>120.16913851694042</c:v>
                </c:pt>
                <c:pt idx="619">
                  <c:v>120.16913851694042</c:v>
                </c:pt>
                <c:pt idx="620">
                  <c:v>120.16913851694042</c:v>
                </c:pt>
                <c:pt idx="621">
                  <c:v>120.09336986828087</c:v>
                </c:pt>
                <c:pt idx="622">
                  <c:v>120.96115711316013</c:v>
                </c:pt>
                <c:pt idx="623">
                  <c:v>121.12042449143019</c:v>
                </c:pt>
                <c:pt idx="624">
                  <c:v>120.72439894106122</c:v>
                </c:pt>
                <c:pt idx="625">
                  <c:v>121.15829894595319</c:v>
                </c:pt>
                <c:pt idx="626">
                  <c:v>121.15829894595319</c:v>
                </c:pt>
                <c:pt idx="627">
                  <c:v>121.15829894595319</c:v>
                </c:pt>
                <c:pt idx="628">
                  <c:v>121.489611863471</c:v>
                </c:pt>
                <c:pt idx="629">
                  <c:v>122.23109583976273</c:v>
                </c:pt>
                <c:pt idx="630">
                  <c:v>122.43276469254967</c:v>
                </c:pt>
                <c:pt idx="631">
                  <c:v>120.99077019978105</c:v>
                </c:pt>
                <c:pt idx="632">
                  <c:v>120.97149682985315</c:v>
                </c:pt>
                <c:pt idx="633">
                  <c:v>120.97149682985315</c:v>
                </c:pt>
                <c:pt idx="634">
                  <c:v>120.97149682985315</c:v>
                </c:pt>
                <c:pt idx="635">
                  <c:v>121.07186181206717</c:v>
                </c:pt>
                <c:pt idx="636">
                  <c:v>121.7942425601242</c:v>
                </c:pt>
                <c:pt idx="637">
                  <c:v>120.53395300715026</c:v>
                </c:pt>
                <c:pt idx="638">
                  <c:v>120.48933648454681</c:v>
                </c:pt>
                <c:pt idx="639">
                  <c:v>119.84385884293867</c:v>
                </c:pt>
                <c:pt idx="640">
                  <c:v>119.84385884293867</c:v>
                </c:pt>
                <c:pt idx="641">
                  <c:v>119.84385884293867</c:v>
                </c:pt>
                <c:pt idx="642">
                  <c:v>118.99355108474639</c:v>
                </c:pt>
                <c:pt idx="643">
                  <c:v>118.80261607936488</c:v>
                </c:pt>
                <c:pt idx="644">
                  <c:v>117.24876316132514</c:v>
                </c:pt>
                <c:pt idx="645">
                  <c:v>116.49619939550138</c:v>
                </c:pt>
                <c:pt idx="646">
                  <c:v>116.99758419608381</c:v>
                </c:pt>
                <c:pt idx="647">
                  <c:v>116.99758419608381</c:v>
                </c:pt>
                <c:pt idx="648">
                  <c:v>116.99758419608381</c:v>
                </c:pt>
                <c:pt idx="649">
                  <c:v>117.26869953900663</c:v>
                </c:pt>
                <c:pt idx="650">
                  <c:v>116.32011033125552</c:v>
                </c:pt>
                <c:pt idx="651">
                  <c:v>116.05493174654592</c:v>
                </c:pt>
                <c:pt idx="652">
                  <c:v>115.85952131902791</c:v>
                </c:pt>
                <c:pt idx="653">
                  <c:v>115.95333043307758</c:v>
                </c:pt>
                <c:pt idx="654">
                  <c:v>115.95333043307758</c:v>
                </c:pt>
                <c:pt idx="655">
                  <c:v>115.95333043307758</c:v>
                </c:pt>
                <c:pt idx="656">
                  <c:v>116.48744688519946</c:v>
                </c:pt>
                <c:pt idx="657">
                  <c:v>116.87405257625129</c:v>
                </c:pt>
                <c:pt idx="658">
                  <c:v>116.36413480145598</c:v>
                </c:pt>
                <c:pt idx="659">
                  <c:v>113.77177856272972</c:v>
                </c:pt>
                <c:pt idx="660">
                  <c:v>113.44467389104291</c:v>
                </c:pt>
                <c:pt idx="661">
                  <c:v>113.44467389104291</c:v>
                </c:pt>
                <c:pt idx="662">
                  <c:v>113.44467389104291</c:v>
                </c:pt>
                <c:pt idx="663">
                  <c:v>111.92586207607137</c:v>
                </c:pt>
                <c:pt idx="664">
                  <c:v>112.41897160810268</c:v>
                </c:pt>
                <c:pt idx="665">
                  <c:v>113.46874063949296</c:v>
                </c:pt>
                <c:pt idx="666">
                  <c:v>114.98426692456466</c:v>
                </c:pt>
                <c:pt idx="667">
                  <c:v>115.09448244898708</c:v>
                </c:pt>
                <c:pt idx="668">
                  <c:v>115.09448244898708</c:v>
                </c:pt>
                <c:pt idx="669">
                  <c:v>115.09970362961724</c:v>
                </c:pt>
                <c:pt idx="670">
                  <c:v>115.8127966267031</c:v>
                </c:pt>
                <c:pt idx="671">
                  <c:v>116.05177757173922</c:v>
                </c:pt>
                <c:pt idx="672">
                  <c:v>115.29297813036462</c:v>
                </c:pt>
                <c:pt idx="673">
                  <c:v>117.22622081814367</c:v>
                </c:pt>
                <c:pt idx="674">
                  <c:v>117.06508355407183</c:v>
                </c:pt>
                <c:pt idx="675">
                  <c:v>117.06508355407183</c:v>
                </c:pt>
                <c:pt idx="676">
                  <c:v>117.06508355407183</c:v>
                </c:pt>
                <c:pt idx="677">
                  <c:v>117.45619530572905</c:v>
                </c:pt>
                <c:pt idx="678">
                  <c:v>118.4593460332364</c:v>
                </c:pt>
                <c:pt idx="679">
                  <c:v>118.55766113055799</c:v>
                </c:pt>
                <c:pt idx="680">
                  <c:v>119.23367185191229</c:v>
                </c:pt>
                <c:pt idx="681">
                  <c:v>119.43189445705318</c:v>
                </c:pt>
                <c:pt idx="682">
                  <c:v>119.43189445705318</c:v>
                </c:pt>
                <c:pt idx="683">
                  <c:v>119.43189445705318</c:v>
                </c:pt>
                <c:pt idx="684">
                  <c:v>119.77730723694665</c:v>
                </c:pt>
                <c:pt idx="685">
                  <c:v>119.66338163807703</c:v>
                </c:pt>
                <c:pt idx="686">
                  <c:v>119.5647876513034</c:v>
                </c:pt>
                <c:pt idx="687">
                  <c:v>119.84590059636147</c:v>
                </c:pt>
                <c:pt idx="688">
                  <c:v>119.62147227319198</c:v>
                </c:pt>
                <c:pt idx="689">
                  <c:v>119.62147227319198</c:v>
                </c:pt>
                <c:pt idx="690">
                  <c:v>119.62147227319198</c:v>
                </c:pt>
                <c:pt idx="691">
                  <c:v>119.80771828813251</c:v>
                </c:pt>
                <c:pt idx="692">
                  <c:v>119.7082973866499</c:v>
                </c:pt>
                <c:pt idx="693">
                  <c:v>119.72426395964703</c:v>
                </c:pt>
                <c:pt idx="694">
                  <c:v>119.56995357072833</c:v>
                </c:pt>
                <c:pt idx="695">
                  <c:v>119.34999720388386</c:v>
                </c:pt>
                <c:pt idx="696">
                  <c:v>119.34999720388386</c:v>
                </c:pt>
                <c:pt idx="697">
                  <c:v>119.34999720388386</c:v>
                </c:pt>
                <c:pt idx="698">
                  <c:v>119.14237278597305</c:v>
                </c:pt>
                <c:pt idx="699">
                  <c:v>119.62458171453345</c:v>
                </c:pt>
                <c:pt idx="700">
                  <c:v>120.12469165757329</c:v>
                </c:pt>
                <c:pt idx="701">
                  <c:v>120.61284528609217</c:v>
                </c:pt>
                <c:pt idx="702">
                  <c:v>120.4145638714518</c:v>
                </c:pt>
                <c:pt idx="703">
                  <c:v>120.4145638714518</c:v>
                </c:pt>
                <c:pt idx="704">
                  <c:v>120.4145638714518</c:v>
                </c:pt>
                <c:pt idx="705">
                  <c:v>120.13441370503746</c:v>
                </c:pt>
                <c:pt idx="706">
                  <c:v>119.70783486663025</c:v>
                </c:pt>
                <c:pt idx="707">
                  <c:v>118.72040132799722</c:v>
                </c:pt>
                <c:pt idx="708">
                  <c:v>119.05721357594909</c:v>
                </c:pt>
                <c:pt idx="709">
                  <c:v>119.49362247126022</c:v>
                </c:pt>
                <c:pt idx="710">
                  <c:v>119.49362247126022</c:v>
                </c:pt>
                <c:pt idx="711">
                  <c:v>119.49362247126022</c:v>
                </c:pt>
                <c:pt idx="712">
                  <c:v>119.56152744668411</c:v>
                </c:pt>
                <c:pt idx="713">
                  <c:v>119.69060919227141</c:v>
                </c:pt>
                <c:pt idx="714">
                  <c:v>119.64486996457632</c:v>
                </c:pt>
                <c:pt idx="715">
                  <c:v>118.45897214778837</c:v>
                </c:pt>
                <c:pt idx="716">
                  <c:v>118.40764094922012</c:v>
                </c:pt>
                <c:pt idx="717">
                  <c:v>118.40764094922012</c:v>
                </c:pt>
                <c:pt idx="718">
                  <c:v>118.40764094922012</c:v>
                </c:pt>
                <c:pt idx="719">
                  <c:v>117.94459529439672</c:v>
                </c:pt>
                <c:pt idx="720">
                  <c:v>117.81300462737136</c:v>
                </c:pt>
                <c:pt idx="721">
                  <c:v>117.11941468127385</c:v>
                </c:pt>
                <c:pt idx="722">
                  <c:v>118.03813005532042</c:v>
                </c:pt>
                <c:pt idx="723">
                  <c:v>118.80188550652605</c:v>
                </c:pt>
                <c:pt idx="724">
                  <c:v>118.80188550652605</c:v>
                </c:pt>
                <c:pt idx="725">
                  <c:v>118.80188550652605</c:v>
                </c:pt>
                <c:pt idx="726">
                  <c:v>118.96349872069182</c:v>
                </c:pt>
                <c:pt idx="727">
                  <c:v>118.30438007605323</c:v>
                </c:pt>
                <c:pt idx="728">
                  <c:v>117.74903151444693</c:v>
                </c:pt>
                <c:pt idx="729">
                  <c:v>118.13422584054935</c:v>
                </c:pt>
                <c:pt idx="730">
                  <c:v>117.60157324125147</c:v>
                </c:pt>
                <c:pt idx="731">
                  <c:v>117.60329745671756</c:v>
                </c:pt>
                <c:pt idx="732">
                  <c:v>117.60329745671756</c:v>
                </c:pt>
                <c:pt idx="733">
                  <c:v>118.08442301330648</c:v>
                </c:pt>
                <c:pt idx="734">
                  <c:v>117.8835406269024</c:v>
                </c:pt>
                <c:pt idx="735">
                  <c:v>117.85958816499127</c:v>
                </c:pt>
                <c:pt idx="736">
                  <c:v>117.78448614965912</c:v>
                </c:pt>
                <c:pt idx="737">
                  <c:v>117.86954853902273</c:v>
                </c:pt>
                <c:pt idx="738">
                  <c:v>117.86954853902273</c:v>
                </c:pt>
                <c:pt idx="739">
                  <c:v>117.86954853902273</c:v>
                </c:pt>
                <c:pt idx="740">
                  <c:v>117.85512583247221</c:v>
                </c:pt>
                <c:pt idx="741">
                  <c:v>118.19715107175837</c:v>
                </c:pt>
                <c:pt idx="742">
                  <c:v>118.22469839528003</c:v>
                </c:pt>
                <c:pt idx="743">
                  <c:v>117.96451684445042</c:v>
                </c:pt>
                <c:pt idx="744">
                  <c:v>117.71872580020654</c:v>
                </c:pt>
                <c:pt idx="745">
                  <c:v>117.71872580020654</c:v>
                </c:pt>
                <c:pt idx="746">
                  <c:v>117.71872580020654</c:v>
                </c:pt>
                <c:pt idx="747">
                  <c:v>118.15890919493548</c:v>
                </c:pt>
                <c:pt idx="748">
                  <c:v>117.98406499059297</c:v>
                </c:pt>
                <c:pt idx="749">
                  <c:v>118.17688535694096</c:v>
                </c:pt>
                <c:pt idx="750">
                  <c:v>118.99982297940453</c:v>
                </c:pt>
                <c:pt idx="751">
                  <c:v>118.70041698529198</c:v>
                </c:pt>
                <c:pt idx="752">
                  <c:v>118.70041698529198</c:v>
                </c:pt>
                <c:pt idx="753">
                  <c:v>118.70041698529198</c:v>
                </c:pt>
                <c:pt idx="754">
                  <c:v>118.09763046237001</c:v>
                </c:pt>
                <c:pt idx="755">
                  <c:v>118.36326439203062</c:v>
                </c:pt>
                <c:pt idx="756">
                  <c:v>117.95366959392526</c:v>
                </c:pt>
                <c:pt idx="757">
                  <c:v>118.26461893975508</c:v>
                </c:pt>
                <c:pt idx="758">
                  <c:v>117.7534964050672</c:v>
                </c:pt>
                <c:pt idx="759">
                  <c:v>117.7534964050672</c:v>
                </c:pt>
                <c:pt idx="760">
                  <c:v>117.7534964050672</c:v>
                </c:pt>
                <c:pt idx="761">
                  <c:v>117.07701811168161</c:v>
                </c:pt>
                <c:pt idx="762">
                  <c:v>117.11280450525352</c:v>
                </c:pt>
                <c:pt idx="763">
                  <c:v>116.79146299072276</c:v>
                </c:pt>
                <c:pt idx="764">
                  <c:v>117.01754906101569</c:v>
                </c:pt>
                <c:pt idx="765">
                  <c:v>117.22302909214915</c:v>
                </c:pt>
                <c:pt idx="766">
                  <c:v>117.22302909214915</c:v>
                </c:pt>
                <c:pt idx="767">
                  <c:v>117.22302909214915</c:v>
                </c:pt>
                <c:pt idx="768">
                  <c:v>116.84063702117794</c:v>
                </c:pt>
                <c:pt idx="769">
                  <c:v>115.9628968562933</c:v>
                </c:pt>
                <c:pt idx="770">
                  <c:v>116.00560585205</c:v>
                </c:pt>
                <c:pt idx="771">
                  <c:v>116.80892297952714</c:v>
                </c:pt>
                <c:pt idx="772">
                  <c:v>117.4007846811684</c:v>
                </c:pt>
                <c:pt idx="773">
                  <c:v>117.4007846811684</c:v>
                </c:pt>
                <c:pt idx="774">
                  <c:v>117.4007846811684</c:v>
                </c:pt>
                <c:pt idx="775">
                  <c:v>117.51550764787163</c:v>
                </c:pt>
                <c:pt idx="776">
                  <c:v>117.72671695359345</c:v>
                </c:pt>
                <c:pt idx="777">
                  <c:v>118.26279795586493</c:v>
                </c:pt>
                <c:pt idx="778">
                  <c:v>118.42175212063771</c:v>
                </c:pt>
                <c:pt idx="779">
                  <c:v>118.90029960782995</c:v>
                </c:pt>
                <c:pt idx="780">
                  <c:v>118.90029960782995</c:v>
                </c:pt>
                <c:pt idx="781">
                  <c:v>118.90029960782995</c:v>
                </c:pt>
                <c:pt idx="782">
                  <c:v>119.29759646948811</c:v>
                </c:pt>
                <c:pt idx="783">
                  <c:v>119.81767815881994</c:v>
                </c:pt>
                <c:pt idx="784">
                  <c:v>119.76470441487945</c:v>
                </c:pt>
                <c:pt idx="785">
                  <c:v>120.18796746762263</c:v>
                </c:pt>
                <c:pt idx="786">
                  <c:v>120.36704255134875</c:v>
                </c:pt>
                <c:pt idx="787">
                  <c:v>120.36704255134875</c:v>
                </c:pt>
                <c:pt idx="788">
                  <c:v>120.36704255134875</c:v>
                </c:pt>
                <c:pt idx="789">
                  <c:v>120.68688103832029</c:v>
                </c:pt>
                <c:pt idx="790">
                  <c:v>121.25733533953056</c:v>
                </c:pt>
                <c:pt idx="791">
                  <c:v>121.32706046573135</c:v>
                </c:pt>
                <c:pt idx="792">
                  <c:v>120.52931787539011</c:v>
                </c:pt>
                <c:pt idx="793">
                  <c:v>120.53593389838933</c:v>
                </c:pt>
                <c:pt idx="794">
                  <c:v>120.53593389838933</c:v>
                </c:pt>
                <c:pt idx="795">
                  <c:v>120.53593389838933</c:v>
                </c:pt>
                <c:pt idx="796">
                  <c:v>120.85486756786929</c:v>
                </c:pt>
                <c:pt idx="797">
                  <c:v>120.19615536348267</c:v>
                </c:pt>
                <c:pt idx="798">
                  <c:v>120.57724842826582</c:v>
                </c:pt>
                <c:pt idx="799">
                  <c:v>120.06756216531579</c:v>
                </c:pt>
                <c:pt idx="800">
                  <c:v>120.03354000100197</c:v>
                </c:pt>
                <c:pt idx="801">
                  <c:v>120.03354000100197</c:v>
                </c:pt>
                <c:pt idx="802">
                  <c:v>120.03354000100197</c:v>
                </c:pt>
                <c:pt idx="803">
                  <c:v>120.36474366256166</c:v>
                </c:pt>
                <c:pt idx="804">
                  <c:v>120.45104485878292</c:v>
                </c:pt>
                <c:pt idx="805">
                  <c:v>119.95475604371508</c:v>
                </c:pt>
                <c:pt idx="806">
                  <c:v>120.05890256223356</c:v>
                </c:pt>
                <c:pt idx="807">
                  <c:v>120.418981277844</c:v>
                </c:pt>
                <c:pt idx="808">
                  <c:v>120.418981277844</c:v>
                </c:pt>
                <c:pt idx="809">
                  <c:v>120.418981277844</c:v>
                </c:pt>
                <c:pt idx="810">
                  <c:v>120.53356303329767</c:v>
                </c:pt>
                <c:pt idx="811">
                  <c:v>120.29651922113827</c:v>
                </c:pt>
                <c:pt idx="812">
                  <c:v>119.71651797446989</c:v>
                </c:pt>
                <c:pt idx="813">
                  <c:v>119.68501611710799</c:v>
                </c:pt>
                <c:pt idx="814">
                  <c:v>119.67626053581695</c:v>
                </c:pt>
                <c:pt idx="815">
                  <c:v>119.67626053581695</c:v>
                </c:pt>
                <c:pt idx="816">
                  <c:v>119.67626053581695</c:v>
                </c:pt>
                <c:pt idx="817">
                  <c:v>119.86197518613227</c:v>
                </c:pt>
                <c:pt idx="818">
                  <c:v>119.41465397450027</c:v>
                </c:pt>
                <c:pt idx="819">
                  <c:v>119.23908989344636</c:v>
                </c:pt>
                <c:pt idx="820">
                  <c:v>119.10929113283886</c:v>
                </c:pt>
                <c:pt idx="821">
                  <c:v>119.08223409951212</c:v>
                </c:pt>
                <c:pt idx="822">
                  <c:v>119.08494713814338</c:v>
                </c:pt>
                <c:pt idx="823">
                  <c:v>119.08494713814338</c:v>
                </c:pt>
                <c:pt idx="824">
                  <c:v>118.59060503996203</c:v>
                </c:pt>
                <c:pt idx="825">
                  <c:v>117.54256626027041</c:v>
                </c:pt>
                <c:pt idx="826">
                  <c:v>117.21212072442397</c:v>
                </c:pt>
                <c:pt idx="827">
                  <c:v>117.17615397419786</c:v>
                </c:pt>
                <c:pt idx="828">
                  <c:v>117.65379889629057</c:v>
                </c:pt>
                <c:pt idx="829">
                  <c:v>117.65379889629057</c:v>
                </c:pt>
                <c:pt idx="830">
                  <c:v>117.65379889629057</c:v>
                </c:pt>
                <c:pt idx="831">
                  <c:v>117.91347127811203</c:v>
                </c:pt>
                <c:pt idx="832">
                  <c:v>117.53655152842461</c:v>
                </c:pt>
                <c:pt idx="833">
                  <c:v>117.38115371504722</c:v>
                </c:pt>
                <c:pt idx="834">
                  <c:v>116.633615406</c:v>
                </c:pt>
                <c:pt idx="835">
                  <c:v>116.73516410778721</c:v>
                </c:pt>
                <c:pt idx="836">
                  <c:v>116.73516410778721</c:v>
                </c:pt>
                <c:pt idx="837">
                  <c:v>116.73516410778721</c:v>
                </c:pt>
                <c:pt idx="838">
                  <c:v>117.53625601962747</c:v>
                </c:pt>
                <c:pt idx="839">
                  <c:v>117.45170894667189</c:v>
                </c:pt>
                <c:pt idx="840">
                  <c:v>117.40933555302523</c:v>
                </c:pt>
                <c:pt idx="841">
                  <c:v>118.12873136420957</c:v>
                </c:pt>
                <c:pt idx="842">
                  <c:v>118.64290226046484</c:v>
                </c:pt>
                <c:pt idx="843">
                  <c:v>118.64290226046484</c:v>
                </c:pt>
                <c:pt idx="844">
                  <c:v>118.64290226046484</c:v>
                </c:pt>
                <c:pt idx="845">
                  <c:v>119.31526648912342</c:v>
                </c:pt>
                <c:pt idx="846">
                  <c:v>119.32815762073459</c:v>
                </c:pt>
                <c:pt idx="847">
                  <c:v>119.33048490165831</c:v>
                </c:pt>
                <c:pt idx="848">
                  <c:v>119.27249667017705</c:v>
                </c:pt>
                <c:pt idx="849">
                  <c:v>119.94136675297743</c:v>
                </c:pt>
                <c:pt idx="850">
                  <c:v>119.94136675297743</c:v>
                </c:pt>
                <c:pt idx="851">
                  <c:v>119.94136675297743</c:v>
                </c:pt>
                <c:pt idx="852">
                  <c:v>119.7764082967948</c:v>
                </c:pt>
                <c:pt idx="853">
                  <c:v>119.8661882966599</c:v>
                </c:pt>
                <c:pt idx="854">
                  <c:v>119.86835002343274</c:v>
                </c:pt>
                <c:pt idx="855">
                  <c:v>119.72047192817782</c:v>
                </c:pt>
                <c:pt idx="856">
                  <c:v>119.8870816412595</c:v>
                </c:pt>
                <c:pt idx="857">
                  <c:v>119.8870816412595</c:v>
                </c:pt>
                <c:pt idx="858">
                  <c:v>119.8870816412595</c:v>
                </c:pt>
                <c:pt idx="859">
                  <c:v>119.86663402430987</c:v>
                </c:pt>
                <c:pt idx="860">
                  <c:v>120.15309370363386</c:v>
                </c:pt>
                <c:pt idx="861">
                  <c:v>119.69535190548626</c:v>
                </c:pt>
                <c:pt idx="862">
                  <c:v>119.4038792643979</c:v>
                </c:pt>
                <c:pt idx="863">
                  <c:v>119.9641381466224</c:v>
                </c:pt>
                <c:pt idx="864">
                  <c:v>119.9641381466224</c:v>
                </c:pt>
                <c:pt idx="865">
                  <c:v>119.9641381466224</c:v>
                </c:pt>
                <c:pt idx="866">
                  <c:v>120.14967511455087</c:v>
                </c:pt>
                <c:pt idx="867">
                  <c:v>120.09603013491723</c:v>
                </c:pt>
                <c:pt idx="868">
                  <c:v>120.87475328269478</c:v>
                </c:pt>
                <c:pt idx="869">
                  <c:v>121.0093933495811</c:v>
                </c:pt>
                <c:pt idx="870">
                  <c:v>120.90462387665472</c:v>
                </c:pt>
                <c:pt idx="871">
                  <c:v>120.90462387665472</c:v>
                </c:pt>
                <c:pt idx="872">
                  <c:v>120.90462387665472</c:v>
                </c:pt>
                <c:pt idx="873">
                  <c:v>121.13863428045903</c:v>
                </c:pt>
                <c:pt idx="874">
                  <c:v>121.04089204704306</c:v>
                </c:pt>
                <c:pt idx="875">
                  <c:v>120.58847948990945</c:v>
                </c:pt>
                <c:pt idx="876">
                  <c:v>119.96763151208285</c:v>
                </c:pt>
                <c:pt idx="877">
                  <c:v>119.05669257267951</c:v>
                </c:pt>
                <c:pt idx="878">
                  <c:v>119.05669257267951</c:v>
                </c:pt>
                <c:pt idx="879">
                  <c:v>119.05669257267951</c:v>
                </c:pt>
                <c:pt idx="880">
                  <c:v>117.76843784484643</c:v>
                </c:pt>
                <c:pt idx="881">
                  <c:v>117.98822811469509</c:v>
                </c:pt>
                <c:pt idx="882">
                  <c:v>117.76948657650875</c:v>
                </c:pt>
                <c:pt idx="883">
                  <c:v>117.93141012833082</c:v>
                </c:pt>
                <c:pt idx="884">
                  <c:v>117.53952527896105</c:v>
                </c:pt>
                <c:pt idx="885">
                  <c:v>117.53952527896105</c:v>
                </c:pt>
                <c:pt idx="886">
                  <c:v>117.53952527896105</c:v>
                </c:pt>
                <c:pt idx="887">
                  <c:v>117.13722521411877</c:v>
                </c:pt>
                <c:pt idx="888">
                  <c:v>116.84245615739906</c:v>
                </c:pt>
                <c:pt idx="889">
                  <c:v>116.97939196400488</c:v>
                </c:pt>
                <c:pt idx="890">
                  <c:v>117.78515303461647</c:v>
                </c:pt>
                <c:pt idx="891">
                  <c:v>118.20181716542334</c:v>
                </c:pt>
                <c:pt idx="892">
                  <c:v>118.20181716542334</c:v>
                </c:pt>
                <c:pt idx="893">
                  <c:v>118.20181716542334</c:v>
                </c:pt>
                <c:pt idx="894">
                  <c:v>118.58318062420152</c:v>
                </c:pt>
                <c:pt idx="895">
                  <c:v>119.30817084525643</c:v>
                </c:pt>
                <c:pt idx="896">
                  <c:v>119.07501749346993</c:v>
                </c:pt>
                <c:pt idx="897">
                  <c:v>119.22282169280403</c:v>
                </c:pt>
                <c:pt idx="898">
                  <c:v>119.28620135553112</c:v>
                </c:pt>
                <c:pt idx="899">
                  <c:v>119.28620135553112</c:v>
                </c:pt>
                <c:pt idx="900">
                  <c:v>119.28620135553112</c:v>
                </c:pt>
                <c:pt idx="901">
                  <c:v>119.8416838189647</c:v>
                </c:pt>
                <c:pt idx="902">
                  <c:v>120.33482267665586</c:v>
                </c:pt>
                <c:pt idx="903">
                  <c:v>120.14704430131987</c:v>
                </c:pt>
                <c:pt idx="904">
                  <c:v>120.36393255623688</c:v>
                </c:pt>
                <c:pt idx="905">
                  <c:v>120.69243690244139</c:v>
                </c:pt>
                <c:pt idx="906">
                  <c:v>120.69243690244139</c:v>
                </c:pt>
                <c:pt idx="907">
                  <c:v>120.69243690244139</c:v>
                </c:pt>
                <c:pt idx="908">
                  <c:v>121.59759119555258</c:v>
                </c:pt>
                <c:pt idx="909">
                  <c:v>121.32392455663005</c:v>
                </c:pt>
                <c:pt idx="910">
                  <c:v>121.41175429415691</c:v>
                </c:pt>
                <c:pt idx="911">
                  <c:v>121.54846830031529</c:v>
                </c:pt>
                <c:pt idx="912">
                  <c:v>121.60316660609659</c:v>
                </c:pt>
                <c:pt idx="913">
                  <c:v>121.60316660609659</c:v>
                </c:pt>
                <c:pt idx="914">
                  <c:v>121.60316660609659</c:v>
                </c:pt>
                <c:pt idx="915">
                  <c:v>120.56882361753789</c:v>
                </c:pt>
                <c:pt idx="916">
                  <c:v>121.99230749726482</c:v>
                </c:pt>
                <c:pt idx="917">
                  <c:v>121.66806213029476</c:v>
                </c:pt>
                <c:pt idx="918">
                  <c:v>121.84249614662062</c:v>
                </c:pt>
                <c:pt idx="919">
                  <c:v>121.07326979207259</c:v>
                </c:pt>
                <c:pt idx="920">
                  <c:v>121.07326979207259</c:v>
                </c:pt>
                <c:pt idx="921">
                  <c:v>121.07326979207259</c:v>
                </c:pt>
                <c:pt idx="922">
                  <c:v>121.09422642487753</c:v>
                </c:pt>
                <c:pt idx="923">
                  <c:v>120.90758838628467</c:v>
                </c:pt>
                <c:pt idx="924">
                  <c:v>120.77154385700568</c:v>
                </c:pt>
                <c:pt idx="925">
                  <c:v>119.90382000015474</c:v>
                </c:pt>
                <c:pt idx="926">
                  <c:v>119.71987313982572</c:v>
                </c:pt>
                <c:pt idx="927">
                  <c:v>119.71987313982572</c:v>
                </c:pt>
                <c:pt idx="928">
                  <c:v>119.71987313982572</c:v>
                </c:pt>
                <c:pt idx="929">
                  <c:v>120.17929842835549</c:v>
                </c:pt>
                <c:pt idx="930">
                  <c:v>120.857271793365</c:v>
                </c:pt>
                <c:pt idx="931">
                  <c:v>120.38310206521273</c:v>
                </c:pt>
                <c:pt idx="932">
                  <c:v>120.40568668153539</c:v>
                </c:pt>
                <c:pt idx="933">
                  <c:v>120.62025603282497</c:v>
                </c:pt>
                <c:pt idx="934">
                  <c:v>120.62025603282497</c:v>
                </c:pt>
                <c:pt idx="935">
                  <c:v>120.62025603282497</c:v>
                </c:pt>
                <c:pt idx="936">
                  <c:v>119.9025742423362</c:v>
                </c:pt>
                <c:pt idx="937">
                  <c:v>120.50819150947589</c:v>
                </c:pt>
                <c:pt idx="938">
                  <c:v>120.45097150871288</c:v>
                </c:pt>
                <c:pt idx="939">
                  <c:v>120.02638518268168</c:v>
                </c:pt>
                <c:pt idx="940">
                  <c:v>120.42256395394281</c:v>
                </c:pt>
                <c:pt idx="941">
                  <c:v>120.42256395394281</c:v>
                </c:pt>
                <c:pt idx="942">
                  <c:v>120.42256395394281</c:v>
                </c:pt>
                <c:pt idx="943">
                  <c:v>120.45018804715589</c:v>
                </c:pt>
                <c:pt idx="944">
                  <c:v>120.93027708172217</c:v>
                </c:pt>
                <c:pt idx="945">
                  <c:v>120.96288502396017</c:v>
                </c:pt>
                <c:pt idx="946">
                  <c:v>120.97696712385715</c:v>
                </c:pt>
                <c:pt idx="947">
                  <c:v>121.10334924509054</c:v>
                </c:pt>
                <c:pt idx="948">
                  <c:v>121.10334924509054</c:v>
                </c:pt>
                <c:pt idx="949">
                  <c:v>121.10334924509054</c:v>
                </c:pt>
                <c:pt idx="950">
                  <c:v>120.21725862443884</c:v>
                </c:pt>
                <c:pt idx="951">
                  <c:v>119.84620283826548</c:v>
                </c:pt>
                <c:pt idx="952">
                  <c:v>120.46648100290686</c:v>
                </c:pt>
                <c:pt idx="953">
                  <c:v>120.01836689567669</c:v>
                </c:pt>
                <c:pt idx="954">
                  <c:v>119.24470353884685</c:v>
                </c:pt>
                <c:pt idx="955">
                  <c:v>119.24470353884685</c:v>
                </c:pt>
                <c:pt idx="956">
                  <c:v>119.24470353884685</c:v>
                </c:pt>
                <c:pt idx="957">
                  <c:v>119.52770595632668</c:v>
                </c:pt>
                <c:pt idx="958">
                  <c:v>119.16690153557022</c:v>
                </c:pt>
                <c:pt idx="959">
                  <c:v>119.44082719120686</c:v>
                </c:pt>
                <c:pt idx="960">
                  <c:v>119.78281426444109</c:v>
                </c:pt>
                <c:pt idx="961">
                  <c:v>119.78541956460789</c:v>
                </c:pt>
                <c:pt idx="962">
                  <c:v>119.78541956460789</c:v>
                </c:pt>
                <c:pt idx="963">
                  <c:v>119.78541956460789</c:v>
                </c:pt>
                <c:pt idx="964">
                  <c:v>119.65464585717183</c:v>
                </c:pt>
                <c:pt idx="965">
                  <c:v>120.42062895256544</c:v>
                </c:pt>
                <c:pt idx="966">
                  <c:v>120.61415195994108</c:v>
                </c:pt>
                <c:pt idx="967">
                  <c:v>120.54330709085551</c:v>
                </c:pt>
                <c:pt idx="968">
                  <c:v>120.48068402312732</c:v>
                </c:pt>
                <c:pt idx="969">
                  <c:v>120.48068402312732</c:v>
                </c:pt>
                <c:pt idx="970">
                  <c:v>120.48068402312732</c:v>
                </c:pt>
                <c:pt idx="971">
                  <c:v>120.59109683517461</c:v>
                </c:pt>
                <c:pt idx="972">
                  <c:v>121.28943486035747</c:v>
                </c:pt>
                <c:pt idx="973">
                  <c:v>121.20761192812471</c:v>
                </c:pt>
                <c:pt idx="974">
                  <c:v>121.23516752115644</c:v>
                </c:pt>
                <c:pt idx="975">
                  <c:v>121.42672956055834</c:v>
                </c:pt>
                <c:pt idx="976">
                  <c:v>121.42672956055834</c:v>
                </c:pt>
                <c:pt idx="977">
                  <c:v>121.42672956055834</c:v>
                </c:pt>
                <c:pt idx="978">
                  <c:v>121.45082063584583</c:v>
                </c:pt>
                <c:pt idx="979">
                  <c:v>120.90918655679714</c:v>
                </c:pt>
                <c:pt idx="980">
                  <c:v>121.1308724984391</c:v>
                </c:pt>
                <c:pt idx="981">
                  <c:v>121.49683309043139</c:v>
                </c:pt>
                <c:pt idx="982">
                  <c:v>121.68943801053418</c:v>
                </c:pt>
                <c:pt idx="983">
                  <c:v>121.68943801053418</c:v>
                </c:pt>
                <c:pt idx="984">
                  <c:v>121.68943801053418</c:v>
                </c:pt>
                <c:pt idx="985">
                  <c:v>122.05961995812986</c:v>
                </c:pt>
                <c:pt idx="986">
                  <c:v>122.4317858423632</c:v>
                </c:pt>
                <c:pt idx="987">
                  <c:v>122.96207371814384</c:v>
                </c:pt>
                <c:pt idx="988">
                  <c:v>122.48309377317209</c:v>
                </c:pt>
                <c:pt idx="989">
                  <c:v>122.4429898564282</c:v>
                </c:pt>
                <c:pt idx="990">
                  <c:v>122.4429898564282</c:v>
                </c:pt>
                <c:pt idx="991">
                  <c:v>122.4429898564282</c:v>
                </c:pt>
                <c:pt idx="992">
                  <c:v>122.44682987674318</c:v>
                </c:pt>
                <c:pt idx="993">
                  <c:v>121.83292200164188</c:v>
                </c:pt>
                <c:pt idx="994">
                  <c:v>122.10223170203318</c:v>
                </c:pt>
                <c:pt idx="995">
                  <c:v>122.1615045331919</c:v>
                </c:pt>
                <c:pt idx="996">
                  <c:v>122.29148292029332</c:v>
                </c:pt>
                <c:pt idx="997">
                  <c:v>122.29148292029332</c:v>
                </c:pt>
                <c:pt idx="998">
                  <c:v>122.29148292029332</c:v>
                </c:pt>
                <c:pt idx="999">
                  <c:v>122.43247799279845</c:v>
                </c:pt>
                <c:pt idx="1000">
                  <c:v>122.68434242579416</c:v>
                </c:pt>
                <c:pt idx="1001">
                  <c:v>122.83112237793071</c:v>
                </c:pt>
                <c:pt idx="1002">
                  <c:v>123.16175305159152</c:v>
                </c:pt>
                <c:pt idx="1003">
                  <c:v>123.05712785671236</c:v>
                </c:pt>
                <c:pt idx="1004">
                  <c:v>123.05914289256958</c:v>
                </c:pt>
                <c:pt idx="1005">
                  <c:v>123.05914289256958</c:v>
                </c:pt>
                <c:pt idx="1006">
                  <c:v>123.11491981826308</c:v>
                </c:pt>
                <c:pt idx="1007">
                  <c:v>122.91805306577707</c:v>
                </c:pt>
                <c:pt idx="1008">
                  <c:v>122.93742104214614</c:v>
                </c:pt>
                <c:pt idx="1009">
                  <c:v>122.92282773099384</c:v>
                </c:pt>
                <c:pt idx="1010">
                  <c:v>123.42831433898245</c:v>
                </c:pt>
                <c:pt idx="1011">
                  <c:v>123.42831433898245</c:v>
                </c:pt>
                <c:pt idx="1012">
                  <c:v>123.42831433898245</c:v>
                </c:pt>
                <c:pt idx="1013">
                  <c:v>123.68970628092758</c:v>
                </c:pt>
                <c:pt idx="1014">
                  <c:v>123.81781885898776</c:v>
                </c:pt>
                <c:pt idx="1015">
                  <c:v>123.46865688152018</c:v>
                </c:pt>
                <c:pt idx="1016">
                  <c:v>123.33364954773786</c:v>
                </c:pt>
                <c:pt idx="1017">
                  <c:v>122.70930629632127</c:v>
                </c:pt>
                <c:pt idx="1018">
                  <c:v>122.70930629632127</c:v>
                </c:pt>
                <c:pt idx="1019">
                  <c:v>122.70930629632127</c:v>
                </c:pt>
                <c:pt idx="1020">
                  <c:v>122.46989618172422</c:v>
                </c:pt>
                <c:pt idx="1021">
                  <c:v>122.48809771892971</c:v>
                </c:pt>
                <c:pt idx="1022">
                  <c:v>122.88547350755898</c:v>
                </c:pt>
                <c:pt idx="1023">
                  <c:v>123.07733226252235</c:v>
                </c:pt>
                <c:pt idx="1024">
                  <c:v>123.22800384037146</c:v>
                </c:pt>
                <c:pt idx="1025">
                  <c:v>123.22800384037146</c:v>
                </c:pt>
                <c:pt idx="1026">
                  <c:v>123.22800384037146</c:v>
                </c:pt>
                <c:pt idx="1027">
                  <c:v>122.96067462312701</c:v>
                </c:pt>
                <c:pt idx="1028">
                  <c:v>122.89817912248574</c:v>
                </c:pt>
                <c:pt idx="1029">
                  <c:v>122.42292566975087</c:v>
                </c:pt>
                <c:pt idx="1030">
                  <c:v>122.28452523011362</c:v>
                </c:pt>
                <c:pt idx="1031">
                  <c:v>122.42716227812804</c:v>
                </c:pt>
                <c:pt idx="1032">
                  <c:v>122.42716227812804</c:v>
                </c:pt>
                <c:pt idx="1033">
                  <c:v>122.42716227812804</c:v>
                </c:pt>
                <c:pt idx="1034">
                  <c:v>122.18998383057871</c:v>
                </c:pt>
                <c:pt idx="1035">
                  <c:v>122.57446783565788</c:v>
                </c:pt>
                <c:pt idx="1036">
                  <c:v>122.51297628235962</c:v>
                </c:pt>
                <c:pt idx="1037">
                  <c:v>123.04578125904246</c:v>
                </c:pt>
                <c:pt idx="1038">
                  <c:v>123.01253316922966</c:v>
                </c:pt>
                <c:pt idx="1039">
                  <c:v>123.01253316922966</c:v>
                </c:pt>
                <c:pt idx="1040">
                  <c:v>123.01253316922966</c:v>
                </c:pt>
                <c:pt idx="1041">
                  <c:v>122.5658404269042</c:v>
                </c:pt>
                <c:pt idx="1042">
                  <c:v>121.82957737306087</c:v>
                </c:pt>
                <c:pt idx="1043">
                  <c:v>121.88224342218629</c:v>
                </c:pt>
                <c:pt idx="1044">
                  <c:v>121.31317476449557</c:v>
                </c:pt>
                <c:pt idx="1045">
                  <c:v>121.51766425521336</c:v>
                </c:pt>
                <c:pt idx="1046">
                  <c:v>121.51766425521336</c:v>
                </c:pt>
                <c:pt idx="1047">
                  <c:v>121.51766425521336</c:v>
                </c:pt>
                <c:pt idx="1048">
                  <c:v>122.084654812949</c:v>
                </c:pt>
                <c:pt idx="1049">
                  <c:v>121.39796842922362</c:v>
                </c:pt>
                <c:pt idx="1050">
                  <c:v>122.04774510674059</c:v>
                </c:pt>
                <c:pt idx="1051">
                  <c:v>121.64830871112819</c:v>
                </c:pt>
                <c:pt idx="1052">
                  <c:v>122.0171821477431</c:v>
                </c:pt>
                <c:pt idx="1053">
                  <c:v>122.0171821477431</c:v>
                </c:pt>
                <c:pt idx="1054">
                  <c:v>122.0171821477431</c:v>
                </c:pt>
                <c:pt idx="1055">
                  <c:v>121.79996003428026</c:v>
                </c:pt>
                <c:pt idx="1056">
                  <c:v>122.34580655517389</c:v>
                </c:pt>
                <c:pt idx="1057">
                  <c:v>122.39145176912839</c:v>
                </c:pt>
                <c:pt idx="1058">
                  <c:v>122.61628875807645</c:v>
                </c:pt>
                <c:pt idx="1059">
                  <c:v>122.21675986460141</c:v>
                </c:pt>
                <c:pt idx="1060">
                  <c:v>122.21675986460141</c:v>
                </c:pt>
                <c:pt idx="1061">
                  <c:v>122.21675986460141</c:v>
                </c:pt>
                <c:pt idx="1062">
                  <c:v>121.99932671589502</c:v>
                </c:pt>
                <c:pt idx="1063">
                  <c:v>122.32037053053364</c:v>
                </c:pt>
                <c:pt idx="1064">
                  <c:v>122.03143629893957</c:v>
                </c:pt>
                <c:pt idx="1065">
                  <c:v>121.16034425168316</c:v>
                </c:pt>
                <c:pt idx="1066">
                  <c:v>120.97684468096364</c:v>
                </c:pt>
                <c:pt idx="1067">
                  <c:v>120.97684468096364</c:v>
                </c:pt>
                <c:pt idx="1068">
                  <c:v>120.97684468096364</c:v>
                </c:pt>
                <c:pt idx="1069">
                  <c:v>120.90957740581526</c:v>
                </c:pt>
                <c:pt idx="1070">
                  <c:v>120.81150458856908</c:v>
                </c:pt>
                <c:pt idx="1071">
                  <c:v>120.54018731967912</c:v>
                </c:pt>
                <c:pt idx="1072">
                  <c:v>120.24673656104208</c:v>
                </c:pt>
                <c:pt idx="1073">
                  <c:v>120.36022618856283</c:v>
                </c:pt>
                <c:pt idx="1074">
                  <c:v>120.36022618856283</c:v>
                </c:pt>
                <c:pt idx="1075">
                  <c:v>120.36022618856283</c:v>
                </c:pt>
                <c:pt idx="1076">
                  <c:v>121.0370387011118</c:v>
                </c:pt>
                <c:pt idx="1077">
                  <c:v>120.91678921411041</c:v>
                </c:pt>
                <c:pt idx="1078">
                  <c:v>122.04176559955795</c:v>
                </c:pt>
                <c:pt idx="1079">
                  <c:v>122.59032739727337</c:v>
                </c:pt>
                <c:pt idx="1080">
                  <c:v>122.48256396542671</c:v>
                </c:pt>
                <c:pt idx="1081">
                  <c:v>122.48256396542671</c:v>
                </c:pt>
                <c:pt idx="1082">
                  <c:v>122.48256396542671</c:v>
                </c:pt>
                <c:pt idx="1083">
                  <c:v>123.21324496915834</c:v>
                </c:pt>
                <c:pt idx="1084">
                  <c:v>124.00585014568999</c:v>
                </c:pt>
                <c:pt idx="1085">
                  <c:v>123.71023734895174</c:v>
                </c:pt>
                <c:pt idx="1086">
                  <c:v>124.31689664171084</c:v>
                </c:pt>
                <c:pt idx="1087">
                  <c:v>124.11688564817854</c:v>
                </c:pt>
                <c:pt idx="1088">
                  <c:v>124.11688564817854</c:v>
                </c:pt>
                <c:pt idx="1089">
                  <c:v>124.11688564817854</c:v>
                </c:pt>
                <c:pt idx="1090">
                  <c:v>124.41802220646551</c:v>
                </c:pt>
                <c:pt idx="1091">
                  <c:v>125.01913755406019</c:v>
                </c:pt>
                <c:pt idx="1092">
                  <c:v>125.13044425505566</c:v>
                </c:pt>
                <c:pt idx="1093">
                  <c:v>124.90680245354325</c:v>
                </c:pt>
                <c:pt idx="1094">
                  <c:v>125.05728548513419</c:v>
                </c:pt>
                <c:pt idx="1095">
                  <c:v>125.05728548513419</c:v>
                </c:pt>
                <c:pt idx="1096">
                  <c:v>125.06142807024452</c:v>
                </c:pt>
                <c:pt idx="1097">
                  <c:v>125.12124585173281</c:v>
                </c:pt>
                <c:pt idx="1098">
                  <c:v>125.30698402451671</c:v>
                </c:pt>
                <c:pt idx="1099">
                  <c:v>125.90110457160392</c:v>
                </c:pt>
                <c:pt idx="1100">
                  <c:v>125.82723192223499</c:v>
                </c:pt>
                <c:pt idx="1101">
                  <c:v>125.93228624836011</c:v>
                </c:pt>
                <c:pt idx="1102">
                  <c:v>125.93228624836011</c:v>
                </c:pt>
                <c:pt idx="1103">
                  <c:v>125.93228624836011</c:v>
                </c:pt>
                <c:pt idx="1104">
                  <c:v>126.36881423559544</c:v>
                </c:pt>
                <c:pt idx="1105">
                  <c:v>126.22290122055017</c:v>
                </c:pt>
                <c:pt idx="1106">
                  <c:v>126.06845129388631</c:v>
                </c:pt>
                <c:pt idx="1107">
                  <c:v>125.63612603976239</c:v>
                </c:pt>
                <c:pt idx="1108">
                  <c:v>125.60922432991025</c:v>
                </c:pt>
                <c:pt idx="1109">
                  <c:v>125.60922432991025</c:v>
                </c:pt>
                <c:pt idx="1110">
                  <c:v>125.60922432991025</c:v>
                </c:pt>
                <c:pt idx="1111">
                  <c:v>125.37910438729558</c:v>
                </c:pt>
                <c:pt idx="1112">
                  <c:v>125.58885116625255</c:v>
                </c:pt>
                <c:pt idx="1113">
                  <c:v>125.08801902876334</c:v>
                </c:pt>
                <c:pt idx="1114">
                  <c:v>125.2855097194206</c:v>
                </c:pt>
                <c:pt idx="1115">
                  <c:v>125.58509721616815</c:v>
                </c:pt>
                <c:pt idx="1116">
                  <c:v>125.58509721616815</c:v>
                </c:pt>
                <c:pt idx="1117">
                  <c:v>125.58509721616815</c:v>
                </c:pt>
                <c:pt idx="1118">
                  <c:v>124.86038471477441</c:v>
                </c:pt>
                <c:pt idx="1119">
                  <c:v>123.97220834800127</c:v>
                </c:pt>
                <c:pt idx="1120">
                  <c:v>124.08780500635049</c:v>
                </c:pt>
                <c:pt idx="1121">
                  <c:v>123.1252279831601</c:v>
                </c:pt>
                <c:pt idx="1122">
                  <c:v>123.52595045133994</c:v>
                </c:pt>
                <c:pt idx="1123">
                  <c:v>123.52595045133994</c:v>
                </c:pt>
                <c:pt idx="1124">
                  <c:v>123.52595045133994</c:v>
                </c:pt>
                <c:pt idx="1125">
                  <c:v>123.3220252519865</c:v>
                </c:pt>
                <c:pt idx="1126">
                  <c:v>123.37635050326919</c:v>
                </c:pt>
                <c:pt idx="1127">
                  <c:v>122.76086660480405</c:v>
                </c:pt>
                <c:pt idx="1128">
                  <c:v>122.25815692770963</c:v>
                </c:pt>
                <c:pt idx="1129">
                  <c:v>123.22515953154355</c:v>
                </c:pt>
                <c:pt idx="1130">
                  <c:v>123.22515953154355</c:v>
                </c:pt>
                <c:pt idx="1131">
                  <c:v>123.22515953154355</c:v>
                </c:pt>
                <c:pt idx="1132">
                  <c:v>123.44475038864844</c:v>
                </c:pt>
                <c:pt idx="1133">
                  <c:v>122.28899946863609</c:v>
                </c:pt>
                <c:pt idx="1134">
                  <c:v>122.37519501665837</c:v>
                </c:pt>
                <c:pt idx="1135">
                  <c:v>121.38257180014267</c:v>
                </c:pt>
                <c:pt idx="1136">
                  <c:v>120.45761422007935</c:v>
                </c:pt>
                <c:pt idx="1137">
                  <c:v>120.45761422007935</c:v>
                </c:pt>
                <c:pt idx="1138">
                  <c:v>120.45761422007935</c:v>
                </c:pt>
                <c:pt idx="1139">
                  <c:v>120.32498565283879</c:v>
                </c:pt>
                <c:pt idx="1140">
                  <c:v>121.01187161455674</c:v>
                </c:pt>
                <c:pt idx="1141">
                  <c:v>119.61087361260124</c:v>
                </c:pt>
                <c:pt idx="1142">
                  <c:v>119.12767436589382</c:v>
                </c:pt>
                <c:pt idx="1143">
                  <c:v>120.09231612938085</c:v>
                </c:pt>
                <c:pt idx="1144">
                  <c:v>120.09231612938085</c:v>
                </c:pt>
                <c:pt idx="1145">
                  <c:v>120.09231612938085</c:v>
                </c:pt>
                <c:pt idx="1146">
                  <c:v>120.05979923733022</c:v>
                </c:pt>
                <c:pt idx="1147">
                  <c:v>121.31388122894818</c:v>
                </c:pt>
                <c:pt idx="1148">
                  <c:v>121.80809389149617</c:v>
                </c:pt>
                <c:pt idx="1149">
                  <c:v>122.45872152005285</c:v>
                </c:pt>
                <c:pt idx="1150">
                  <c:v>122.30578714553933</c:v>
                </c:pt>
                <c:pt idx="1151">
                  <c:v>122.30578714553933</c:v>
                </c:pt>
                <c:pt idx="1152">
                  <c:v>122.30578714553933</c:v>
                </c:pt>
                <c:pt idx="1153">
                  <c:v>121.95689187206423</c:v>
                </c:pt>
                <c:pt idx="1154">
                  <c:v>122.44721851920228</c:v>
                </c:pt>
                <c:pt idx="1155">
                  <c:v>122.80447187087331</c:v>
                </c:pt>
                <c:pt idx="1156">
                  <c:v>123.28365926739176</c:v>
                </c:pt>
                <c:pt idx="1157">
                  <c:v>123.92165799843249</c:v>
                </c:pt>
                <c:pt idx="1158">
                  <c:v>123.92165799843249</c:v>
                </c:pt>
                <c:pt idx="1159">
                  <c:v>123.92165799843249</c:v>
                </c:pt>
                <c:pt idx="1160">
                  <c:v>123.38441116517187</c:v>
                </c:pt>
                <c:pt idx="1161">
                  <c:v>123.09331661651485</c:v>
                </c:pt>
                <c:pt idx="1162">
                  <c:v>123.80815601558467</c:v>
                </c:pt>
                <c:pt idx="1163">
                  <c:v>124.20677277845752</c:v>
                </c:pt>
                <c:pt idx="1164">
                  <c:v>124.35684480432307</c:v>
                </c:pt>
                <c:pt idx="1165">
                  <c:v>124.35684480432307</c:v>
                </c:pt>
                <c:pt idx="1166">
                  <c:v>124.35684480432307</c:v>
                </c:pt>
                <c:pt idx="1167">
                  <c:v>124.77727322326655</c:v>
                </c:pt>
                <c:pt idx="1168">
                  <c:v>125.18120155082536</c:v>
                </c:pt>
                <c:pt idx="1169">
                  <c:v>125.29600842288826</c:v>
                </c:pt>
                <c:pt idx="1170">
                  <c:v>126.21335938967619</c:v>
                </c:pt>
                <c:pt idx="1171">
                  <c:v>126.72153138033599</c:v>
                </c:pt>
                <c:pt idx="1172">
                  <c:v>126.72153138033599</c:v>
                </c:pt>
                <c:pt idx="1173">
                  <c:v>126.72153138033599</c:v>
                </c:pt>
                <c:pt idx="1174">
                  <c:v>126.92046749537744</c:v>
                </c:pt>
                <c:pt idx="1175">
                  <c:v>127.70704021225785</c:v>
                </c:pt>
                <c:pt idx="1176">
                  <c:v>127.40596389215307</c:v>
                </c:pt>
                <c:pt idx="1177">
                  <c:v>127.37043963123713</c:v>
                </c:pt>
                <c:pt idx="1178">
                  <c:v>128.07372837807543</c:v>
                </c:pt>
                <c:pt idx="1179">
                  <c:v>128.07372837807543</c:v>
                </c:pt>
                <c:pt idx="1180">
                  <c:v>128.07372837807543</c:v>
                </c:pt>
                <c:pt idx="1181">
                  <c:v>128.05386475755788</c:v>
                </c:pt>
                <c:pt idx="1182">
                  <c:v>128.40018932881202</c:v>
                </c:pt>
                <c:pt idx="1183">
                  <c:v>128.35409432852396</c:v>
                </c:pt>
                <c:pt idx="1184">
                  <c:v>128.61421143506604</c:v>
                </c:pt>
                <c:pt idx="1185">
                  <c:v>128.86119475852738</c:v>
                </c:pt>
                <c:pt idx="1186">
                  <c:v>128.86119475852738</c:v>
                </c:pt>
                <c:pt idx="1187">
                  <c:v>128.86540034979623</c:v>
                </c:pt>
                <c:pt idx="1188">
                  <c:v>128.21028293261438</c:v>
                </c:pt>
                <c:pt idx="1189">
                  <c:v>128.75684901000855</c:v>
                </c:pt>
                <c:pt idx="1190">
                  <c:v>128.3253819376983</c:v>
                </c:pt>
                <c:pt idx="1191">
                  <c:v>128.37693886708834</c:v>
                </c:pt>
                <c:pt idx="1192">
                  <c:v>129.14040807645543</c:v>
                </c:pt>
                <c:pt idx="1193">
                  <c:v>129.14040807645543</c:v>
                </c:pt>
                <c:pt idx="1194">
                  <c:v>129.14040807645543</c:v>
                </c:pt>
                <c:pt idx="1195">
                  <c:v>128.37313319133978</c:v>
                </c:pt>
                <c:pt idx="1196">
                  <c:v>127.38739852144369</c:v>
                </c:pt>
                <c:pt idx="1197">
                  <c:v>126.65168308526599</c:v>
                </c:pt>
                <c:pt idx="1198">
                  <c:v>126.59650012370979</c:v>
                </c:pt>
                <c:pt idx="1199">
                  <c:v>125.14348575522391</c:v>
                </c:pt>
                <c:pt idx="1200">
                  <c:v>125.14348575522391</c:v>
                </c:pt>
                <c:pt idx="1201">
                  <c:v>125.14348575522391</c:v>
                </c:pt>
                <c:pt idx="1202">
                  <c:v>124.19595529530957</c:v>
                </c:pt>
                <c:pt idx="1203">
                  <c:v>124.43175275488521</c:v>
                </c:pt>
                <c:pt idx="1204">
                  <c:v>125.07139923185086</c:v>
                </c:pt>
                <c:pt idx="1205">
                  <c:v>126.85682009609356</c:v>
                </c:pt>
                <c:pt idx="1206">
                  <c:v>127.13048183170334</c:v>
                </c:pt>
                <c:pt idx="1207">
                  <c:v>127.13048183170334</c:v>
                </c:pt>
                <c:pt idx="1208">
                  <c:v>127.13048183170334</c:v>
                </c:pt>
                <c:pt idx="1209">
                  <c:v>127.71776795757091</c:v>
                </c:pt>
                <c:pt idx="1210">
                  <c:v>128.22388077623819</c:v>
                </c:pt>
                <c:pt idx="1211">
                  <c:v>128.25266402421124</c:v>
                </c:pt>
                <c:pt idx="1212">
                  <c:v>128.22077886007759</c:v>
                </c:pt>
                <c:pt idx="1213">
                  <c:v>128.14753465064337</c:v>
                </c:pt>
                <c:pt idx="1214">
                  <c:v>128.14753465064337</c:v>
                </c:pt>
                <c:pt idx="1215">
                  <c:v>128.14753465064337</c:v>
                </c:pt>
                <c:pt idx="1216">
                  <c:v>128.67446779176498</c:v>
                </c:pt>
                <c:pt idx="1217">
                  <c:v>127.90376511850495</c:v>
                </c:pt>
                <c:pt idx="1218">
                  <c:v>127.5884832200238</c:v>
                </c:pt>
                <c:pt idx="1219">
                  <c:v>127.58254747205434</c:v>
                </c:pt>
                <c:pt idx="1220">
                  <c:v>128.22985934326942</c:v>
                </c:pt>
                <c:pt idx="1221">
                  <c:v>128.22985934326942</c:v>
                </c:pt>
                <c:pt idx="1222">
                  <c:v>128.22985934326942</c:v>
                </c:pt>
                <c:pt idx="1223">
                  <c:v>127.46599121163571</c:v>
                </c:pt>
                <c:pt idx="1224">
                  <c:v>127.38392009176545</c:v>
                </c:pt>
                <c:pt idx="1225">
                  <c:v>128.30120392992714</c:v>
                </c:pt>
                <c:pt idx="1226">
                  <c:v>129.98270552380154</c:v>
                </c:pt>
                <c:pt idx="1227">
                  <c:v>129.06629555210282</c:v>
                </c:pt>
                <c:pt idx="1228">
                  <c:v>129.06629555210282</c:v>
                </c:pt>
                <c:pt idx="1229">
                  <c:v>129.06629555210282</c:v>
                </c:pt>
                <c:pt idx="1230">
                  <c:v>129.09318252663255</c:v>
                </c:pt>
                <c:pt idx="1231">
                  <c:v>129.34590409326444</c:v>
                </c:pt>
                <c:pt idx="1232">
                  <c:v>128.13575332149179</c:v>
                </c:pt>
                <c:pt idx="1233">
                  <c:v>129.10939791728097</c:v>
                </c:pt>
                <c:pt idx="1234">
                  <c:v>130.00535026015876</c:v>
                </c:pt>
                <c:pt idx="1235">
                  <c:v>130.00535026015876</c:v>
                </c:pt>
                <c:pt idx="1236">
                  <c:v>130.00535026015876</c:v>
                </c:pt>
                <c:pt idx="1237">
                  <c:v>130.40868234294925</c:v>
                </c:pt>
                <c:pt idx="1238">
                  <c:v>130.41721084907974</c:v>
                </c:pt>
                <c:pt idx="1239">
                  <c:v>131.58545705415241</c:v>
                </c:pt>
                <c:pt idx="1240">
                  <c:v>132.4002738114543</c:v>
                </c:pt>
                <c:pt idx="1241">
                  <c:v>133.18681789527312</c:v>
                </c:pt>
                <c:pt idx="1242">
                  <c:v>133.18681789527312</c:v>
                </c:pt>
                <c:pt idx="1243">
                  <c:v>133.18681789527312</c:v>
                </c:pt>
                <c:pt idx="1244">
                  <c:v>133.11060089965559</c:v>
                </c:pt>
                <c:pt idx="1245">
                  <c:v>132.06634204595485</c:v>
                </c:pt>
                <c:pt idx="1246">
                  <c:v>131.59581254313557</c:v>
                </c:pt>
                <c:pt idx="1247">
                  <c:v>131.90802337152169</c:v>
                </c:pt>
                <c:pt idx="1248">
                  <c:v>131.46818862523318</c:v>
                </c:pt>
                <c:pt idx="1249">
                  <c:v>131.47027526202942</c:v>
                </c:pt>
                <c:pt idx="1250">
                  <c:v>131.47027526202942</c:v>
                </c:pt>
                <c:pt idx="1251">
                  <c:v>132.12729112619709</c:v>
                </c:pt>
                <c:pt idx="1252">
                  <c:v>132.70074827748823</c:v>
                </c:pt>
                <c:pt idx="1253">
                  <c:v>132.33945974154216</c:v>
                </c:pt>
                <c:pt idx="1254">
                  <c:v>132.24813749454924</c:v>
                </c:pt>
                <c:pt idx="1255">
                  <c:v>131.89465709483554</c:v>
                </c:pt>
                <c:pt idx="1256">
                  <c:v>131.89465709483554</c:v>
                </c:pt>
                <c:pt idx="1257">
                  <c:v>131.89465709483554</c:v>
                </c:pt>
                <c:pt idx="1258">
                  <c:v>131.60569234840449</c:v>
                </c:pt>
                <c:pt idx="1259">
                  <c:v>131.96284848249883</c:v>
                </c:pt>
                <c:pt idx="1260">
                  <c:v>131.57366160433008</c:v>
                </c:pt>
                <c:pt idx="1261">
                  <c:v>131.84411369987052</c:v>
                </c:pt>
                <c:pt idx="1262">
                  <c:v>132.24466046814646</c:v>
                </c:pt>
                <c:pt idx="1263">
                  <c:v>132.24466046814646</c:v>
                </c:pt>
                <c:pt idx="1264">
                  <c:v>132.24466046814646</c:v>
                </c:pt>
                <c:pt idx="1265">
                  <c:v>132.10435680484491</c:v>
                </c:pt>
                <c:pt idx="1266">
                  <c:v>132.52880176224974</c:v>
                </c:pt>
                <c:pt idx="1267">
                  <c:v>132.10011508811104</c:v>
                </c:pt>
                <c:pt idx="1268">
                  <c:v>132.23322217595646</c:v>
                </c:pt>
                <c:pt idx="1269">
                  <c:v>132.90235190040855</c:v>
                </c:pt>
                <c:pt idx="1270">
                  <c:v>132.90235190040855</c:v>
                </c:pt>
                <c:pt idx="1271">
                  <c:v>132.90235190040855</c:v>
                </c:pt>
                <c:pt idx="1272">
                  <c:v>132.74306129479962</c:v>
                </c:pt>
                <c:pt idx="1273">
                  <c:v>132.95446995173515</c:v>
                </c:pt>
                <c:pt idx="1274">
                  <c:v>133.1202240368105</c:v>
                </c:pt>
                <c:pt idx="1275">
                  <c:v>133.3520027605822</c:v>
                </c:pt>
                <c:pt idx="1276">
                  <c:v>133.26183341677475</c:v>
                </c:pt>
                <c:pt idx="1277">
                  <c:v>133.26397731982456</c:v>
                </c:pt>
                <c:pt idx="1278">
                  <c:v>133.26397731982456</c:v>
                </c:pt>
                <c:pt idx="1279">
                  <c:v>133.56556393517278</c:v>
                </c:pt>
                <c:pt idx="1280">
                  <c:v>132.81108512198006</c:v>
                </c:pt>
                <c:pt idx="1281">
                  <c:v>133.18077795227674</c:v>
                </c:pt>
                <c:pt idx="1282">
                  <c:v>133.6741311214092</c:v>
                </c:pt>
                <c:pt idx="1283">
                  <c:v>133.34808080020332</c:v>
                </c:pt>
                <c:pt idx="1284">
                  <c:v>133.34808080020332</c:v>
                </c:pt>
                <c:pt idx="1285">
                  <c:v>133.34808080020332</c:v>
                </c:pt>
                <c:pt idx="1286">
                  <c:v>132.71149163740839</c:v>
                </c:pt>
                <c:pt idx="1287">
                  <c:v>131.09627228214671</c:v>
                </c:pt>
                <c:pt idx="1288">
                  <c:v>132.03843031786639</c:v>
                </c:pt>
                <c:pt idx="1289">
                  <c:v>133.22830730836515</c:v>
                </c:pt>
                <c:pt idx="1290">
                  <c:v>133.58317795810433</c:v>
                </c:pt>
                <c:pt idx="1291">
                  <c:v>133.58317795810433</c:v>
                </c:pt>
                <c:pt idx="1292">
                  <c:v>133.58317795810433</c:v>
                </c:pt>
                <c:pt idx="1293">
                  <c:v>134.24395739370385</c:v>
                </c:pt>
                <c:pt idx="1294">
                  <c:v>134.46842570803219</c:v>
                </c:pt>
                <c:pt idx="1295">
                  <c:v>135.97699214872833</c:v>
                </c:pt>
                <c:pt idx="1296">
                  <c:v>136.20951900585351</c:v>
                </c:pt>
                <c:pt idx="1297">
                  <c:v>136.48363491481109</c:v>
                </c:pt>
                <c:pt idx="1298">
                  <c:v>136.48363491481109</c:v>
                </c:pt>
                <c:pt idx="1299">
                  <c:v>136.48363491481109</c:v>
                </c:pt>
                <c:pt idx="1300">
                  <c:v>136.77126544044143</c:v>
                </c:pt>
                <c:pt idx="1301">
                  <c:v>136.91196994657915</c:v>
                </c:pt>
                <c:pt idx="1302">
                  <c:v>136.05798550448449</c:v>
                </c:pt>
                <c:pt idx="1303">
                  <c:v>135.53489523187173</c:v>
                </c:pt>
                <c:pt idx="1304">
                  <c:v>135.06895072611314</c:v>
                </c:pt>
                <c:pt idx="1305">
                  <c:v>135.06895072611314</c:v>
                </c:pt>
                <c:pt idx="1306">
                  <c:v>135.06895072611314</c:v>
                </c:pt>
                <c:pt idx="1307">
                  <c:v>135.8123550356527</c:v>
                </c:pt>
                <c:pt idx="1308">
                  <c:v>134.73852314209694</c:v>
                </c:pt>
                <c:pt idx="1309">
                  <c:v>135.20901750727876</c:v>
                </c:pt>
                <c:pt idx="1310">
                  <c:v>135.81743212593017</c:v>
                </c:pt>
                <c:pt idx="1311">
                  <c:v>135.84132468039223</c:v>
                </c:pt>
                <c:pt idx="1312">
                  <c:v>135.84132468039223</c:v>
                </c:pt>
                <c:pt idx="1313">
                  <c:v>135.84132468039223</c:v>
                </c:pt>
                <c:pt idx="1314">
                  <c:v>135.82563589036027</c:v>
                </c:pt>
                <c:pt idx="1315">
                  <c:v>136.79816822465756</c:v>
                </c:pt>
                <c:pt idx="1316">
                  <c:v>136.2208424720514</c:v>
                </c:pt>
                <c:pt idx="1317">
                  <c:v>137.79120901260754</c:v>
                </c:pt>
                <c:pt idx="1318">
                  <c:v>138.7724563132831</c:v>
                </c:pt>
                <c:pt idx="1319">
                  <c:v>138.7724563132831</c:v>
                </c:pt>
                <c:pt idx="1320">
                  <c:v>138.7724563132831</c:v>
                </c:pt>
                <c:pt idx="1321">
                  <c:v>138.55611983734886</c:v>
                </c:pt>
                <c:pt idx="1322">
                  <c:v>138.33688865467755</c:v>
                </c:pt>
                <c:pt idx="1323">
                  <c:v>138.39848946251317</c:v>
                </c:pt>
                <c:pt idx="1324">
                  <c:v>137.61730468316205</c:v>
                </c:pt>
                <c:pt idx="1325">
                  <c:v>136.603028087307</c:v>
                </c:pt>
                <c:pt idx="1326">
                  <c:v>136.603028087307</c:v>
                </c:pt>
                <c:pt idx="1327">
                  <c:v>136.603028087307</c:v>
                </c:pt>
                <c:pt idx="1328">
                  <c:v>137.0899238449137</c:v>
                </c:pt>
                <c:pt idx="1329">
                  <c:v>137.12177352194183</c:v>
                </c:pt>
                <c:pt idx="1330">
                  <c:v>136.29055312332434</c:v>
                </c:pt>
                <c:pt idx="1331">
                  <c:v>136.50002169974829</c:v>
                </c:pt>
                <c:pt idx="1332">
                  <c:v>136.45255983685317</c:v>
                </c:pt>
                <c:pt idx="1333">
                  <c:v>136.45255983685317</c:v>
                </c:pt>
                <c:pt idx="1334">
                  <c:v>136.45255983685317</c:v>
                </c:pt>
                <c:pt idx="1335">
                  <c:v>136.65513553330368</c:v>
                </c:pt>
                <c:pt idx="1336">
                  <c:v>135.81696317268205</c:v>
                </c:pt>
                <c:pt idx="1337">
                  <c:v>134.28678692559251</c:v>
                </c:pt>
                <c:pt idx="1338">
                  <c:v>134.25827731700974</c:v>
                </c:pt>
                <c:pt idx="1339">
                  <c:v>135.19683093684716</c:v>
                </c:pt>
                <c:pt idx="1340">
                  <c:v>135.19683093684716</c:v>
                </c:pt>
                <c:pt idx="1341">
                  <c:v>135.19683093684716</c:v>
                </c:pt>
                <c:pt idx="1342">
                  <c:v>135.4735207016179</c:v>
                </c:pt>
                <c:pt idx="1343">
                  <c:v>134.32047603369892</c:v>
                </c:pt>
                <c:pt idx="1344">
                  <c:v>133.91155789544717</c:v>
                </c:pt>
                <c:pt idx="1345">
                  <c:v>133.59185918297783</c:v>
                </c:pt>
                <c:pt idx="1346">
                  <c:v>134.40271340796548</c:v>
                </c:pt>
                <c:pt idx="1347">
                  <c:v>134.40271340796548</c:v>
                </c:pt>
                <c:pt idx="1348">
                  <c:v>134.40271340796548</c:v>
                </c:pt>
                <c:pt idx="1349">
                  <c:v>133.5598237793304</c:v>
                </c:pt>
                <c:pt idx="1350">
                  <c:v>132.41043130885464</c:v>
                </c:pt>
                <c:pt idx="1351">
                  <c:v>132.54611756099305</c:v>
                </c:pt>
                <c:pt idx="1352">
                  <c:v>132.9938143805669</c:v>
                </c:pt>
                <c:pt idx="1353">
                  <c:v>133.18422384561225</c:v>
                </c:pt>
                <c:pt idx="1354">
                  <c:v>133.18422384561225</c:v>
                </c:pt>
                <c:pt idx="1355">
                  <c:v>133.18422384561225</c:v>
                </c:pt>
                <c:pt idx="1356">
                  <c:v>133.79418544228872</c:v>
                </c:pt>
                <c:pt idx="1357">
                  <c:v>134.30525913479161</c:v>
                </c:pt>
                <c:pt idx="1358">
                  <c:v>134.04145372293073</c:v>
                </c:pt>
                <c:pt idx="1359">
                  <c:v>133.99156148323326</c:v>
                </c:pt>
                <c:pt idx="1360">
                  <c:v>134.72729052251063</c:v>
                </c:pt>
                <c:pt idx="1361">
                  <c:v>134.72729052251063</c:v>
                </c:pt>
                <c:pt idx="1362">
                  <c:v>134.72729052251063</c:v>
                </c:pt>
                <c:pt idx="1363">
                  <c:v>134.81172088202612</c:v>
                </c:pt>
                <c:pt idx="1364">
                  <c:v>134.12237975131336</c:v>
                </c:pt>
                <c:pt idx="1365">
                  <c:v>135.22832065172261</c:v>
                </c:pt>
                <c:pt idx="1366">
                  <c:v>135.36966299634463</c:v>
                </c:pt>
                <c:pt idx="1367">
                  <c:v>134.9475771111762</c:v>
                </c:pt>
                <c:pt idx="1368">
                  <c:v>134.9475771111762</c:v>
                </c:pt>
                <c:pt idx="1369">
                  <c:v>134.95187837627</c:v>
                </c:pt>
                <c:pt idx="1370">
                  <c:v>134.97048243736731</c:v>
                </c:pt>
                <c:pt idx="1371">
                  <c:v>134.47064125584916</c:v>
                </c:pt>
                <c:pt idx="1372">
                  <c:v>134.74436740718866</c:v>
                </c:pt>
                <c:pt idx="1373">
                  <c:v>133.58774578228605</c:v>
                </c:pt>
                <c:pt idx="1374">
                  <c:v>132.83630061875351</c:v>
                </c:pt>
                <c:pt idx="1375">
                  <c:v>132.83630061875351</c:v>
                </c:pt>
                <c:pt idx="1376">
                  <c:v>132.83630061875351</c:v>
                </c:pt>
                <c:pt idx="1377">
                  <c:v>132.54332077949601</c:v>
                </c:pt>
                <c:pt idx="1378">
                  <c:v>132.13610007524625</c:v>
                </c:pt>
                <c:pt idx="1379">
                  <c:v>132.37182959606034</c:v>
                </c:pt>
                <c:pt idx="1380">
                  <c:v>132.80622303058894</c:v>
                </c:pt>
                <c:pt idx="1381">
                  <c:v>132.00252704782321</c:v>
                </c:pt>
                <c:pt idx="1382">
                  <c:v>132.00252704782321</c:v>
                </c:pt>
                <c:pt idx="1383">
                  <c:v>132.00252704782321</c:v>
                </c:pt>
                <c:pt idx="1384">
                  <c:v>131.22621490615387</c:v>
                </c:pt>
                <c:pt idx="1385">
                  <c:v>131.38557621837523</c:v>
                </c:pt>
                <c:pt idx="1386">
                  <c:v>130.79616029008088</c:v>
                </c:pt>
                <c:pt idx="1387">
                  <c:v>131.07186978031115</c:v>
                </c:pt>
                <c:pt idx="1388">
                  <c:v>130.98844163080008</c:v>
                </c:pt>
                <c:pt idx="1389">
                  <c:v>130.98844163080008</c:v>
                </c:pt>
                <c:pt idx="1390">
                  <c:v>130.98844163080008</c:v>
                </c:pt>
                <c:pt idx="1391">
                  <c:v>132.62277786760549</c:v>
                </c:pt>
                <c:pt idx="1392">
                  <c:v>132.79033070008509</c:v>
                </c:pt>
                <c:pt idx="1393">
                  <c:v>132.46986204518527</c:v>
                </c:pt>
                <c:pt idx="1394">
                  <c:v>132.17329237291148</c:v>
                </c:pt>
                <c:pt idx="1395">
                  <c:v>131.62887154649249</c:v>
                </c:pt>
                <c:pt idx="1396">
                  <c:v>131.62887154649249</c:v>
                </c:pt>
                <c:pt idx="1397">
                  <c:v>131.62887154649249</c:v>
                </c:pt>
                <c:pt idx="1398">
                  <c:v>129.95650988499875</c:v>
                </c:pt>
                <c:pt idx="1399">
                  <c:v>129.26203763104149</c:v>
                </c:pt>
                <c:pt idx="1400">
                  <c:v>130.38840789617683</c:v>
                </c:pt>
                <c:pt idx="1401">
                  <c:v>130.44659434906484</c:v>
                </c:pt>
                <c:pt idx="1402">
                  <c:v>130.0671216057774</c:v>
                </c:pt>
                <c:pt idx="1403">
                  <c:v>130.0671216057774</c:v>
                </c:pt>
                <c:pt idx="1404">
                  <c:v>130.0671216057774</c:v>
                </c:pt>
                <c:pt idx="1405">
                  <c:v>129.64862119913778</c:v>
                </c:pt>
                <c:pt idx="1406">
                  <c:v>129.62771897616594</c:v>
                </c:pt>
                <c:pt idx="1407">
                  <c:v>129.95253483852824</c:v>
                </c:pt>
                <c:pt idx="1408">
                  <c:v>130.89807526490117</c:v>
                </c:pt>
                <c:pt idx="1409">
                  <c:v>131.60143683032004</c:v>
                </c:pt>
                <c:pt idx="1410">
                  <c:v>131.60143683032004</c:v>
                </c:pt>
                <c:pt idx="1411">
                  <c:v>131.60143683032004</c:v>
                </c:pt>
                <c:pt idx="1412">
                  <c:v>132.27974333870057</c:v>
                </c:pt>
                <c:pt idx="1413">
                  <c:v>132.41141976735787</c:v>
                </c:pt>
                <c:pt idx="1414">
                  <c:v>132.13188126551702</c:v>
                </c:pt>
                <c:pt idx="1415">
                  <c:v>132.95227777036834</c:v>
                </c:pt>
                <c:pt idx="1416">
                  <c:v>132.41988801680415</c:v>
                </c:pt>
                <c:pt idx="1417">
                  <c:v>132.41988801680415</c:v>
                </c:pt>
                <c:pt idx="1418">
                  <c:v>132.41988801680415</c:v>
                </c:pt>
                <c:pt idx="1419">
                  <c:v>132.35791377451176</c:v>
                </c:pt>
                <c:pt idx="1420">
                  <c:v>132.17753793173586</c:v>
                </c:pt>
                <c:pt idx="1421">
                  <c:v>131.1264466456775</c:v>
                </c:pt>
                <c:pt idx="1422">
                  <c:v>131.81549783066123</c:v>
                </c:pt>
                <c:pt idx="1423">
                  <c:v>131.0522438381731</c:v>
                </c:pt>
                <c:pt idx="1424">
                  <c:v>131.0522438381731</c:v>
                </c:pt>
                <c:pt idx="1425">
                  <c:v>131.0522438381731</c:v>
                </c:pt>
                <c:pt idx="1426">
                  <c:v>130.19440913727834</c:v>
                </c:pt>
                <c:pt idx="1427">
                  <c:v>130.50364532250885</c:v>
                </c:pt>
                <c:pt idx="1428">
                  <c:v>131.49134545766563</c:v>
                </c:pt>
                <c:pt idx="1429">
                  <c:v>131.68998792109807</c:v>
                </c:pt>
                <c:pt idx="1430">
                  <c:v>132.36740829071655</c:v>
                </c:pt>
                <c:pt idx="1431">
                  <c:v>132.36740829071655</c:v>
                </c:pt>
                <c:pt idx="1432">
                  <c:v>132.36740829071655</c:v>
                </c:pt>
                <c:pt idx="1433">
                  <c:v>132.09710044885406</c:v>
                </c:pt>
                <c:pt idx="1434">
                  <c:v>132.26191250584472</c:v>
                </c:pt>
                <c:pt idx="1435">
                  <c:v>132.2608359203293</c:v>
                </c:pt>
                <c:pt idx="1436">
                  <c:v>132.48190883625736</c:v>
                </c:pt>
                <c:pt idx="1437">
                  <c:v>132.44899191750122</c:v>
                </c:pt>
                <c:pt idx="1438">
                  <c:v>132.44899191750122</c:v>
                </c:pt>
                <c:pt idx="1439">
                  <c:v>132.44899191750122</c:v>
                </c:pt>
                <c:pt idx="1440">
                  <c:v>132.87840615842157</c:v>
                </c:pt>
                <c:pt idx="1441">
                  <c:v>132.18897458721216</c:v>
                </c:pt>
                <c:pt idx="1442">
                  <c:v>131.31978660629397</c:v>
                </c:pt>
                <c:pt idx="1443">
                  <c:v>131.73158378932652</c:v>
                </c:pt>
                <c:pt idx="1444">
                  <c:v>131.5940394176709</c:v>
                </c:pt>
                <c:pt idx="1445">
                  <c:v>131.5940394176709</c:v>
                </c:pt>
                <c:pt idx="1446">
                  <c:v>131.5940394176709</c:v>
                </c:pt>
                <c:pt idx="1447">
                  <c:v>131.98075557139364</c:v>
                </c:pt>
                <c:pt idx="1448">
                  <c:v>131.5108936550798</c:v>
                </c:pt>
                <c:pt idx="1449">
                  <c:v>130.57393258876465</c:v>
                </c:pt>
                <c:pt idx="1450">
                  <c:v>129.89041483433928</c:v>
                </c:pt>
                <c:pt idx="1451">
                  <c:v>127.69235273218214</c:v>
                </c:pt>
                <c:pt idx="1452">
                  <c:v>127.69235273218214</c:v>
                </c:pt>
                <c:pt idx="1453">
                  <c:v>127.69235273218214</c:v>
                </c:pt>
                <c:pt idx="1454">
                  <c:v>124.32442274731679</c:v>
                </c:pt>
                <c:pt idx="1455">
                  <c:v>124.9463433639924</c:v>
                </c:pt>
                <c:pt idx="1456">
                  <c:v>125.52213872091676</c:v>
                </c:pt>
                <c:pt idx="1457">
                  <c:v>127.92620474634472</c:v>
                </c:pt>
                <c:pt idx="1458">
                  <c:v>128.54386670870508</c:v>
                </c:pt>
                <c:pt idx="1459">
                  <c:v>128.54386670870508</c:v>
                </c:pt>
                <c:pt idx="1460">
                  <c:v>128.54386670870508</c:v>
                </c:pt>
                <c:pt idx="1461">
                  <c:v>128.08808224190514</c:v>
                </c:pt>
                <c:pt idx="1462">
                  <c:v>126.28108717887432</c:v>
                </c:pt>
                <c:pt idx="1463">
                  <c:v>126.84728075827491</c:v>
                </c:pt>
                <c:pt idx="1464">
                  <c:v>127.93813451935036</c:v>
                </c:pt>
                <c:pt idx="1465">
                  <c:v>126.67485124580901</c:v>
                </c:pt>
                <c:pt idx="1466">
                  <c:v>126.67485124580901</c:v>
                </c:pt>
                <c:pt idx="1467">
                  <c:v>126.67485124580901</c:v>
                </c:pt>
                <c:pt idx="1468">
                  <c:v>126.57331090186027</c:v>
                </c:pt>
                <c:pt idx="1469">
                  <c:v>127.21250498275485</c:v>
                </c:pt>
                <c:pt idx="1470">
                  <c:v>127.47920678816872</c:v>
                </c:pt>
                <c:pt idx="1471">
                  <c:v>126.53767048023505</c:v>
                </c:pt>
                <c:pt idx="1472">
                  <c:v>126.44590228673739</c:v>
                </c:pt>
                <c:pt idx="1473">
                  <c:v>126.44590228673739</c:v>
                </c:pt>
                <c:pt idx="1474">
                  <c:v>126.44590228673739</c:v>
                </c:pt>
                <c:pt idx="1475">
                  <c:v>126.12572861755714</c:v>
                </c:pt>
                <c:pt idx="1476">
                  <c:v>126.76879565387546</c:v>
                </c:pt>
                <c:pt idx="1477">
                  <c:v>126.86314775427181</c:v>
                </c:pt>
                <c:pt idx="1478">
                  <c:v>126.66201517735934</c:v>
                </c:pt>
                <c:pt idx="1479">
                  <c:v>125.59941713315283</c:v>
                </c:pt>
                <c:pt idx="1480">
                  <c:v>125.59941713315283</c:v>
                </c:pt>
                <c:pt idx="1481">
                  <c:v>125.59941713315283</c:v>
                </c:pt>
                <c:pt idx="1482">
                  <c:v>125.89447647707648</c:v>
                </c:pt>
                <c:pt idx="1483">
                  <c:v>124.73046987006737</c:v>
                </c:pt>
                <c:pt idx="1484">
                  <c:v>125.53047763292325</c:v>
                </c:pt>
                <c:pt idx="1485">
                  <c:v>124.7495366770695</c:v>
                </c:pt>
                <c:pt idx="1486">
                  <c:v>126.01347839900801</c:v>
                </c:pt>
                <c:pt idx="1487">
                  <c:v>126.01347839900801</c:v>
                </c:pt>
                <c:pt idx="1488">
                  <c:v>126.01347839900801</c:v>
                </c:pt>
                <c:pt idx="1489">
                  <c:v>124.51414432626702</c:v>
                </c:pt>
                <c:pt idx="1490">
                  <c:v>124.00264225095526</c:v>
                </c:pt>
                <c:pt idx="1491">
                  <c:v>125.59111895025076</c:v>
                </c:pt>
                <c:pt idx="1492">
                  <c:v>125.71092004231696</c:v>
                </c:pt>
                <c:pt idx="1493">
                  <c:v>126.60609263233644</c:v>
                </c:pt>
                <c:pt idx="1494">
                  <c:v>126.60609263233644</c:v>
                </c:pt>
                <c:pt idx="1495">
                  <c:v>126.60609263233644</c:v>
                </c:pt>
                <c:pt idx="1496">
                  <c:v>128.50123289888259</c:v>
                </c:pt>
                <c:pt idx="1497">
                  <c:v>128.69525020267224</c:v>
                </c:pt>
                <c:pt idx="1498">
                  <c:v>128.43275144030918</c:v>
                </c:pt>
                <c:pt idx="1499">
                  <c:v>128.9969899355884</c:v>
                </c:pt>
                <c:pt idx="1500">
                  <c:v>129.37082535377178</c:v>
                </c:pt>
                <c:pt idx="1501">
                  <c:v>129.37082535377178</c:v>
                </c:pt>
                <c:pt idx="1502">
                  <c:v>129.37082535377178</c:v>
                </c:pt>
                <c:pt idx="1503">
                  <c:v>129.18681263864829</c:v>
                </c:pt>
                <c:pt idx="1504">
                  <c:v>129.07764544129174</c:v>
                </c:pt>
                <c:pt idx="1505">
                  <c:v>127.94887761824438</c:v>
                </c:pt>
                <c:pt idx="1506">
                  <c:v>129.17719695134085</c:v>
                </c:pt>
                <c:pt idx="1507">
                  <c:v>129.90180579343837</c:v>
                </c:pt>
                <c:pt idx="1508">
                  <c:v>129.90180579343837</c:v>
                </c:pt>
                <c:pt idx="1509">
                  <c:v>129.90180579343837</c:v>
                </c:pt>
                <c:pt idx="1510">
                  <c:v>129.3865459290482</c:v>
                </c:pt>
                <c:pt idx="1511">
                  <c:v>129.36570660849449</c:v>
                </c:pt>
                <c:pt idx="1512">
                  <c:v>129.19770583360739</c:v>
                </c:pt>
                <c:pt idx="1513">
                  <c:v>129.44716131958103</c:v>
                </c:pt>
                <c:pt idx="1514">
                  <c:v>130.92317299743763</c:v>
                </c:pt>
                <c:pt idx="1515">
                  <c:v>130.92317299743763</c:v>
                </c:pt>
                <c:pt idx="1516">
                  <c:v>130.92317299743763</c:v>
                </c:pt>
                <c:pt idx="1517">
                  <c:v>130.78936879455679</c:v>
                </c:pt>
                <c:pt idx="1518">
                  <c:v>130.40465581608655</c:v>
                </c:pt>
                <c:pt idx="1519">
                  <c:v>131.59786545865515</c:v>
                </c:pt>
                <c:pt idx="1520">
                  <c:v>130.70863757345342</c:v>
                </c:pt>
                <c:pt idx="1521">
                  <c:v>130.05417023630591</c:v>
                </c:pt>
                <c:pt idx="1522">
                  <c:v>130.05620815914267</c:v>
                </c:pt>
                <c:pt idx="1523">
                  <c:v>130.05620815914267</c:v>
                </c:pt>
                <c:pt idx="1524">
                  <c:v>130.51166860267296</c:v>
                </c:pt>
                <c:pt idx="1525">
                  <c:v>130.51163252924775</c:v>
                </c:pt>
                <c:pt idx="1526">
                  <c:v>130.70945522302605</c:v>
                </c:pt>
                <c:pt idx="1527">
                  <c:v>130.95025160602563</c:v>
                </c:pt>
                <c:pt idx="1528">
                  <c:v>131.31312555662169</c:v>
                </c:pt>
                <c:pt idx="1529">
                  <c:v>131.31312555662169</c:v>
                </c:pt>
                <c:pt idx="1530">
                  <c:v>131.31312555662169</c:v>
                </c:pt>
                <c:pt idx="1531">
                  <c:v>130.28026063220349</c:v>
                </c:pt>
                <c:pt idx="1532">
                  <c:v>129.82724854657008</c:v>
                </c:pt>
                <c:pt idx="1533">
                  <c:v>129.3550842923884</c:v>
                </c:pt>
                <c:pt idx="1534">
                  <c:v>128.50679460512256</c:v>
                </c:pt>
                <c:pt idx="1535">
                  <c:v>127.52384279201132</c:v>
                </c:pt>
                <c:pt idx="1536">
                  <c:v>127.52384279201132</c:v>
                </c:pt>
                <c:pt idx="1537">
                  <c:v>127.52384279201132</c:v>
                </c:pt>
                <c:pt idx="1538">
                  <c:v>128.08680078751291</c:v>
                </c:pt>
                <c:pt idx="1539">
                  <c:v>129.10768153740639</c:v>
                </c:pt>
                <c:pt idx="1540">
                  <c:v>129.47268986855704</c:v>
                </c:pt>
                <c:pt idx="1541">
                  <c:v>130.06766756706116</c:v>
                </c:pt>
                <c:pt idx="1542">
                  <c:v>130.41564991551144</c:v>
                </c:pt>
                <c:pt idx="1543">
                  <c:v>130.41564991551144</c:v>
                </c:pt>
                <c:pt idx="1544">
                  <c:v>130.41564991551144</c:v>
                </c:pt>
                <c:pt idx="1545">
                  <c:v>130.52132809020281</c:v>
                </c:pt>
                <c:pt idx="1546">
                  <c:v>130.62287229993092</c:v>
                </c:pt>
                <c:pt idx="1547">
                  <c:v>131.10555659942008</c:v>
                </c:pt>
                <c:pt idx="1548">
                  <c:v>131.49947159564701</c:v>
                </c:pt>
                <c:pt idx="1549">
                  <c:v>131.64332801998873</c:v>
                </c:pt>
                <c:pt idx="1550">
                  <c:v>131.64332801998873</c:v>
                </c:pt>
                <c:pt idx="1551">
                  <c:v>131.64332801998873</c:v>
                </c:pt>
                <c:pt idx="1552">
                  <c:v>131.52570045432338</c:v>
                </c:pt>
                <c:pt idx="1553">
                  <c:v>132.34549948762668</c:v>
                </c:pt>
                <c:pt idx="1554">
                  <c:v>132.92627398258006</c:v>
                </c:pt>
                <c:pt idx="1555">
                  <c:v>131.36471579972971</c:v>
                </c:pt>
                <c:pt idx="1556">
                  <c:v>131.50951531637898</c:v>
                </c:pt>
                <c:pt idx="1557">
                  <c:v>131.50951531637898</c:v>
                </c:pt>
                <c:pt idx="1558">
                  <c:v>131.50951531637898</c:v>
                </c:pt>
                <c:pt idx="1559">
                  <c:v>131.59852112730749</c:v>
                </c:pt>
                <c:pt idx="1560">
                  <c:v>131.29303112341105</c:v>
                </c:pt>
                <c:pt idx="1561">
                  <c:v>130.1949640239454</c:v>
                </c:pt>
                <c:pt idx="1562">
                  <c:v>130.04194304447785</c:v>
                </c:pt>
                <c:pt idx="1563">
                  <c:v>128.48525333796584</c:v>
                </c:pt>
                <c:pt idx="1564">
                  <c:v>128.48525333796584</c:v>
                </c:pt>
                <c:pt idx="1565">
                  <c:v>128.48525333796584</c:v>
                </c:pt>
                <c:pt idx="1566">
                  <c:v>128.0579065286212</c:v>
                </c:pt>
                <c:pt idx="1567">
                  <c:v>129.29298604345723</c:v>
                </c:pt>
                <c:pt idx="1568">
                  <c:v>130.36555074858111</c:v>
                </c:pt>
                <c:pt idx="1569">
                  <c:v>130.75505159612015</c:v>
                </c:pt>
                <c:pt idx="1570">
                  <c:v>129.88709254207885</c:v>
                </c:pt>
                <c:pt idx="1571">
                  <c:v>129.88709254207885</c:v>
                </c:pt>
                <c:pt idx="1572">
                  <c:v>129.88709254207885</c:v>
                </c:pt>
                <c:pt idx="1573">
                  <c:v>130.07466933746863</c:v>
                </c:pt>
                <c:pt idx="1574">
                  <c:v>130.76894314520669</c:v>
                </c:pt>
                <c:pt idx="1575">
                  <c:v>131.85470400170988</c:v>
                </c:pt>
                <c:pt idx="1576">
                  <c:v>131.86640597483535</c:v>
                </c:pt>
                <c:pt idx="1577">
                  <c:v>131.84479506207882</c:v>
                </c:pt>
                <c:pt idx="1578">
                  <c:v>131.84479506207882</c:v>
                </c:pt>
                <c:pt idx="1579">
                  <c:v>131.84479506207882</c:v>
                </c:pt>
                <c:pt idx="1580">
                  <c:v>131.90935988012404</c:v>
                </c:pt>
                <c:pt idx="1581">
                  <c:v>133.2207989106808</c:v>
                </c:pt>
                <c:pt idx="1582">
                  <c:v>132.42751568044733</c:v>
                </c:pt>
                <c:pt idx="1583">
                  <c:v>132.1674881485003</c:v>
                </c:pt>
                <c:pt idx="1584">
                  <c:v>132.16869351599223</c:v>
                </c:pt>
                <c:pt idx="1585">
                  <c:v>132.16869351599223</c:v>
                </c:pt>
                <c:pt idx="1586">
                  <c:v>132.16869351599223</c:v>
                </c:pt>
                <c:pt idx="1587">
                  <c:v>130.81613858246163</c:v>
                </c:pt>
                <c:pt idx="1588">
                  <c:v>131.20676603755993</c:v>
                </c:pt>
                <c:pt idx="1589">
                  <c:v>130.70031316892559</c:v>
                </c:pt>
                <c:pt idx="1590">
                  <c:v>129.56552861188649</c:v>
                </c:pt>
                <c:pt idx="1591">
                  <c:v>128.93918163781564</c:v>
                </c:pt>
                <c:pt idx="1592">
                  <c:v>128.93918163781564</c:v>
                </c:pt>
                <c:pt idx="1593">
                  <c:v>128.93918163781564</c:v>
                </c:pt>
                <c:pt idx="1594">
                  <c:v>128.38967121229524</c:v>
                </c:pt>
                <c:pt idx="1595">
                  <c:v>129.60423621806686</c:v>
                </c:pt>
                <c:pt idx="1596">
                  <c:v>128.77300778470104</c:v>
                </c:pt>
                <c:pt idx="1597">
                  <c:v>128.65751127401893</c:v>
                </c:pt>
                <c:pt idx="1598">
                  <c:v>127.43796157835206</c:v>
                </c:pt>
                <c:pt idx="1599">
                  <c:v>127.43796157835206</c:v>
                </c:pt>
                <c:pt idx="1600">
                  <c:v>127.43796157835206</c:v>
                </c:pt>
                <c:pt idx="1601">
                  <c:v>126.85612190031263</c:v>
                </c:pt>
                <c:pt idx="1602">
                  <c:v>128.07672896811499</c:v>
                </c:pt>
                <c:pt idx="1603">
                  <c:v>125.79497672241625</c:v>
                </c:pt>
                <c:pt idx="1604">
                  <c:v>126.49183812316635</c:v>
                </c:pt>
                <c:pt idx="1605">
                  <c:v>127.7522685739814</c:v>
                </c:pt>
                <c:pt idx="1606">
                  <c:v>127.7522685739814</c:v>
                </c:pt>
                <c:pt idx="1607">
                  <c:v>127.7522685739814</c:v>
                </c:pt>
                <c:pt idx="1608">
                  <c:v>127.75771720823607</c:v>
                </c:pt>
                <c:pt idx="1609">
                  <c:v>128.12275039057496</c:v>
                </c:pt>
                <c:pt idx="1610">
                  <c:v>129.0419837192097</c:v>
                </c:pt>
                <c:pt idx="1611">
                  <c:v>127.74012043890139</c:v>
                </c:pt>
                <c:pt idx="1612">
                  <c:v>130.45384944112229</c:v>
                </c:pt>
                <c:pt idx="1613">
                  <c:v>130.45384944112229</c:v>
                </c:pt>
                <c:pt idx="1614">
                  <c:v>130.45848968454692</c:v>
                </c:pt>
                <c:pt idx="1615">
                  <c:v>129.88416575248417</c:v>
                </c:pt>
                <c:pt idx="1616">
                  <c:v>128.13226994103147</c:v>
                </c:pt>
                <c:pt idx="1617">
                  <c:v>126.68049544556399</c:v>
                </c:pt>
                <c:pt idx="1618">
                  <c:v>127.14934502642784</c:v>
                </c:pt>
                <c:pt idx="1619">
                  <c:v>126.66881204975635</c:v>
                </c:pt>
                <c:pt idx="1620">
                  <c:v>126.66881204975635</c:v>
                </c:pt>
                <c:pt idx="1621">
                  <c:v>126.66881204975635</c:v>
                </c:pt>
                <c:pt idx="1622">
                  <c:v>125.41893794737027</c:v>
                </c:pt>
                <c:pt idx="1623">
                  <c:v>124.83297439833325</c:v>
                </c:pt>
                <c:pt idx="1624">
                  <c:v>125.37905998982799</c:v>
                </c:pt>
                <c:pt idx="1625">
                  <c:v>124.33447814321933</c:v>
                </c:pt>
                <c:pt idx="1626">
                  <c:v>125.54054620475941</c:v>
                </c:pt>
                <c:pt idx="1627">
                  <c:v>125.54054620475941</c:v>
                </c:pt>
                <c:pt idx="1628">
                  <c:v>125.54054620475941</c:v>
                </c:pt>
                <c:pt idx="1629">
                  <c:v>126.58250888555513</c:v>
                </c:pt>
                <c:pt idx="1630">
                  <c:v>127.71966158830344</c:v>
                </c:pt>
                <c:pt idx="1631">
                  <c:v>129.58844545909056</c:v>
                </c:pt>
                <c:pt idx="1632">
                  <c:v>129.44636339160476</c:v>
                </c:pt>
                <c:pt idx="1633">
                  <c:v>129.6783235080207</c:v>
                </c:pt>
                <c:pt idx="1634">
                  <c:v>129.6783235080207</c:v>
                </c:pt>
                <c:pt idx="1635">
                  <c:v>129.6783235080207</c:v>
                </c:pt>
                <c:pt idx="1636">
                  <c:v>131.15414712045225</c:v>
                </c:pt>
                <c:pt idx="1637">
                  <c:v>130.52729849737301</c:v>
                </c:pt>
                <c:pt idx="1638">
                  <c:v>131.13138405591079</c:v>
                </c:pt>
                <c:pt idx="1639">
                  <c:v>132.60093282629634</c:v>
                </c:pt>
                <c:pt idx="1640">
                  <c:v>133.36079981983877</c:v>
                </c:pt>
                <c:pt idx="1641">
                  <c:v>133.36079981983877</c:v>
                </c:pt>
                <c:pt idx="1642">
                  <c:v>133.36079981983877</c:v>
                </c:pt>
                <c:pt idx="1643">
                  <c:v>132.92839209611091</c:v>
                </c:pt>
                <c:pt idx="1644">
                  <c:v>134.35613208924585</c:v>
                </c:pt>
                <c:pt idx="1645">
                  <c:v>133.71556638896791</c:v>
                </c:pt>
                <c:pt idx="1646">
                  <c:v>133.62868336255102</c:v>
                </c:pt>
                <c:pt idx="1647">
                  <c:v>133.80360999050674</c:v>
                </c:pt>
                <c:pt idx="1648">
                  <c:v>133.80360999050674</c:v>
                </c:pt>
                <c:pt idx="1649">
                  <c:v>133.80360999050674</c:v>
                </c:pt>
                <c:pt idx="1650">
                  <c:v>133.48534472378333</c:v>
                </c:pt>
                <c:pt idx="1651">
                  <c:v>133.25568051847915</c:v>
                </c:pt>
                <c:pt idx="1652">
                  <c:v>133.43492140178776</c:v>
                </c:pt>
                <c:pt idx="1653">
                  <c:v>132.4984257524691</c:v>
                </c:pt>
                <c:pt idx="1654">
                  <c:v>133.64523540193167</c:v>
                </c:pt>
                <c:pt idx="1655">
                  <c:v>133.64523540193167</c:v>
                </c:pt>
                <c:pt idx="1656">
                  <c:v>133.64523540193167</c:v>
                </c:pt>
                <c:pt idx="1657">
                  <c:v>134.25823268541149</c:v>
                </c:pt>
                <c:pt idx="1658">
                  <c:v>134.60016558016167</c:v>
                </c:pt>
                <c:pt idx="1659">
                  <c:v>135.02344541286493</c:v>
                </c:pt>
                <c:pt idx="1660">
                  <c:v>134.06973161041134</c:v>
                </c:pt>
                <c:pt idx="1661">
                  <c:v>133.85342886822036</c:v>
                </c:pt>
                <c:pt idx="1662">
                  <c:v>133.85342886822036</c:v>
                </c:pt>
                <c:pt idx="1663">
                  <c:v>133.85342886822036</c:v>
                </c:pt>
                <c:pt idx="1664">
                  <c:v>134.32615500735142</c:v>
                </c:pt>
                <c:pt idx="1665">
                  <c:v>135.05830911804983</c:v>
                </c:pt>
                <c:pt idx="1666">
                  <c:v>135.08495612243883</c:v>
                </c:pt>
                <c:pt idx="1667">
                  <c:v>134.46238468175909</c:v>
                </c:pt>
                <c:pt idx="1668">
                  <c:v>134.44422957057935</c:v>
                </c:pt>
                <c:pt idx="1669">
                  <c:v>134.44422957057935</c:v>
                </c:pt>
                <c:pt idx="1670">
                  <c:v>134.44422957057935</c:v>
                </c:pt>
                <c:pt idx="1671">
                  <c:v>134.1153494073192</c:v>
                </c:pt>
                <c:pt idx="1672">
                  <c:v>134.63706079882067</c:v>
                </c:pt>
                <c:pt idx="1673">
                  <c:v>135.02357821933251</c:v>
                </c:pt>
                <c:pt idx="1674">
                  <c:v>135.11060631643798</c:v>
                </c:pt>
                <c:pt idx="1675">
                  <c:v>135.64319611326462</c:v>
                </c:pt>
                <c:pt idx="1676">
                  <c:v>135.64319611326462</c:v>
                </c:pt>
                <c:pt idx="1677">
                  <c:v>135.64319611326462</c:v>
                </c:pt>
                <c:pt idx="1678">
                  <c:v>135.40935809462104</c:v>
                </c:pt>
                <c:pt idx="1679">
                  <c:v>135.360268140031</c:v>
                </c:pt>
                <c:pt idx="1680">
                  <c:v>136.39729699431879</c:v>
                </c:pt>
                <c:pt idx="1681">
                  <c:v>136.14517750260856</c:v>
                </c:pt>
                <c:pt idx="1682">
                  <c:v>137.02333159637345</c:v>
                </c:pt>
                <c:pt idx="1683">
                  <c:v>137.02333159637345</c:v>
                </c:pt>
                <c:pt idx="1684">
                  <c:v>137.02333159637345</c:v>
                </c:pt>
                <c:pt idx="1685">
                  <c:v>136.4755082059512</c:v>
                </c:pt>
                <c:pt idx="1686">
                  <c:v>136.85481868017325</c:v>
                </c:pt>
                <c:pt idx="1687">
                  <c:v>138.11082020118877</c:v>
                </c:pt>
                <c:pt idx="1688">
                  <c:v>138.5706449848584</c:v>
                </c:pt>
                <c:pt idx="1689">
                  <c:v>138.25611179204597</c:v>
                </c:pt>
                <c:pt idx="1690">
                  <c:v>138.25611179204597</c:v>
                </c:pt>
                <c:pt idx="1691">
                  <c:v>138.25611179204597</c:v>
                </c:pt>
                <c:pt idx="1692">
                  <c:v>138.00385383815356</c:v>
                </c:pt>
                <c:pt idx="1693">
                  <c:v>138.46261452931358</c:v>
                </c:pt>
                <c:pt idx="1694">
                  <c:v>138.3191575682782</c:v>
                </c:pt>
                <c:pt idx="1695">
                  <c:v>138.25926122347641</c:v>
                </c:pt>
                <c:pt idx="1696">
                  <c:v>136.99659469442688</c:v>
                </c:pt>
                <c:pt idx="1697">
                  <c:v>136.99659469442688</c:v>
                </c:pt>
                <c:pt idx="1698">
                  <c:v>136.99659469442688</c:v>
                </c:pt>
                <c:pt idx="1699">
                  <c:v>136.4274574113943</c:v>
                </c:pt>
                <c:pt idx="1700">
                  <c:v>135.63521634483345</c:v>
                </c:pt>
                <c:pt idx="1701">
                  <c:v>136.2649516653922</c:v>
                </c:pt>
                <c:pt idx="1702">
                  <c:v>135.75367330289799</c:v>
                </c:pt>
                <c:pt idx="1703">
                  <c:v>134.78393730070974</c:v>
                </c:pt>
                <c:pt idx="1704">
                  <c:v>134.78633241127557</c:v>
                </c:pt>
                <c:pt idx="1705">
                  <c:v>134.78633241127557</c:v>
                </c:pt>
                <c:pt idx="1706">
                  <c:v>134.83139283006398</c:v>
                </c:pt>
                <c:pt idx="1707">
                  <c:v>134.85351596499953</c:v>
                </c:pt>
                <c:pt idx="1708">
                  <c:v>134.46838106607927</c:v>
                </c:pt>
                <c:pt idx="1709">
                  <c:v>134.15126428301113</c:v>
                </c:pt>
                <c:pt idx="1710">
                  <c:v>134.68882315563224</c:v>
                </c:pt>
                <c:pt idx="1711">
                  <c:v>134.68882315563224</c:v>
                </c:pt>
                <c:pt idx="1712">
                  <c:v>134.68882315563224</c:v>
                </c:pt>
                <c:pt idx="1713">
                  <c:v>135.21092148149509</c:v>
                </c:pt>
                <c:pt idx="1714">
                  <c:v>135.75195581482038</c:v>
                </c:pt>
                <c:pt idx="1715">
                  <c:v>135.63400637049111</c:v>
                </c:pt>
                <c:pt idx="1716">
                  <c:v>134.99269487986984</c:v>
                </c:pt>
                <c:pt idx="1717">
                  <c:v>135.5148277246879</c:v>
                </c:pt>
                <c:pt idx="1718">
                  <c:v>135.5148277246879</c:v>
                </c:pt>
                <c:pt idx="1719">
                  <c:v>135.5148277246879</c:v>
                </c:pt>
                <c:pt idx="1720">
                  <c:v>135.75786137187765</c:v>
                </c:pt>
                <c:pt idx="1721">
                  <c:v>135.43863354875475</c:v>
                </c:pt>
                <c:pt idx="1722">
                  <c:v>134.52488732681374</c:v>
                </c:pt>
                <c:pt idx="1723">
                  <c:v>133.43835402635477</c:v>
                </c:pt>
                <c:pt idx="1724">
                  <c:v>134.7512886855921</c:v>
                </c:pt>
                <c:pt idx="1725">
                  <c:v>134.7512886855921</c:v>
                </c:pt>
                <c:pt idx="1726">
                  <c:v>134.7512886855921</c:v>
                </c:pt>
                <c:pt idx="1727">
                  <c:v>134.76196368268177</c:v>
                </c:pt>
                <c:pt idx="1728">
                  <c:v>135.00097884908902</c:v>
                </c:pt>
                <c:pt idx="1729">
                  <c:v>135.07484058463695</c:v>
                </c:pt>
                <c:pt idx="1730">
                  <c:v>135.53010628258224</c:v>
                </c:pt>
                <c:pt idx="1731">
                  <c:v>135.96821954885027</c:v>
                </c:pt>
                <c:pt idx="1732">
                  <c:v>135.96821954885027</c:v>
                </c:pt>
                <c:pt idx="1733">
                  <c:v>135.96821954885027</c:v>
                </c:pt>
                <c:pt idx="1734">
                  <c:v>135.99101326117542</c:v>
                </c:pt>
                <c:pt idx="1735">
                  <c:v>136.05659900705101</c:v>
                </c:pt>
                <c:pt idx="1736">
                  <c:v>136.67255036037776</c:v>
                </c:pt>
                <c:pt idx="1737">
                  <c:v>136.76111690646229</c:v>
                </c:pt>
                <c:pt idx="1738">
                  <c:v>137.07412617755963</c:v>
                </c:pt>
                <c:pt idx="1739">
                  <c:v>137.07412617755963</c:v>
                </c:pt>
                <c:pt idx="1740">
                  <c:v>137.07412617755963</c:v>
                </c:pt>
                <c:pt idx="1741">
                  <c:v>138.04265494311622</c:v>
                </c:pt>
                <c:pt idx="1742">
                  <c:v>137.85807948961832</c:v>
                </c:pt>
                <c:pt idx="1743">
                  <c:v>138.237395995334</c:v>
                </c:pt>
                <c:pt idx="1744">
                  <c:v>138.09787160918194</c:v>
                </c:pt>
                <c:pt idx="1745">
                  <c:v>137.54510311555572</c:v>
                </c:pt>
                <c:pt idx="1746">
                  <c:v>137.54510311555572</c:v>
                </c:pt>
                <c:pt idx="1747">
                  <c:v>137.54510311555572</c:v>
                </c:pt>
                <c:pt idx="1748">
                  <c:v>137.02441512410354</c:v>
                </c:pt>
                <c:pt idx="1749">
                  <c:v>136.91985590365479</c:v>
                </c:pt>
                <c:pt idx="1750">
                  <c:v>136.73409262755462</c:v>
                </c:pt>
                <c:pt idx="1751">
                  <c:v>137.12578931334107</c:v>
                </c:pt>
                <c:pt idx="1752">
                  <c:v>136.52580090723211</c:v>
                </c:pt>
                <c:pt idx="1753">
                  <c:v>136.52580090723211</c:v>
                </c:pt>
                <c:pt idx="1754">
                  <c:v>136.52580090723211</c:v>
                </c:pt>
                <c:pt idx="1755">
                  <c:v>136.29457398452558</c:v>
                </c:pt>
                <c:pt idx="1756">
                  <c:v>136.48077009088308</c:v>
                </c:pt>
                <c:pt idx="1757">
                  <c:v>136.59390309563452</c:v>
                </c:pt>
                <c:pt idx="1758">
                  <c:v>137.14905759816901</c:v>
                </c:pt>
                <c:pt idx="1759">
                  <c:v>140.79074223730879</c:v>
                </c:pt>
                <c:pt idx="1760">
                  <c:v>140.79074223730879</c:v>
                </c:pt>
                <c:pt idx="1761">
                  <c:v>140.79074223730879</c:v>
                </c:pt>
                <c:pt idx="1762">
                  <c:v>141.29798030762652</c:v>
                </c:pt>
                <c:pt idx="1763">
                  <c:v>142.22798807123348</c:v>
                </c:pt>
                <c:pt idx="1764">
                  <c:v>143.52129845692258</c:v>
                </c:pt>
                <c:pt idx="1765">
                  <c:v>145.50742942732259</c:v>
                </c:pt>
                <c:pt idx="1766">
                  <c:v>146.83879621524528</c:v>
                </c:pt>
                <c:pt idx="1767">
                  <c:v>146.83879621524528</c:v>
                </c:pt>
                <c:pt idx="1768">
                  <c:v>146.83879621524528</c:v>
                </c:pt>
                <c:pt idx="1769">
                  <c:v>146.44841646517929</c:v>
                </c:pt>
                <c:pt idx="1770">
                  <c:v>147.59098211420982</c:v>
                </c:pt>
                <c:pt idx="1771">
                  <c:v>148.05614018480972</c:v>
                </c:pt>
                <c:pt idx="1772">
                  <c:v>148.25738401279452</c:v>
                </c:pt>
                <c:pt idx="1773">
                  <c:v>148.89787518518972</c:v>
                </c:pt>
                <c:pt idx="1774">
                  <c:v>148.89787518518972</c:v>
                </c:pt>
                <c:pt idx="1775">
                  <c:v>148.89787518518972</c:v>
                </c:pt>
                <c:pt idx="1776">
                  <c:v>149.76933573520108</c:v>
                </c:pt>
                <c:pt idx="1777">
                  <c:v>148.58336029170147</c:v>
                </c:pt>
                <c:pt idx="1778">
                  <c:v>148.81262144496435</c:v>
                </c:pt>
                <c:pt idx="1779">
                  <c:v>148.2898025264204</c:v>
                </c:pt>
                <c:pt idx="1780">
                  <c:v>148.49791540108203</c:v>
                </c:pt>
                <c:pt idx="1781">
                  <c:v>148.49791540108203</c:v>
                </c:pt>
                <c:pt idx="1782">
                  <c:v>148.49791540108203</c:v>
                </c:pt>
                <c:pt idx="1783">
                  <c:v>148.18895360825684</c:v>
                </c:pt>
                <c:pt idx="1784">
                  <c:v>148.80741131480369</c:v>
                </c:pt>
                <c:pt idx="1785">
                  <c:v>149.2755311573919</c:v>
                </c:pt>
                <c:pt idx="1786">
                  <c:v>148.67292524392855</c:v>
                </c:pt>
                <c:pt idx="1787">
                  <c:v>149.87473770243037</c:v>
                </c:pt>
                <c:pt idx="1788">
                  <c:v>149.87473770243037</c:v>
                </c:pt>
                <c:pt idx="1789">
                  <c:v>149.87473770243037</c:v>
                </c:pt>
                <c:pt idx="1790">
                  <c:v>149.46597383906288</c:v>
                </c:pt>
                <c:pt idx="1791">
                  <c:v>149.66223013601228</c:v>
                </c:pt>
                <c:pt idx="1792">
                  <c:v>150.15456349813462</c:v>
                </c:pt>
                <c:pt idx="1793">
                  <c:v>150.077127288193</c:v>
                </c:pt>
                <c:pt idx="1794">
                  <c:v>149.73754777227802</c:v>
                </c:pt>
                <c:pt idx="1795">
                  <c:v>149.73754777227802</c:v>
                </c:pt>
                <c:pt idx="1796">
                  <c:v>149.74289939223539</c:v>
                </c:pt>
                <c:pt idx="1797">
                  <c:v>150.06108957658296</c:v>
                </c:pt>
                <c:pt idx="1798">
                  <c:v>148.82675758243809</c:v>
                </c:pt>
                <c:pt idx="1799">
                  <c:v>148.55267227260398</c:v>
                </c:pt>
                <c:pt idx="1800">
                  <c:v>150.35276522097416</c:v>
                </c:pt>
                <c:pt idx="1801">
                  <c:v>150.9956059863147</c:v>
                </c:pt>
                <c:pt idx="1802">
                  <c:v>150.9956059863147</c:v>
                </c:pt>
                <c:pt idx="1803">
                  <c:v>150.9956059863147</c:v>
                </c:pt>
                <c:pt idx="1804">
                  <c:v>150.90788508901696</c:v>
                </c:pt>
                <c:pt idx="1805">
                  <c:v>151.98410881679089</c:v>
                </c:pt>
                <c:pt idx="1806">
                  <c:v>152.30731214323632</c:v>
                </c:pt>
                <c:pt idx="1807">
                  <c:v>153.3442721087936</c:v>
                </c:pt>
                <c:pt idx="1808">
                  <c:v>153.8486336873012</c:v>
                </c:pt>
                <c:pt idx="1809">
                  <c:v>153.8486336873012</c:v>
                </c:pt>
                <c:pt idx="1810">
                  <c:v>153.8486336873012</c:v>
                </c:pt>
                <c:pt idx="1811">
                  <c:v>154.4670651940794</c:v>
                </c:pt>
                <c:pt idx="1812">
                  <c:v>153.19358927915854</c:v>
                </c:pt>
                <c:pt idx="1813">
                  <c:v>152.4689453034708</c:v>
                </c:pt>
                <c:pt idx="1814">
                  <c:v>152.0577030148194</c:v>
                </c:pt>
                <c:pt idx="1815">
                  <c:v>152.44145103991789</c:v>
                </c:pt>
                <c:pt idx="1816">
                  <c:v>152.44145103991789</c:v>
                </c:pt>
                <c:pt idx="1817">
                  <c:v>152.44145103991789</c:v>
                </c:pt>
                <c:pt idx="1818">
                  <c:v>151.90065737028124</c:v>
                </c:pt>
                <c:pt idx="1819">
                  <c:v>152.20125510015788</c:v>
                </c:pt>
                <c:pt idx="1820">
                  <c:v>151.09526793783454</c:v>
                </c:pt>
                <c:pt idx="1821">
                  <c:v>150.52681429889344</c:v>
                </c:pt>
                <c:pt idx="1822">
                  <c:v>150.59553581069346</c:v>
                </c:pt>
                <c:pt idx="1823">
                  <c:v>150.59553581069346</c:v>
                </c:pt>
                <c:pt idx="1824">
                  <c:v>150.59553581069346</c:v>
                </c:pt>
                <c:pt idx="1825">
                  <c:v>151.15755835033897</c:v>
                </c:pt>
                <c:pt idx="1826">
                  <c:v>150.93790979072452</c:v>
                </c:pt>
                <c:pt idx="1827">
                  <c:v>150.42690195023255</c:v>
                </c:pt>
                <c:pt idx="1828">
                  <c:v>149.2566558665107</c:v>
                </c:pt>
                <c:pt idx="1829">
                  <c:v>150.42036971300479</c:v>
                </c:pt>
                <c:pt idx="1830">
                  <c:v>150.42036971300479</c:v>
                </c:pt>
                <c:pt idx="1831">
                  <c:v>150.42036971300479</c:v>
                </c:pt>
                <c:pt idx="1832">
                  <c:v>150.634166697089</c:v>
                </c:pt>
                <c:pt idx="1833">
                  <c:v>150.0460894039619</c:v>
                </c:pt>
                <c:pt idx="1834">
                  <c:v>150.86422771012417</c:v>
                </c:pt>
                <c:pt idx="1835">
                  <c:v>150.657846955259</c:v>
                </c:pt>
                <c:pt idx="1836">
                  <c:v>149.16620771781049</c:v>
                </c:pt>
                <c:pt idx="1837">
                  <c:v>149.16620771781049</c:v>
                </c:pt>
                <c:pt idx="1838">
                  <c:v>149.16620771781049</c:v>
                </c:pt>
                <c:pt idx="1839">
                  <c:v>148.37862356601914</c:v>
                </c:pt>
                <c:pt idx="1840">
                  <c:v>148.4088423564946</c:v>
                </c:pt>
                <c:pt idx="1841">
                  <c:v>148.17915444344473</c:v>
                </c:pt>
                <c:pt idx="1842">
                  <c:v>148.55481823578975</c:v>
                </c:pt>
                <c:pt idx="1843">
                  <c:v>148.58571466688645</c:v>
                </c:pt>
                <c:pt idx="1844">
                  <c:v>148.58571466688645</c:v>
                </c:pt>
                <c:pt idx="1845">
                  <c:v>148.58571466688645</c:v>
                </c:pt>
                <c:pt idx="1846">
                  <c:v>149.2873780155436</c:v>
                </c:pt>
                <c:pt idx="1847">
                  <c:v>149.92737599084379</c:v>
                </c:pt>
                <c:pt idx="1848">
                  <c:v>150.49363819649736</c:v>
                </c:pt>
                <c:pt idx="1849">
                  <c:v>151.33369067503745</c:v>
                </c:pt>
                <c:pt idx="1850">
                  <c:v>151.97844635082154</c:v>
                </c:pt>
                <c:pt idx="1851">
                  <c:v>151.97844635082154</c:v>
                </c:pt>
                <c:pt idx="1852">
                  <c:v>151.97844635082154</c:v>
                </c:pt>
                <c:pt idx="1853">
                  <c:v>150.85889256642483</c:v>
                </c:pt>
                <c:pt idx="1854">
                  <c:v>150.62023681556261</c:v>
                </c:pt>
                <c:pt idx="1855">
                  <c:v>150.99403858827964</c:v>
                </c:pt>
                <c:pt idx="1856">
                  <c:v>151.10024628508225</c:v>
                </c:pt>
                <c:pt idx="1857">
                  <c:v>150.96521403898711</c:v>
                </c:pt>
                <c:pt idx="1858">
                  <c:v>150.96521403898711</c:v>
                </c:pt>
                <c:pt idx="1859">
                  <c:v>150.96521403898711</c:v>
                </c:pt>
                <c:pt idx="1860">
                  <c:v>152.29415326991162</c:v>
                </c:pt>
                <c:pt idx="1861">
                  <c:v>152.80233906113341</c:v>
                </c:pt>
                <c:pt idx="1862">
                  <c:v>152.36309956936185</c:v>
                </c:pt>
                <c:pt idx="1863">
                  <c:v>152.35747280009474</c:v>
                </c:pt>
                <c:pt idx="1864">
                  <c:v>152.87771262671794</c:v>
                </c:pt>
                <c:pt idx="1865">
                  <c:v>152.87771262671794</c:v>
                </c:pt>
                <c:pt idx="1866">
                  <c:v>152.87771262671794</c:v>
                </c:pt>
                <c:pt idx="1867">
                  <c:v>153.70989634029297</c:v>
                </c:pt>
                <c:pt idx="1868">
                  <c:v>153.59843053476388</c:v>
                </c:pt>
                <c:pt idx="1869">
                  <c:v>153.10410470577384</c:v>
                </c:pt>
                <c:pt idx="1870">
                  <c:v>152.76484744432051</c:v>
                </c:pt>
                <c:pt idx="1871">
                  <c:v>152.91756646231059</c:v>
                </c:pt>
                <c:pt idx="1872">
                  <c:v>152.91756646231059</c:v>
                </c:pt>
                <c:pt idx="1873">
                  <c:v>152.91756646231059</c:v>
                </c:pt>
                <c:pt idx="1874">
                  <c:v>152.28531349201552</c:v>
                </c:pt>
                <c:pt idx="1875">
                  <c:v>152.43365004732868</c:v>
                </c:pt>
                <c:pt idx="1876">
                  <c:v>152.72106521882941</c:v>
                </c:pt>
                <c:pt idx="1877">
                  <c:v>153.26305242555256</c:v>
                </c:pt>
                <c:pt idx="1878">
                  <c:v>153.21126637276851</c:v>
                </c:pt>
                <c:pt idx="1879">
                  <c:v>153.21126637276851</c:v>
                </c:pt>
                <c:pt idx="1880">
                  <c:v>153.21126637276851</c:v>
                </c:pt>
                <c:pt idx="1881">
                  <c:v>152.74553016891059</c:v>
                </c:pt>
                <c:pt idx="1882">
                  <c:v>153.20872487932661</c:v>
                </c:pt>
                <c:pt idx="1883">
                  <c:v>151.89294383666697</c:v>
                </c:pt>
                <c:pt idx="1884">
                  <c:v>152.01515689927794</c:v>
                </c:pt>
                <c:pt idx="1885">
                  <c:v>151.88773475446183</c:v>
                </c:pt>
                <c:pt idx="1886">
                  <c:v>151.88773475446183</c:v>
                </c:pt>
                <c:pt idx="1887">
                  <c:v>151.88773475446183</c:v>
                </c:pt>
                <c:pt idx="1888">
                  <c:v>151.45208883476172</c:v>
                </c:pt>
                <c:pt idx="1889">
                  <c:v>151.37031833747895</c:v>
                </c:pt>
                <c:pt idx="1890">
                  <c:v>150.11554467954269</c:v>
                </c:pt>
                <c:pt idx="1891">
                  <c:v>148.40979075228174</c:v>
                </c:pt>
                <c:pt idx="1892">
                  <c:v>147.38710185240359</c:v>
                </c:pt>
                <c:pt idx="1893">
                  <c:v>147.38710185240359</c:v>
                </c:pt>
                <c:pt idx="1894">
                  <c:v>147.38710185240359</c:v>
                </c:pt>
                <c:pt idx="1895">
                  <c:v>149.19888727934463</c:v>
                </c:pt>
                <c:pt idx="1896">
                  <c:v>149.26750981555989</c:v>
                </c:pt>
                <c:pt idx="1897">
                  <c:v>149.55643350023399</c:v>
                </c:pt>
                <c:pt idx="1898">
                  <c:v>148.2309178212501</c:v>
                </c:pt>
                <c:pt idx="1899">
                  <c:v>146.33978777168659</c:v>
                </c:pt>
                <c:pt idx="1900">
                  <c:v>146.33978777168659</c:v>
                </c:pt>
                <c:pt idx="1901">
                  <c:v>146.33978777168659</c:v>
                </c:pt>
                <c:pt idx="1902">
                  <c:v>146.37271276053733</c:v>
                </c:pt>
                <c:pt idx="1903">
                  <c:v>147.09398625857179</c:v>
                </c:pt>
                <c:pt idx="1904">
                  <c:v>146.89073767211914</c:v>
                </c:pt>
                <c:pt idx="1905">
                  <c:v>147.69371295178902</c:v>
                </c:pt>
                <c:pt idx="1906">
                  <c:v>147.51119306132321</c:v>
                </c:pt>
                <c:pt idx="1907">
                  <c:v>147.51119306132321</c:v>
                </c:pt>
                <c:pt idx="1908">
                  <c:v>147.51119306132321</c:v>
                </c:pt>
                <c:pt idx="1909">
                  <c:v>146.96232013817325</c:v>
                </c:pt>
                <c:pt idx="1910">
                  <c:v>147.34688525901802</c:v>
                </c:pt>
                <c:pt idx="1911">
                  <c:v>147.17399579119936</c:v>
                </c:pt>
                <c:pt idx="1912">
                  <c:v>147.11637128488726</c:v>
                </c:pt>
                <c:pt idx="1913">
                  <c:v>147.56036849342505</c:v>
                </c:pt>
                <c:pt idx="1914">
                  <c:v>147.56036849342505</c:v>
                </c:pt>
                <c:pt idx="1915">
                  <c:v>147.56036849342505</c:v>
                </c:pt>
                <c:pt idx="1916">
                  <c:v>147.34291025397997</c:v>
                </c:pt>
                <c:pt idx="1917">
                  <c:v>146.68329435392957</c:v>
                </c:pt>
                <c:pt idx="1918">
                  <c:v>146.37502180884945</c:v>
                </c:pt>
                <c:pt idx="1919">
                  <c:v>144.63494482459021</c:v>
                </c:pt>
                <c:pt idx="1920">
                  <c:v>144.2907440292461</c:v>
                </c:pt>
                <c:pt idx="1921">
                  <c:v>144.2907440292461</c:v>
                </c:pt>
                <c:pt idx="1922">
                  <c:v>144.2907440292461</c:v>
                </c:pt>
                <c:pt idx="1923">
                  <c:v>144.69335704940349</c:v>
                </c:pt>
                <c:pt idx="1924">
                  <c:v>144.95952192662944</c:v>
                </c:pt>
                <c:pt idx="1925">
                  <c:v>146.99025697010916</c:v>
                </c:pt>
                <c:pt idx="1926">
                  <c:v>147.45611172162197</c:v>
                </c:pt>
                <c:pt idx="1927">
                  <c:v>147.64297253007896</c:v>
                </c:pt>
                <c:pt idx="1928">
                  <c:v>147.64297253007896</c:v>
                </c:pt>
                <c:pt idx="1929">
                  <c:v>147.64297253007896</c:v>
                </c:pt>
                <c:pt idx="1930">
                  <c:v>146.86324489284229</c:v>
                </c:pt>
                <c:pt idx="1931">
                  <c:v>148.07062818996064</c:v>
                </c:pt>
                <c:pt idx="1932">
                  <c:v>147.26520689215906</c:v>
                </c:pt>
                <c:pt idx="1933">
                  <c:v>148.64924065018121</c:v>
                </c:pt>
                <c:pt idx="1934">
                  <c:v>148.63602424619501</c:v>
                </c:pt>
                <c:pt idx="1935">
                  <c:v>148.63602424619501</c:v>
                </c:pt>
                <c:pt idx="1936">
                  <c:v>148.63602424619501</c:v>
                </c:pt>
                <c:pt idx="1937">
                  <c:v>149.35991587055958</c:v>
                </c:pt>
                <c:pt idx="1938">
                  <c:v>149.81548751155131</c:v>
                </c:pt>
                <c:pt idx="1939">
                  <c:v>149.54366079285546</c:v>
                </c:pt>
                <c:pt idx="1940">
                  <c:v>149.97323243566598</c:v>
                </c:pt>
                <c:pt idx="1941">
                  <c:v>150.45994806555106</c:v>
                </c:pt>
                <c:pt idx="1942">
                  <c:v>150.45994806555106</c:v>
                </c:pt>
                <c:pt idx="1943">
                  <c:v>150.45994806555106</c:v>
                </c:pt>
                <c:pt idx="1944">
                  <c:v>150.46502909799722</c:v>
                </c:pt>
                <c:pt idx="1945">
                  <c:v>150.48439244259183</c:v>
                </c:pt>
                <c:pt idx="1946">
                  <c:v>150.49740482800635</c:v>
                </c:pt>
                <c:pt idx="1947">
                  <c:v>151.11302800722174</c:v>
                </c:pt>
                <c:pt idx="1948">
                  <c:v>150.71748361189171</c:v>
                </c:pt>
                <c:pt idx="1949">
                  <c:v>150.71981068983868</c:v>
                </c:pt>
                <c:pt idx="1950">
                  <c:v>150.71981068983868</c:v>
                </c:pt>
                <c:pt idx="1951">
                  <c:v>150.86854250622551</c:v>
                </c:pt>
                <c:pt idx="1952">
                  <c:v>151.50105585331201</c:v>
                </c:pt>
                <c:pt idx="1953">
                  <c:v>151.62852278166474</c:v>
                </c:pt>
                <c:pt idx="1954">
                  <c:v>151.9005746772396</c:v>
                </c:pt>
                <c:pt idx="1955">
                  <c:v>152.41116567393095</c:v>
                </c:pt>
                <c:pt idx="1956">
                  <c:v>152.41116567393095</c:v>
                </c:pt>
                <c:pt idx="1957">
                  <c:v>152.41116567393095</c:v>
                </c:pt>
                <c:pt idx="1958">
                  <c:v>153.36044795054943</c:v>
                </c:pt>
                <c:pt idx="1959">
                  <c:v>153.35237198936034</c:v>
                </c:pt>
                <c:pt idx="1960">
                  <c:v>153.66638244034064</c:v>
                </c:pt>
                <c:pt idx="1961">
                  <c:v>152.97870540229039</c:v>
                </c:pt>
                <c:pt idx="1962">
                  <c:v>153.79577537635342</c:v>
                </c:pt>
                <c:pt idx="1963">
                  <c:v>153.79577537635342</c:v>
                </c:pt>
                <c:pt idx="1964">
                  <c:v>153.79577537635342</c:v>
                </c:pt>
                <c:pt idx="1965">
                  <c:v>154.11125665038293</c:v>
                </c:pt>
                <c:pt idx="1966">
                  <c:v>151.75124926386621</c:v>
                </c:pt>
                <c:pt idx="1967">
                  <c:v>152.02945482914166</c:v>
                </c:pt>
                <c:pt idx="1968">
                  <c:v>151.32391501487601</c:v>
                </c:pt>
                <c:pt idx="1969">
                  <c:v>151.40473711788547</c:v>
                </c:pt>
                <c:pt idx="1970">
                  <c:v>151.40473711788547</c:v>
                </c:pt>
                <c:pt idx="1971">
                  <c:v>151.40473711788547</c:v>
                </c:pt>
                <c:pt idx="1972">
                  <c:v>150.2602520554903</c:v>
                </c:pt>
                <c:pt idx="1973">
                  <c:v>150.20641380717882</c:v>
                </c:pt>
                <c:pt idx="1974">
                  <c:v>150.08921074661336</c:v>
                </c:pt>
                <c:pt idx="1975">
                  <c:v>149.99890356939923</c:v>
                </c:pt>
                <c:pt idx="1976">
                  <c:v>150.30462533469822</c:v>
                </c:pt>
                <c:pt idx="1977">
                  <c:v>150.30462533469822</c:v>
                </c:pt>
                <c:pt idx="1978">
                  <c:v>150.30462533469822</c:v>
                </c:pt>
                <c:pt idx="1979">
                  <c:v>150.29766773359148</c:v>
                </c:pt>
                <c:pt idx="1980">
                  <c:v>149.89713947884823</c:v>
                </c:pt>
                <c:pt idx="1981">
                  <c:v>149.39360650688229</c:v>
                </c:pt>
                <c:pt idx="1982">
                  <c:v>150.37613389634853</c:v>
                </c:pt>
                <c:pt idx="1983">
                  <c:v>151.04171370258717</c:v>
                </c:pt>
                <c:pt idx="1984">
                  <c:v>151.04171370258717</c:v>
                </c:pt>
                <c:pt idx="1985">
                  <c:v>151.04171370258717</c:v>
                </c:pt>
                <c:pt idx="1986">
                  <c:v>151.35476728965858</c:v>
                </c:pt>
                <c:pt idx="1987">
                  <c:v>151.68503095962299</c:v>
                </c:pt>
                <c:pt idx="1988">
                  <c:v>151.54897858795408</c:v>
                </c:pt>
                <c:pt idx="1989">
                  <c:v>151.97477666015394</c:v>
                </c:pt>
                <c:pt idx="1990">
                  <c:v>152.24733430360732</c:v>
                </c:pt>
                <c:pt idx="1991">
                  <c:v>152.24733430360732</c:v>
                </c:pt>
                <c:pt idx="1992">
                  <c:v>152.24733430360732</c:v>
                </c:pt>
                <c:pt idx="1993">
                  <c:v>152.59584519903504</c:v>
                </c:pt>
                <c:pt idx="1994">
                  <c:v>152.61835156024344</c:v>
                </c:pt>
                <c:pt idx="1995">
                  <c:v>153.20726151959246</c:v>
                </c:pt>
                <c:pt idx="1996">
                  <c:v>152.78361739625635</c:v>
                </c:pt>
                <c:pt idx="1997">
                  <c:v>153.59652402231958</c:v>
                </c:pt>
                <c:pt idx="1998">
                  <c:v>153.59652402231958</c:v>
                </c:pt>
                <c:pt idx="1999">
                  <c:v>153.59652402231958</c:v>
                </c:pt>
                <c:pt idx="2000">
                  <c:v>153.34542288888267</c:v>
                </c:pt>
                <c:pt idx="2001">
                  <c:v>153.57010920286214</c:v>
                </c:pt>
                <c:pt idx="2002">
                  <c:v>153.84808645753023</c:v>
                </c:pt>
                <c:pt idx="2003">
                  <c:v>153.52537778833863</c:v>
                </c:pt>
                <c:pt idx="2004">
                  <c:v>153.79732803679155</c:v>
                </c:pt>
                <c:pt idx="2005">
                  <c:v>153.79732803679155</c:v>
                </c:pt>
                <c:pt idx="2006">
                  <c:v>153.79732803679155</c:v>
                </c:pt>
                <c:pt idx="2007">
                  <c:v>154.15665550009689</c:v>
                </c:pt>
                <c:pt idx="2008">
                  <c:v>154.08042503395211</c:v>
                </c:pt>
                <c:pt idx="2009">
                  <c:v>155.69419098795797</c:v>
                </c:pt>
                <c:pt idx="2010">
                  <c:v>155.77415241056556</c:v>
                </c:pt>
                <c:pt idx="2011">
                  <c:v>155.43714749375749</c:v>
                </c:pt>
                <c:pt idx="2012">
                  <c:v>155.43714749375749</c:v>
                </c:pt>
                <c:pt idx="2013">
                  <c:v>155.43714749375749</c:v>
                </c:pt>
                <c:pt idx="2014">
                  <c:v>155.19668156347024</c:v>
                </c:pt>
                <c:pt idx="2015">
                  <c:v>155.24367667061446</c:v>
                </c:pt>
                <c:pt idx="2016">
                  <c:v>155.28074109841958</c:v>
                </c:pt>
                <c:pt idx="2017">
                  <c:v>155.37583191865343</c:v>
                </c:pt>
                <c:pt idx="2018">
                  <c:v>155.66039343226251</c:v>
                </c:pt>
                <c:pt idx="2019">
                  <c:v>155.66039343226251</c:v>
                </c:pt>
                <c:pt idx="2020">
                  <c:v>155.66039343226251</c:v>
                </c:pt>
                <c:pt idx="2021">
                  <c:v>155.42808741770813</c:v>
                </c:pt>
                <c:pt idx="2022">
                  <c:v>155.79329368615177</c:v>
                </c:pt>
                <c:pt idx="2023">
                  <c:v>155.96977009750768</c:v>
                </c:pt>
                <c:pt idx="2024">
                  <c:v>155.8695189680798</c:v>
                </c:pt>
                <c:pt idx="2025">
                  <c:v>155.94135299459143</c:v>
                </c:pt>
                <c:pt idx="2026">
                  <c:v>155.94135299459143</c:v>
                </c:pt>
                <c:pt idx="2027">
                  <c:v>155.94135299459143</c:v>
                </c:pt>
                <c:pt idx="2028">
                  <c:v>156.06905804679931</c:v>
                </c:pt>
                <c:pt idx="2029">
                  <c:v>155.01816392306003</c:v>
                </c:pt>
                <c:pt idx="2030">
                  <c:v>154.81922291257101</c:v>
                </c:pt>
                <c:pt idx="2031">
                  <c:v>154.75143376762651</c:v>
                </c:pt>
                <c:pt idx="2032">
                  <c:v>155.11348403201191</c:v>
                </c:pt>
                <c:pt idx="2033">
                  <c:v>155.11348403201191</c:v>
                </c:pt>
                <c:pt idx="2034">
                  <c:v>155.11348403201191</c:v>
                </c:pt>
                <c:pt idx="2035">
                  <c:v>154.69917901843209</c:v>
                </c:pt>
                <c:pt idx="2036">
                  <c:v>155.3932368850983</c:v>
                </c:pt>
                <c:pt idx="2037">
                  <c:v>156.18998618251163</c:v>
                </c:pt>
                <c:pt idx="2038">
                  <c:v>155.6950966493925</c:v>
                </c:pt>
                <c:pt idx="2039">
                  <c:v>155.16930808020362</c:v>
                </c:pt>
                <c:pt idx="2040">
                  <c:v>155.16930808020362</c:v>
                </c:pt>
                <c:pt idx="2041">
                  <c:v>155.16930808020362</c:v>
                </c:pt>
                <c:pt idx="2042">
                  <c:v>155.09370804161387</c:v>
                </c:pt>
                <c:pt idx="2043">
                  <c:v>155.50452025547449</c:v>
                </c:pt>
                <c:pt idx="2044">
                  <c:v>155.43729254127763</c:v>
                </c:pt>
                <c:pt idx="2045">
                  <c:v>155.2262895253987</c:v>
                </c:pt>
                <c:pt idx="2046">
                  <c:v>156.28746456074407</c:v>
                </c:pt>
                <c:pt idx="2047">
                  <c:v>156.28746456074407</c:v>
                </c:pt>
                <c:pt idx="2048">
                  <c:v>156.28746456074407</c:v>
                </c:pt>
                <c:pt idx="2049">
                  <c:v>156.09585144056865</c:v>
                </c:pt>
                <c:pt idx="2050">
                  <c:v>155.98421949241092</c:v>
                </c:pt>
                <c:pt idx="2051">
                  <c:v>156.14257779172399</c:v>
                </c:pt>
                <c:pt idx="2052">
                  <c:v>155.99012486304551</c:v>
                </c:pt>
                <c:pt idx="2053">
                  <c:v>155.92981440106971</c:v>
                </c:pt>
                <c:pt idx="2054">
                  <c:v>155.92981440106971</c:v>
                </c:pt>
                <c:pt idx="2055">
                  <c:v>155.92981440106971</c:v>
                </c:pt>
                <c:pt idx="2056">
                  <c:v>155.85011399503489</c:v>
                </c:pt>
                <c:pt idx="2057">
                  <c:v>153.60155218834643</c:v>
                </c:pt>
                <c:pt idx="2058">
                  <c:v>153.38405392646325</c:v>
                </c:pt>
                <c:pt idx="2059">
                  <c:v>153.61161757654961</c:v>
                </c:pt>
                <c:pt idx="2060">
                  <c:v>153.83628378395235</c:v>
                </c:pt>
                <c:pt idx="2061">
                  <c:v>153.83628378395235</c:v>
                </c:pt>
                <c:pt idx="2062">
                  <c:v>153.83628378395235</c:v>
                </c:pt>
                <c:pt idx="2063">
                  <c:v>155.39956194631353</c:v>
                </c:pt>
                <c:pt idx="2064">
                  <c:v>154.85806129474227</c:v>
                </c:pt>
                <c:pt idx="2065">
                  <c:v>154.84292391925072</c:v>
                </c:pt>
                <c:pt idx="2066">
                  <c:v>154.87553538745735</c:v>
                </c:pt>
                <c:pt idx="2067">
                  <c:v>154.61485663006997</c:v>
                </c:pt>
                <c:pt idx="2068">
                  <c:v>154.61485663006997</c:v>
                </c:pt>
                <c:pt idx="2069">
                  <c:v>154.61977029021367</c:v>
                </c:pt>
                <c:pt idx="2070">
                  <c:v>154.70861017162932</c:v>
                </c:pt>
                <c:pt idx="2071">
                  <c:v>155.58401027725228</c:v>
                </c:pt>
                <c:pt idx="2072">
                  <c:v>155.69873948227081</c:v>
                </c:pt>
                <c:pt idx="2073">
                  <c:v>155.47247184610558</c:v>
                </c:pt>
                <c:pt idx="2074">
                  <c:v>155.63376987147174</c:v>
                </c:pt>
                <c:pt idx="2075">
                  <c:v>155.63376987147174</c:v>
                </c:pt>
                <c:pt idx="2076">
                  <c:v>155.63376987147174</c:v>
                </c:pt>
                <c:pt idx="2077">
                  <c:v>155.72237995834806</c:v>
                </c:pt>
                <c:pt idx="2078">
                  <c:v>155.72830986657686</c:v>
                </c:pt>
                <c:pt idx="2079">
                  <c:v>156.08071213082326</c:v>
                </c:pt>
                <c:pt idx="2080">
                  <c:v>156.53432013964633</c:v>
                </c:pt>
                <c:pt idx="2081">
                  <c:v>157.17910065773356</c:v>
                </c:pt>
                <c:pt idx="2082">
                  <c:v>157.17910065773356</c:v>
                </c:pt>
                <c:pt idx="2083">
                  <c:v>157.17910065773356</c:v>
                </c:pt>
                <c:pt idx="2084">
                  <c:v>157.17112696195719</c:v>
                </c:pt>
                <c:pt idx="2085">
                  <c:v>158.1549207706403</c:v>
                </c:pt>
                <c:pt idx="2086">
                  <c:v>157.31531425344994</c:v>
                </c:pt>
                <c:pt idx="2087">
                  <c:v>156.67910437900557</c:v>
                </c:pt>
                <c:pt idx="2088">
                  <c:v>157.21192457605829</c:v>
                </c:pt>
                <c:pt idx="2089">
                  <c:v>157.21192457605829</c:v>
                </c:pt>
                <c:pt idx="2090">
                  <c:v>157.21192457605829</c:v>
                </c:pt>
                <c:pt idx="2091">
                  <c:v>157.91035741641838</c:v>
                </c:pt>
                <c:pt idx="2092">
                  <c:v>158.08286500727439</c:v>
                </c:pt>
                <c:pt idx="2093">
                  <c:v>158.19887095610267</c:v>
                </c:pt>
                <c:pt idx="2094">
                  <c:v>158.55067676931228</c:v>
                </c:pt>
                <c:pt idx="2095">
                  <c:v>159.91354350567241</c:v>
                </c:pt>
                <c:pt idx="2096">
                  <c:v>159.91354350567241</c:v>
                </c:pt>
                <c:pt idx="2097">
                  <c:v>159.91354350567241</c:v>
                </c:pt>
                <c:pt idx="2098">
                  <c:v>159.65110779028981</c:v>
                </c:pt>
                <c:pt idx="2099">
                  <c:v>159.54447042935237</c:v>
                </c:pt>
                <c:pt idx="2100">
                  <c:v>159.59978130636082</c:v>
                </c:pt>
                <c:pt idx="2101">
                  <c:v>160.19172412724362</c:v>
                </c:pt>
                <c:pt idx="2102">
                  <c:v>160.76095580742631</c:v>
                </c:pt>
                <c:pt idx="2103">
                  <c:v>160.76095580742631</c:v>
                </c:pt>
                <c:pt idx="2104">
                  <c:v>160.76095580742631</c:v>
                </c:pt>
                <c:pt idx="2105">
                  <c:v>160.40478347939671</c:v>
                </c:pt>
                <c:pt idx="2106">
                  <c:v>160.24417337779445</c:v>
                </c:pt>
                <c:pt idx="2107">
                  <c:v>159.53617295632628</c:v>
                </c:pt>
                <c:pt idx="2108">
                  <c:v>159.02234523191547</c:v>
                </c:pt>
                <c:pt idx="2109">
                  <c:v>160.66031991406086</c:v>
                </c:pt>
                <c:pt idx="2110">
                  <c:v>160.66031991406086</c:v>
                </c:pt>
                <c:pt idx="2111">
                  <c:v>160.66031991406086</c:v>
                </c:pt>
                <c:pt idx="2112">
                  <c:v>160.83460101589725</c:v>
                </c:pt>
                <c:pt idx="2113">
                  <c:v>160.7623026460486</c:v>
                </c:pt>
                <c:pt idx="2114">
                  <c:v>161.00452642269147</c:v>
                </c:pt>
                <c:pt idx="2115">
                  <c:v>159.93434704605775</c:v>
                </c:pt>
                <c:pt idx="2116">
                  <c:v>160.37737798212308</c:v>
                </c:pt>
                <c:pt idx="2117">
                  <c:v>160.37737798212308</c:v>
                </c:pt>
                <c:pt idx="2118">
                  <c:v>160.37737798212308</c:v>
                </c:pt>
                <c:pt idx="2119">
                  <c:v>161.44466537598743</c:v>
                </c:pt>
                <c:pt idx="2120">
                  <c:v>161.7678340060105</c:v>
                </c:pt>
                <c:pt idx="2121">
                  <c:v>161.29895802753578</c:v>
                </c:pt>
                <c:pt idx="2122">
                  <c:v>161.45555512093682</c:v>
                </c:pt>
                <c:pt idx="2123">
                  <c:v>161.08200509038682</c:v>
                </c:pt>
                <c:pt idx="2124">
                  <c:v>161.08200509038682</c:v>
                </c:pt>
                <c:pt idx="2125">
                  <c:v>161.08200509038682</c:v>
                </c:pt>
                <c:pt idx="2126">
                  <c:v>161.36955741013381</c:v>
                </c:pt>
                <c:pt idx="2127">
                  <c:v>160.43230042895772</c:v>
                </c:pt>
                <c:pt idx="2128">
                  <c:v>159.1202128815145</c:v>
                </c:pt>
                <c:pt idx="2129">
                  <c:v>157.68981923103954</c:v>
                </c:pt>
                <c:pt idx="2130">
                  <c:v>157.28132690811793</c:v>
                </c:pt>
                <c:pt idx="2131">
                  <c:v>157.28132690811793</c:v>
                </c:pt>
                <c:pt idx="2132">
                  <c:v>157.28132690811793</c:v>
                </c:pt>
                <c:pt idx="2133">
                  <c:v>157.58147944676284</c:v>
                </c:pt>
                <c:pt idx="2134">
                  <c:v>157.32514953322078</c:v>
                </c:pt>
                <c:pt idx="2135">
                  <c:v>157.45626903259625</c:v>
                </c:pt>
                <c:pt idx="2136">
                  <c:v>156.6216705040263</c:v>
                </c:pt>
                <c:pt idx="2137">
                  <c:v>156.8538574318984</c:v>
                </c:pt>
                <c:pt idx="2138">
                  <c:v>156.8538574318984</c:v>
                </c:pt>
                <c:pt idx="2139">
                  <c:v>156.8538574318984</c:v>
                </c:pt>
                <c:pt idx="2140">
                  <c:v>157.01493065809524</c:v>
                </c:pt>
                <c:pt idx="2141">
                  <c:v>156.58734916907642</c:v>
                </c:pt>
                <c:pt idx="2142">
                  <c:v>157.68036801311388</c:v>
                </c:pt>
                <c:pt idx="2143">
                  <c:v>157.7916383184097</c:v>
                </c:pt>
                <c:pt idx="2144">
                  <c:v>156.83089237018041</c:v>
                </c:pt>
                <c:pt idx="2145">
                  <c:v>156.83089237018041</c:v>
                </c:pt>
                <c:pt idx="2146">
                  <c:v>156.83089237018041</c:v>
                </c:pt>
                <c:pt idx="2147">
                  <c:v>157.09980402809185</c:v>
                </c:pt>
                <c:pt idx="2148">
                  <c:v>157.58858393537034</c:v>
                </c:pt>
                <c:pt idx="2149">
                  <c:v>157.87143968467592</c:v>
                </c:pt>
                <c:pt idx="2150">
                  <c:v>158.914887807843</c:v>
                </c:pt>
                <c:pt idx="2151">
                  <c:v>158.57970929392533</c:v>
                </c:pt>
                <c:pt idx="2152">
                  <c:v>158.57970929392533</c:v>
                </c:pt>
                <c:pt idx="2153">
                  <c:v>158.57970929392533</c:v>
                </c:pt>
                <c:pt idx="2154">
                  <c:v>157.60202574120095</c:v>
                </c:pt>
                <c:pt idx="2155">
                  <c:v>158.07902560832952</c:v>
                </c:pt>
                <c:pt idx="2156">
                  <c:v>158.00597887138616</c:v>
                </c:pt>
                <c:pt idx="2157">
                  <c:v>158.32872662400823</c:v>
                </c:pt>
                <c:pt idx="2158">
                  <c:v>157.54010231970491</c:v>
                </c:pt>
                <c:pt idx="2159">
                  <c:v>157.54010231970491</c:v>
                </c:pt>
                <c:pt idx="2160">
                  <c:v>157.54010231970491</c:v>
                </c:pt>
                <c:pt idx="2161">
                  <c:v>157.36868450977187</c:v>
                </c:pt>
                <c:pt idx="2162">
                  <c:v>157.79491601807976</c:v>
                </c:pt>
                <c:pt idx="2163">
                  <c:v>157.63524807640854</c:v>
                </c:pt>
                <c:pt idx="2164">
                  <c:v>158.30998841592231</c:v>
                </c:pt>
                <c:pt idx="2165">
                  <c:v>158.96073745430479</c:v>
                </c:pt>
                <c:pt idx="2166">
                  <c:v>158.96073745430479</c:v>
                </c:pt>
                <c:pt idx="2167">
                  <c:v>158.96073745430479</c:v>
                </c:pt>
                <c:pt idx="2168">
                  <c:v>158.87503536231367</c:v>
                </c:pt>
                <c:pt idx="2169">
                  <c:v>159.10838465925244</c:v>
                </c:pt>
                <c:pt idx="2170">
                  <c:v>158.51670035380084</c:v>
                </c:pt>
                <c:pt idx="2171">
                  <c:v>158.02847684254616</c:v>
                </c:pt>
                <c:pt idx="2172">
                  <c:v>157.82590645922076</c:v>
                </c:pt>
                <c:pt idx="2173">
                  <c:v>157.82590645922076</c:v>
                </c:pt>
                <c:pt idx="2174">
                  <c:v>157.82590645922076</c:v>
                </c:pt>
                <c:pt idx="2175">
                  <c:v>158.42359790175902</c:v>
                </c:pt>
                <c:pt idx="2176">
                  <c:v>159.30851251373878</c:v>
                </c:pt>
                <c:pt idx="2177">
                  <c:v>159.7312567687155</c:v>
                </c:pt>
                <c:pt idx="2178">
                  <c:v>159.26249185216378</c:v>
                </c:pt>
                <c:pt idx="2179">
                  <c:v>158.63404683718991</c:v>
                </c:pt>
                <c:pt idx="2180">
                  <c:v>158.63404683718991</c:v>
                </c:pt>
                <c:pt idx="2181">
                  <c:v>158.63404683718991</c:v>
                </c:pt>
                <c:pt idx="2182">
                  <c:v>158.30299027216444</c:v>
                </c:pt>
                <c:pt idx="2183">
                  <c:v>159.45959624393015</c:v>
                </c:pt>
                <c:pt idx="2184">
                  <c:v>159.55648548920394</c:v>
                </c:pt>
                <c:pt idx="2185">
                  <c:v>159.51873602030204</c:v>
                </c:pt>
                <c:pt idx="2186">
                  <c:v>159.18408166400505</c:v>
                </c:pt>
                <c:pt idx="2187">
                  <c:v>159.18408166400505</c:v>
                </c:pt>
                <c:pt idx="2188">
                  <c:v>159.18408166400505</c:v>
                </c:pt>
                <c:pt idx="2189">
                  <c:v>159.00744782330904</c:v>
                </c:pt>
                <c:pt idx="2190">
                  <c:v>158.48912170519253</c:v>
                </c:pt>
                <c:pt idx="2191">
                  <c:v>158.83967428414493</c:v>
                </c:pt>
                <c:pt idx="2192">
                  <c:v>159.98347401347482</c:v>
                </c:pt>
                <c:pt idx="2193">
                  <c:v>159.6214186131044</c:v>
                </c:pt>
                <c:pt idx="2194">
                  <c:v>159.6214186131044</c:v>
                </c:pt>
                <c:pt idx="2195">
                  <c:v>159.6214186131044</c:v>
                </c:pt>
                <c:pt idx="2196">
                  <c:v>159.4732372615633</c:v>
                </c:pt>
                <c:pt idx="2197">
                  <c:v>158.83109116127929</c:v>
                </c:pt>
                <c:pt idx="2198">
                  <c:v>158.57772856959156</c:v>
                </c:pt>
                <c:pt idx="2199">
                  <c:v>158.91631897830149</c:v>
                </c:pt>
                <c:pt idx="2200">
                  <c:v>158.6083741137117</c:v>
                </c:pt>
                <c:pt idx="2201">
                  <c:v>158.6083741137117</c:v>
                </c:pt>
                <c:pt idx="2202">
                  <c:v>158.6083741137117</c:v>
                </c:pt>
                <c:pt idx="2203">
                  <c:v>158.99504388287977</c:v>
                </c:pt>
                <c:pt idx="2204">
                  <c:v>158.50460300066732</c:v>
                </c:pt>
                <c:pt idx="2205">
                  <c:v>158.58919849233482</c:v>
                </c:pt>
                <c:pt idx="2206">
                  <c:v>157.22277651331302</c:v>
                </c:pt>
                <c:pt idx="2207">
                  <c:v>155.55901836437715</c:v>
                </c:pt>
                <c:pt idx="2208">
                  <c:v>155.55901836437715</c:v>
                </c:pt>
                <c:pt idx="2209">
                  <c:v>155.55901836437715</c:v>
                </c:pt>
                <c:pt idx="2210">
                  <c:v>156.29819748548027</c:v>
                </c:pt>
                <c:pt idx="2211">
                  <c:v>156.65714098495161</c:v>
                </c:pt>
                <c:pt idx="2212">
                  <c:v>156.35974620164859</c:v>
                </c:pt>
                <c:pt idx="2213">
                  <c:v>156.05958865125513</c:v>
                </c:pt>
                <c:pt idx="2214">
                  <c:v>156.53928305425546</c:v>
                </c:pt>
                <c:pt idx="2215">
                  <c:v>156.53928305425546</c:v>
                </c:pt>
                <c:pt idx="2216">
                  <c:v>156.53928305425546</c:v>
                </c:pt>
                <c:pt idx="2217">
                  <c:v>156.67900219134555</c:v>
                </c:pt>
                <c:pt idx="2218">
                  <c:v>156.65677257451463</c:v>
                </c:pt>
                <c:pt idx="2219">
                  <c:v>156.9976154143082</c:v>
                </c:pt>
                <c:pt idx="2220">
                  <c:v>156.91129027547265</c:v>
                </c:pt>
                <c:pt idx="2221">
                  <c:v>157.73419113885464</c:v>
                </c:pt>
                <c:pt idx="2222">
                  <c:v>157.73643727373647</c:v>
                </c:pt>
                <c:pt idx="2223">
                  <c:v>157.73643727373647</c:v>
                </c:pt>
                <c:pt idx="2224">
                  <c:v>159.04198706303501</c:v>
                </c:pt>
                <c:pt idx="2225">
                  <c:v>159.46262131041931</c:v>
                </c:pt>
                <c:pt idx="2226">
                  <c:v>159.11408385902112</c:v>
                </c:pt>
                <c:pt idx="2227">
                  <c:v>160.23582382995968</c:v>
                </c:pt>
                <c:pt idx="2228">
                  <c:v>160.68571314545233</c:v>
                </c:pt>
                <c:pt idx="2229">
                  <c:v>160.68571314545233</c:v>
                </c:pt>
                <c:pt idx="2230">
                  <c:v>160.68571314545233</c:v>
                </c:pt>
                <c:pt idx="2231">
                  <c:v>160.22584348928709</c:v>
                </c:pt>
                <c:pt idx="2232">
                  <c:v>160.4472211282025</c:v>
                </c:pt>
                <c:pt idx="2233">
                  <c:v>160.82693552172449</c:v>
                </c:pt>
                <c:pt idx="2234">
                  <c:v>161.18827343910795</c:v>
                </c:pt>
                <c:pt idx="2235">
                  <c:v>160.39563494011935</c:v>
                </c:pt>
                <c:pt idx="2236">
                  <c:v>160.39563494011935</c:v>
                </c:pt>
                <c:pt idx="2237">
                  <c:v>160.39563494011935</c:v>
                </c:pt>
                <c:pt idx="2238">
                  <c:v>160.20716846510837</c:v>
                </c:pt>
                <c:pt idx="2239">
                  <c:v>160.61698481032886</c:v>
                </c:pt>
                <c:pt idx="2240">
                  <c:v>161.11891449403097</c:v>
                </c:pt>
                <c:pt idx="2241">
                  <c:v>160.79293226147007</c:v>
                </c:pt>
                <c:pt idx="2242">
                  <c:v>160.8346789304731</c:v>
                </c:pt>
                <c:pt idx="2243">
                  <c:v>160.8346789304731</c:v>
                </c:pt>
                <c:pt idx="2244">
                  <c:v>160.8346789304731</c:v>
                </c:pt>
                <c:pt idx="2245">
                  <c:v>160.8145713789132</c:v>
                </c:pt>
                <c:pt idx="2246">
                  <c:v>160.84035317099668</c:v>
                </c:pt>
                <c:pt idx="2247">
                  <c:v>159.26218923408638</c:v>
                </c:pt>
                <c:pt idx="2248">
                  <c:v>160.28466204470055</c:v>
                </c:pt>
                <c:pt idx="2249">
                  <c:v>161.0117902083731</c:v>
                </c:pt>
                <c:pt idx="2250">
                  <c:v>161.0117902083731</c:v>
                </c:pt>
                <c:pt idx="2251">
                  <c:v>161.0117902083731</c:v>
                </c:pt>
                <c:pt idx="2252">
                  <c:v>160.70580018202531</c:v>
                </c:pt>
                <c:pt idx="2253">
                  <c:v>160.23089847190741</c:v>
                </c:pt>
                <c:pt idx="2254">
                  <c:v>160.43168861770951</c:v>
                </c:pt>
                <c:pt idx="2255">
                  <c:v>161.65483906353356</c:v>
                </c:pt>
                <c:pt idx="2256">
                  <c:v>162.12180978058799</c:v>
                </c:pt>
                <c:pt idx="2257">
                  <c:v>162.12180978058799</c:v>
                </c:pt>
                <c:pt idx="2258">
                  <c:v>162.12180978058799</c:v>
                </c:pt>
                <c:pt idx="2259">
                  <c:v>161.57973281253322</c:v>
                </c:pt>
                <c:pt idx="2260">
                  <c:v>160.82258311095231</c:v>
                </c:pt>
                <c:pt idx="2261">
                  <c:v>161.20114017288552</c:v>
                </c:pt>
                <c:pt idx="2262">
                  <c:v>160.93112665108453</c:v>
                </c:pt>
                <c:pt idx="2263">
                  <c:v>159.62882530419722</c:v>
                </c:pt>
                <c:pt idx="2264">
                  <c:v>159.62882530419722</c:v>
                </c:pt>
                <c:pt idx="2265">
                  <c:v>159.62882530419722</c:v>
                </c:pt>
                <c:pt idx="2266">
                  <c:v>160.03685414084552</c:v>
                </c:pt>
                <c:pt idx="2267">
                  <c:v>160.16513328165064</c:v>
                </c:pt>
                <c:pt idx="2268">
                  <c:v>159.61620252365711</c:v>
                </c:pt>
                <c:pt idx="2269">
                  <c:v>160.19503312432687</c:v>
                </c:pt>
                <c:pt idx="2270">
                  <c:v>160.0207201029333</c:v>
                </c:pt>
                <c:pt idx="2271">
                  <c:v>160.0207201029333</c:v>
                </c:pt>
                <c:pt idx="2272">
                  <c:v>160.0207201029333</c:v>
                </c:pt>
                <c:pt idx="2273">
                  <c:v>160.02795623989635</c:v>
                </c:pt>
                <c:pt idx="2274">
                  <c:v>160.88138373024418</c:v>
                </c:pt>
                <c:pt idx="2275">
                  <c:v>160.569536082463</c:v>
                </c:pt>
                <c:pt idx="2276">
                  <c:v>160.54614270675114</c:v>
                </c:pt>
                <c:pt idx="2277">
                  <c:v>160.49591263508248</c:v>
                </c:pt>
                <c:pt idx="2278">
                  <c:v>160.49591263508248</c:v>
                </c:pt>
                <c:pt idx="2279">
                  <c:v>160.49591263508248</c:v>
                </c:pt>
                <c:pt idx="2280">
                  <c:v>160.19175041121122</c:v>
                </c:pt>
                <c:pt idx="2281">
                  <c:v>161.68697219996196</c:v>
                </c:pt>
                <c:pt idx="2282">
                  <c:v>159.9976925843323</c:v>
                </c:pt>
                <c:pt idx="2283">
                  <c:v>158.6755468517309</c:v>
                </c:pt>
                <c:pt idx="2284">
                  <c:v>158.40588728038921</c:v>
                </c:pt>
                <c:pt idx="2285">
                  <c:v>158.40588728038921</c:v>
                </c:pt>
                <c:pt idx="2286">
                  <c:v>158.40588728038921</c:v>
                </c:pt>
                <c:pt idx="2287">
                  <c:v>158.70251814491047</c:v>
                </c:pt>
                <c:pt idx="2288">
                  <c:v>158.47319459321625</c:v>
                </c:pt>
                <c:pt idx="2289">
                  <c:v>159.01681311628909</c:v>
                </c:pt>
                <c:pt idx="2290">
                  <c:v>158.50864626694963</c:v>
                </c:pt>
                <c:pt idx="2291">
                  <c:v>159.18899232319725</c:v>
                </c:pt>
                <c:pt idx="2292">
                  <c:v>159.18899232319725</c:v>
                </c:pt>
                <c:pt idx="2293">
                  <c:v>159.18899232319725</c:v>
                </c:pt>
                <c:pt idx="2294">
                  <c:v>159.72624880472833</c:v>
                </c:pt>
                <c:pt idx="2295">
                  <c:v>160.17774699222466</c:v>
                </c:pt>
                <c:pt idx="2296">
                  <c:v>160.04956475019412</c:v>
                </c:pt>
                <c:pt idx="2297">
                  <c:v>159.0253563694969</c:v>
                </c:pt>
                <c:pt idx="2298">
                  <c:v>160.06557303058105</c:v>
                </c:pt>
                <c:pt idx="2299">
                  <c:v>160.06557303058105</c:v>
                </c:pt>
                <c:pt idx="2300">
                  <c:v>160.06557303058105</c:v>
                </c:pt>
                <c:pt idx="2301">
                  <c:v>160.37504060816693</c:v>
                </c:pt>
                <c:pt idx="2302">
                  <c:v>160.24040415782596</c:v>
                </c:pt>
                <c:pt idx="2303">
                  <c:v>159.38862545827249</c:v>
                </c:pt>
                <c:pt idx="2304">
                  <c:v>160.13861747816262</c:v>
                </c:pt>
                <c:pt idx="2305">
                  <c:v>160.06879864232829</c:v>
                </c:pt>
                <c:pt idx="2306">
                  <c:v>160.06879864232829</c:v>
                </c:pt>
                <c:pt idx="2307">
                  <c:v>160.06879864232829</c:v>
                </c:pt>
                <c:pt idx="2308">
                  <c:v>160.07348545675254</c:v>
                </c:pt>
                <c:pt idx="2309">
                  <c:v>159.99739772691038</c:v>
                </c:pt>
                <c:pt idx="2310">
                  <c:v>160.20124401145833</c:v>
                </c:pt>
                <c:pt idx="2311">
                  <c:v>160.1981168831752</c:v>
                </c:pt>
                <c:pt idx="2312">
                  <c:v>160.05070417800047</c:v>
                </c:pt>
                <c:pt idx="2313">
                  <c:v>160.05070417800047</c:v>
                </c:pt>
                <c:pt idx="2314">
                  <c:v>160.05519840177379</c:v>
                </c:pt>
                <c:pt idx="2315">
                  <c:v>160.06012169967664</c:v>
                </c:pt>
                <c:pt idx="2316">
                  <c:v>159.91320251396851</c:v>
                </c:pt>
                <c:pt idx="2317">
                  <c:v>160.62423578023055</c:v>
                </c:pt>
                <c:pt idx="2318">
                  <c:v>161.31514326177327</c:v>
                </c:pt>
                <c:pt idx="2319">
                  <c:v>161.89550030008044</c:v>
                </c:pt>
                <c:pt idx="2320">
                  <c:v>161.89550030008044</c:v>
                </c:pt>
                <c:pt idx="2321">
                  <c:v>161.89550030008044</c:v>
                </c:pt>
                <c:pt idx="2322">
                  <c:v>161.68456827169447</c:v>
                </c:pt>
                <c:pt idx="2323">
                  <c:v>161.86079313319084</c:v>
                </c:pt>
                <c:pt idx="2324">
                  <c:v>161.66718820130836</c:v>
                </c:pt>
                <c:pt idx="2325">
                  <c:v>161.67220958417388</c:v>
                </c:pt>
                <c:pt idx="2326">
                  <c:v>161.33641317142337</c:v>
                </c:pt>
                <c:pt idx="2327">
                  <c:v>161.33641317142337</c:v>
                </c:pt>
                <c:pt idx="2328">
                  <c:v>161.33641317142337</c:v>
                </c:pt>
                <c:pt idx="2329">
                  <c:v>161.11862030719087</c:v>
                </c:pt>
                <c:pt idx="2330">
                  <c:v>161.26232844938767</c:v>
                </c:pt>
                <c:pt idx="2331">
                  <c:v>160.82809737757199</c:v>
                </c:pt>
                <c:pt idx="2332">
                  <c:v>159.9666168491261</c:v>
                </c:pt>
                <c:pt idx="2333">
                  <c:v>160.43418967217906</c:v>
                </c:pt>
                <c:pt idx="2334">
                  <c:v>160.43418967217906</c:v>
                </c:pt>
                <c:pt idx="2335">
                  <c:v>160.43418967217906</c:v>
                </c:pt>
                <c:pt idx="2336">
                  <c:v>159.63015447853417</c:v>
                </c:pt>
                <c:pt idx="2337">
                  <c:v>160.09707108408233</c:v>
                </c:pt>
                <c:pt idx="2338">
                  <c:v>158.62100010324775</c:v>
                </c:pt>
                <c:pt idx="2339">
                  <c:v>158.22202704652804</c:v>
                </c:pt>
                <c:pt idx="2340">
                  <c:v>159.17941112776361</c:v>
                </c:pt>
                <c:pt idx="2341">
                  <c:v>159.17941112776361</c:v>
                </c:pt>
                <c:pt idx="2342">
                  <c:v>159.17941112776361</c:v>
                </c:pt>
                <c:pt idx="2343">
                  <c:v>159.36095842974308</c:v>
                </c:pt>
                <c:pt idx="2344">
                  <c:v>158.05767263951296</c:v>
                </c:pt>
                <c:pt idx="2345">
                  <c:v>157.53222097085998</c:v>
                </c:pt>
                <c:pt idx="2346">
                  <c:v>156.45765273324028</c:v>
                </c:pt>
                <c:pt idx="2347">
                  <c:v>155.42870428631053</c:v>
                </c:pt>
                <c:pt idx="2348">
                  <c:v>155.42870428631053</c:v>
                </c:pt>
                <c:pt idx="2349">
                  <c:v>155.42870428631053</c:v>
                </c:pt>
                <c:pt idx="2350">
                  <c:v>153.50912870263375</c:v>
                </c:pt>
                <c:pt idx="2351">
                  <c:v>152.38575350406174</c:v>
                </c:pt>
                <c:pt idx="2352">
                  <c:v>153.73570384563092</c:v>
                </c:pt>
                <c:pt idx="2353">
                  <c:v>151.11090038073664</c:v>
                </c:pt>
                <c:pt idx="2354">
                  <c:v>151.48399017155867</c:v>
                </c:pt>
                <c:pt idx="2355">
                  <c:v>151.48399017155867</c:v>
                </c:pt>
                <c:pt idx="2356">
                  <c:v>151.48399017155867</c:v>
                </c:pt>
                <c:pt idx="2357">
                  <c:v>152.75113254158512</c:v>
                </c:pt>
                <c:pt idx="2358">
                  <c:v>152.50013646312675</c:v>
                </c:pt>
                <c:pt idx="2359">
                  <c:v>153.0768096291566</c:v>
                </c:pt>
                <c:pt idx="2360">
                  <c:v>153.62681766769035</c:v>
                </c:pt>
                <c:pt idx="2361">
                  <c:v>154.4104772822223</c:v>
                </c:pt>
                <c:pt idx="2362">
                  <c:v>154.4104772822223</c:v>
                </c:pt>
                <c:pt idx="2363">
                  <c:v>154.4104772822223</c:v>
                </c:pt>
                <c:pt idx="2364">
                  <c:v>154.2651229794327</c:v>
                </c:pt>
                <c:pt idx="2365">
                  <c:v>154.15509955107254</c:v>
                </c:pt>
                <c:pt idx="2366">
                  <c:v>154.39525469756117</c:v>
                </c:pt>
                <c:pt idx="2367">
                  <c:v>154.31155085417944</c:v>
                </c:pt>
                <c:pt idx="2368">
                  <c:v>154.65341266394179</c:v>
                </c:pt>
                <c:pt idx="2369">
                  <c:v>154.65341266394179</c:v>
                </c:pt>
                <c:pt idx="2370">
                  <c:v>154.65341266394179</c:v>
                </c:pt>
                <c:pt idx="2371">
                  <c:v>155.30178008465998</c:v>
                </c:pt>
                <c:pt idx="2372">
                  <c:v>154.82762200781229</c:v>
                </c:pt>
                <c:pt idx="2373">
                  <c:v>154.52916389742029</c:v>
                </c:pt>
                <c:pt idx="2374">
                  <c:v>153.87775547876055</c:v>
                </c:pt>
                <c:pt idx="2375">
                  <c:v>153.02889345699464</c:v>
                </c:pt>
                <c:pt idx="2376">
                  <c:v>153.02889345699464</c:v>
                </c:pt>
                <c:pt idx="2377">
                  <c:v>153.02889345699464</c:v>
                </c:pt>
                <c:pt idx="2378">
                  <c:v>153.52071454796499</c:v>
                </c:pt>
                <c:pt idx="2379">
                  <c:v>154.15917956604136</c:v>
                </c:pt>
                <c:pt idx="2380">
                  <c:v>154.35518679649238</c:v>
                </c:pt>
                <c:pt idx="2381">
                  <c:v>155.59514053465099</c:v>
                </c:pt>
                <c:pt idx="2382">
                  <c:v>156.26740023099077</c:v>
                </c:pt>
                <c:pt idx="2383">
                  <c:v>156.26740023099077</c:v>
                </c:pt>
                <c:pt idx="2384">
                  <c:v>156.26740023099077</c:v>
                </c:pt>
                <c:pt idx="2385">
                  <c:v>156.32502383482597</c:v>
                </c:pt>
                <c:pt idx="2386">
                  <c:v>154.99971435200646</c:v>
                </c:pt>
                <c:pt idx="2387">
                  <c:v>155.22159334310706</c:v>
                </c:pt>
                <c:pt idx="2388">
                  <c:v>155.53756707516408</c:v>
                </c:pt>
                <c:pt idx="2389">
                  <c:v>155.7228029852966</c:v>
                </c:pt>
                <c:pt idx="2390">
                  <c:v>155.7228029852966</c:v>
                </c:pt>
                <c:pt idx="2391">
                  <c:v>155.7228029852966</c:v>
                </c:pt>
                <c:pt idx="2392">
                  <c:v>153.69943431698744</c:v>
                </c:pt>
                <c:pt idx="2393">
                  <c:v>153.75650599093802</c:v>
                </c:pt>
                <c:pt idx="2394">
                  <c:v>153.25934509177173</c:v>
                </c:pt>
                <c:pt idx="2395">
                  <c:v>151.91923618272858</c:v>
                </c:pt>
                <c:pt idx="2396">
                  <c:v>150.73240209147534</c:v>
                </c:pt>
                <c:pt idx="2397">
                  <c:v>150.73240209147534</c:v>
                </c:pt>
                <c:pt idx="2398">
                  <c:v>150.73240209147534</c:v>
                </c:pt>
                <c:pt idx="2399">
                  <c:v>151.00407162173687</c:v>
                </c:pt>
                <c:pt idx="2400">
                  <c:v>152.23557173748151</c:v>
                </c:pt>
                <c:pt idx="2401">
                  <c:v>152.55385673673595</c:v>
                </c:pt>
                <c:pt idx="2402">
                  <c:v>153.34536106487457</c:v>
                </c:pt>
                <c:pt idx="2403">
                  <c:v>153.44469665631877</c:v>
                </c:pt>
                <c:pt idx="2404">
                  <c:v>153.44703975683672</c:v>
                </c:pt>
                <c:pt idx="2405">
                  <c:v>153.44703975683672</c:v>
                </c:pt>
                <c:pt idx="2406">
                  <c:v>152.90093094916452</c:v>
                </c:pt>
                <c:pt idx="2407">
                  <c:v>152.51340201066455</c:v>
                </c:pt>
                <c:pt idx="2408">
                  <c:v>152.44954312410866</c:v>
                </c:pt>
                <c:pt idx="2409">
                  <c:v>154.52725507991565</c:v>
                </c:pt>
                <c:pt idx="2410">
                  <c:v>153.60410307697802</c:v>
                </c:pt>
                <c:pt idx="2411">
                  <c:v>153.60410307697802</c:v>
                </c:pt>
                <c:pt idx="2412">
                  <c:v>153.60410307697802</c:v>
                </c:pt>
                <c:pt idx="2413">
                  <c:v>153.92815397303437</c:v>
                </c:pt>
                <c:pt idx="2414">
                  <c:v>154.62355211567527</c:v>
                </c:pt>
                <c:pt idx="2415">
                  <c:v>154.28898231231392</c:v>
                </c:pt>
                <c:pt idx="2416">
                  <c:v>154.24849071179588</c:v>
                </c:pt>
                <c:pt idx="2417">
                  <c:v>154.14993209617069</c:v>
                </c:pt>
                <c:pt idx="2418">
                  <c:v>154.14993209617069</c:v>
                </c:pt>
                <c:pt idx="2419">
                  <c:v>154.14993209617069</c:v>
                </c:pt>
                <c:pt idx="2420">
                  <c:v>153.54726289714952</c:v>
                </c:pt>
                <c:pt idx="2421">
                  <c:v>154.45296296282098</c:v>
                </c:pt>
                <c:pt idx="2422">
                  <c:v>155.42822376232749</c:v>
                </c:pt>
                <c:pt idx="2423">
                  <c:v>155.25018384057222</c:v>
                </c:pt>
                <c:pt idx="2424">
                  <c:v>156.10353821107768</c:v>
                </c:pt>
                <c:pt idx="2425">
                  <c:v>156.10353821107768</c:v>
                </c:pt>
                <c:pt idx="2426">
                  <c:v>156.10353821107768</c:v>
                </c:pt>
                <c:pt idx="2427">
                  <c:v>156.49636808187969</c:v>
                </c:pt>
                <c:pt idx="2428">
                  <c:v>156.35084523912772</c:v>
                </c:pt>
                <c:pt idx="2429">
                  <c:v>155.81624261154383</c:v>
                </c:pt>
                <c:pt idx="2430">
                  <c:v>156.69777612044348</c:v>
                </c:pt>
                <c:pt idx="2431">
                  <c:v>158.15615448790766</c:v>
                </c:pt>
                <c:pt idx="2432">
                  <c:v>158.15615448790766</c:v>
                </c:pt>
                <c:pt idx="2433">
                  <c:v>158.15615448790766</c:v>
                </c:pt>
                <c:pt idx="2434">
                  <c:v>158.24552378612412</c:v>
                </c:pt>
                <c:pt idx="2435">
                  <c:v>159.0811756709472</c:v>
                </c:pt>
                <c:pt idx="2436">
                  <c:v>159.13824922434267</c:v>
                </c:pt>
                <c:pt idx="2437">
                  <c:v>159.28062703315871</c:v>
                </c:pt>
                <c:pt idx="2438">
                  <c:v>160.31406363344391</c:v>
                </c:pt>
                <c:pt idx="2439">
                  <c:v>160.31406363344391</c:v>
                </c:pt>
                <c:pt idx="2440">
                  <c:v>160.31406363344391</c:v>
                </c:pt>
                <c:pt idx="2441">
                  <c:v>160.55007158536253</c:v>
                </c:pt>
                <c:pt idx="2442">
                  <c:v>160.67537449423205</c:v>
                </c:pt>
                <c:pt idx="2443">
                  <c:v>161.09094046256268</c:v>
                </c:pt>
                <c:pt idx="2444">
                  <c:v>162.57609905724442</c:v>
                </c:pt>
                <c:pt idx="2445">
                  <c:v>162.67739697304501</c:v>
                </c:pt>
                <c:pt idx="2446">
                  <c:v>162.67739697304501</c:v>
                </c:pt>
                <c:pt idx="2447">
                  <c:v>162.67739697304501</c:v>
                </c:pt>
                <c:pt idx="2448">
                  <c:v>162.6110197147581</c:v>
                </c:pt>
                <c:pt idx="2449">
                  <c:v>162.43432658073604</c:v>
                </c:pt>
                <c:pt idx="2450">
                  <c:v>162.27425567360706</c:v>
                </c:pt>
                <c:pt idx="2451">
                  <c:v>162.44142087534667</c:v>
                </c:pt>
                <c:pt idx="2452">
                  <c:v>162.43061852085847</c:v>
                </c:pt>
                <c:pt idx="2453">
                  <c:v>162.43061852085847</c:v>
                </c:pt>
                <c:pt idx="2454">
                  <c:v>162.43061852085847</c:v>
                </c:pt>
                <c:pt idx="2455">
                  <c:v>163.65625174735709</c:v>
                </c:pt>
                <c:pt idx="2456">
                  <c:v>163.59166480760499</c:v>
                </c:pt>
                <c:pt idx="2457">
                  <c:v>163.26438332299088</c:v>
                </c:pt>
                <c:pt idx="2458">
                  <c:v>162.70647953758723</c:v>
                </c:pt>
                <c:pt idx="2459">
                  <c:v>162.98289506741446</c:v>
                </c:pt>
                <c:pt idx="2460">
                  <c:v>162.98289506741446</c:v>
                </c:pt>
                <c:pt idx="2461">
                  <c:v>162.98289506741446</c:v>
                </c:pt>
                <c:pt idx="2462">
                  <c:v>163.18066014211823</c:v>
                </c:pt>
                <c:pt idx="2463">
                  <c:v>162.07572962435731</c:v>
                </c:pt>
                <c:pt idx="2464">
                  <c:v>162.6872932164635</c:v>
                </c:pt>
                <c:pt idx="2465">
                  <c:v>162.74523754968843</c:v>
                </c:pt>
                <c:pt idx="2466">
                  <c:v>163.34525157384374</c:v>
                </c:pt>
                <c:pt idx="2467">
                  <c:v>163.34525157384374</c:v>
                </c:pt>
                <c:pt idx="2468">
                  <c:v>163.34525157384374</c:v>
                </c:pt>
                <c:pt idx="2469">
                  <c:v>163.99760023814918</c:v>
                </c:pt>
                <c:pt idx="2470">
                  <c:v>163.47657986219258</c:v>
                </c:pt>
                <c:pt idx="2471">
                  <c:v>163.53879904848813</c:v>
                </c:pt>
                <c:pt idx="2472">
                  <c:v>163.39375485222405</c:v>
                </c:pt>
                <c:pt idx="2473">
                  <c:v>163.45421054151936</c:v>
                </c:pt>
                <c:pt idx="2474">
                  <c:v>163.45421054151936</c:v>
                </c:pt>
                <c:pt idx="2475">
                  <c:v>163.45421054151936</c:v>
                </c:pt>
                <c:pt idx="2476">
                  <c:v>164.32338157515809</c:v>
                </c:pt>
                <c:pt idx="2477">
                  <c:v>164.17028312377832</c:v>
                </c:pt>
                <c:pt idx="2478">
                  <c:v>163.83491278600741</c:v>
                </c:pt>
                <c:pt idx="2479">
                  <c:v>164.36147983405075</c:v>
                </c:pt>
                <c:pt idx="2480">
                  <c:v>163.53319166173065</c:v>
                </c:pt>
                <c:pt idx="2481">
                  <c:v>163.53319166173065</c:v>
                </c:pt>
                <c:pt idx="2482">
                  <c:v>163.53319166173065</c:v>
                </c:pt>
                <c:pt idx="2483">
                  <c:v>163.44651416415419</c:v>
                </c:pt>
                <c:pt idx="2484">
                  <c:v>163.24672204863535</c:v>
                </c:pt>
                <c:pt idx="2485">
                  <c:v>163.77005512524443</c:v>
                </c:pt>
                <c:pt idx="2486">
                  <c:v>162.50793499221291</c:v>
                </c:pt>
                <c:pt idx="2487">
                  <c:v>163.65224274185735</c:v>
                </c:pt>
                <c:pt idx="2488">
                  <c:v>163.65224274185735</c:v>
                </c:pt>
                <c:pt idx="2489">
                  <c:v>163.65224274185735</c:v>
                </c:pt>
                <c:pt idx="2490">
                  <c:v>161.51477752636109</c:v>
                </c:pt>
                <c:pt idx="2491">
                  <c:v>161.87264581892626</c:v>
                </c:pt>
                <c:pt idx="2492">
                  <c:v>162.60776292156311</c:v>
                </c:pt>
                <c:pt idx="2493">
                  <c:v>163.23841273888993</c:v>
                </c:pt>
                <c:pt idx="2494">
                  <c:v>163.22968601334492</c:v>
                </c:pt>
                <c:pt idx="2495">
                  <c:v>163.23181452845054</c:v>
                </c:pt>
                <c:pt idx="2496">
                  <c:v>163.23181452845054</c:v>
                </c:pt>
                <c:pt idx="2497">
                  <c:v>162.77234471996141</c:v>
                </c:pt>
                <c:pt idx="2498">
                  <c:v>163.11712421737687</c:v>
                </c:pt>
                <c:pt idx="2499">
                  <c:v>162.89448402336131</c:v>
                </c:pt>
                <c:pt idx="2500">
                  <c:v>163.24809699822407</c:v>
                </c:pt>
                <c:pt idx="2501">
                  <c:v>163.7122994919624</c:v>
                </c:pt>
                <c:pt idx="2502">
                  <c:v>163.7122994919624</c:v>
                </c:pt>
                <c:pt idx="2503">
                  <c:v>163.7122994919624</c:v>
                </c:pt>
                <c:pt idx="2504">
                  <c:v>164.8636078752626</c:v>
                </c:pt>
                <c:pt idx="2505">
                  <c:v>164.8073844390689</c:v>
                </c:pt>
                <c:pt idx="2506">
                  <c:v>163.87713410182411</c:v>
                </c:pt>
                <c:pt idx="2507">
                  <c:v>164.89208746662766</c:v>
                </c:pt>
                <c:pt idx="2508">
                  <c:v>165.22862232362181</c:v>
                </c:pt>
                <c:pt idx="2509">
                  <c:v>165.22862232362181</c:v>
                </c:pt>
                <c:pt idx="2510">
                  <c:v>165.22862232362181</c:v>
                </c:pt>
                <c:pt idx="2511">
                  <c:v>164.61838345279398</c:v>
                </c:pt>
                <c:pt idx="2512">
                  <c:v>165.35747060898197</c:v>
                </c:pt>
                <c:pt idx="2513">
                  <c:v>166.68107778962099</c:v>
                </c:pt>
                <c:pt idx="2514">
                  <c:v>166.72635837121331</c:v>
                </c:pt>
                <c:pt idx="2515">
                  <c:v>166.37828875463248</c:v>
                </c:pt>
                <c:pt idx="2516">
                  <c:v>166.37828875463248</c:v>
                </c:pt>
                <c:pt idx="2517">
                  <c:v>166.37828875463248</c:v>
                </c:pt>
                <c:pt idx="2518">
                  <c:v>165.88193240579079</c:v>
                </c:pt>
                <c:pt idx="2519">
                  <c:v>166.21656436921367</c:v>
                </c:pt>
                <c:pt idx="2520">
                  <c:v>166.28556418941463</c:v>
                </c:pt>
                <c:pt idx="2521">
                  <c:v>166.2274024876281</c:v>
                </c:pt>
                <c:pt idx="2522">
                  <c:v>166.47104365372823</c:v>
                </c:pt>
                <c:pt idx="2523">
                  <c:v>166.47104365372823</c:v>
                </c:pt>
                <c:pt idx="2524">
                  <c:v>166.47104365372823</c:v>
                </c:pt>
                <c:pt idx="2525">
                  <c:v>166.14533972739883</c:v>
                </c:pt>
                <c:pt idx="2526">
                  <c:v>166.59400358715888</c:v>
                </c:pt>
                <c:pt idx="2527">
                  <c:v>165.68219795484558</c:v>
                </c:pt>
                <c:pt idx="2528">
                  <c:v>165.57896800458784</c:v>
                </c:pt>
                <c:pt idx="2529">
                  <c:v>166.81353141318877</c:v>
                </c:pt>
                <c:pt idx="2530">
                  <c:v>166.81353141318877</c:v>
                </c:pt>
                <c:pt idx="2531">
                  <c:v>166.81353141318877</c:v>
                </c:pt>
                <c:pt idx="2532">
                  <c:v>167.56819249303143</c:v>
                </c:pt>
                <c:pt idx="2533">
                  <c:v>168.09639927372604</c:v>
                </c:pt>
                <c:pt idx="2534">
                  <c:v>169.19359136720954</c:v>
                </c:pt>
                <c:pt idx="2535">
                  <c:v>169.37334940642174</c:v>
                </c:pt>
                <c:pt idx="2536">
                  <c:v>168.55339777834379</c:v>
                </c:pt>
                <c:pt idx="2537">
                  <c:v>168.55339777834379</c:v>
                </c:pt>
                <c:pt idx="2538">
                  <c:v>168.55339777834379</c:v>
                </c:pt>
                <c:pt idx="2539">
                  <c:v>168.09866936521544</c:v>
                </c:pt>
                <c:pt idx="2540">
                  <c:v>168.24125233755771</c:v>
                </c:pt>
                <c:pt idx="2541">
                  <c:v>167.1637495545493</c:v>
                </c:pt>
                <c:pt idx="2542">
                  <c:v>167.82218416111974</c:v>
                </c:pt>
                <c:pt idx="2543">
                  <c:v>167.82508580668389</c:v>
                </c:pt>
                <c:pt idx="2544">
                  <c:v>167.82508580668389</c:v>
                </c:pt>
                <c:pt idx="2545">
                  <c:v>167.82508580668389</c:v>
                </c:pt>
                <c:pt idx="2546">
                  <c:v>168.23673556840481</c:v>
                </c:pt>
                <c:pt idx="2547">
                  <c:v>167.87528735387286</c:v>
                </c:pt>
                <c:pt idx="2548">
                  <c:v>167.94151415473397</c:v>
                </c:pt>
                <c:pt idx="2549">
                  <c:v>168.33429576803906</c:v>
                </c:pt>
                <c:pt idx="2550">
                  <c:v>168.58299453994971</c:v>
                </c:pt>
                <c:pt idx="2551">
                  <c:v>168.58299453994971</c:v>
                </c:pt>
                <c:pt idx="2552">
                  <c:v>168.58299453994971</c:v>
                </c:pt>
                <c:pt idx="2553">
                  <c:v>169.16316617233915</c:v>
                </c:pt>
                <c:pt idx="2554">
                  <c:v>169.52669274154852</c:v>
                </c:pt>
                <c:pt idx="2555">
                  <c:v>168.83559005431675</c:v>
                </c:pt>
                <c:pt idx="2556">
                  <c:v>168.17345232559762</c:v>
                </c:pt>
                <c:pt idx="2557">
                  <c:v>167.43894804562748</c:v>
                </c:pt>
                <c:pt idx="2558">
                  <c:v>167.43894804562748</c:v>
                </c:pt>
                <c:pt idx="2559">
                  <c:v>167.43894804562748</c:v>
                </c:pt>
                <c:pt idx="2560">
                  <c:v>168.85683780157265</c:v>
                </c:pt>
                <c:pt idx="2561">
                  <c:v>168.30581741418504</c:v>
                </c:pt>
                <c:pt idx="2562">
                  <c:v>166.57303665240451</c:v>
                </c:pt>
                <c:pt idx="2563">
                  <c:v>166.17427745996233</c:v>
                </c:pt>
                <c:pt idx="2564">
                  <c:v>165.67776367459695</c:v>
                </c:pt>
                <c:pt idx="2565">
                  <c:v>165.67776367459695</c:v>
                </c:pt>
                <c:pt idx="2566">
                  <c:v>165.67776367459695</c:v>
                </c:pt>
                <c:pt idx="2567">
                  <c:v>165.55265542491333</c:v>
                </c:pt>
                <c:pt idx="2568">
                  <c:v>165.80862135204544</c:v>
                </c:pt>
                <c:pt idx="2569">
                  <c:v>166.14238415830982</c:v>
                </c:pt>
                <c:pt idx="2570">
                  <c:v>165.90445497280439</c:v>
                </c:pt>
                <c:pt idx="2571">
                  <c:v>166.25003229346817</c:v>
                </c:pt>
                <c:pt idx="2572">
                  <c:v>166.25003229346817</c:v>
                </c:pt>
                <c:pt idx="2573">
                  <c:v>166.25003229346817</c:v>
                </c:pt>
                <c:pt idx="2574">
                  <c:v>165.74829634600778</c:v>
                </c:pt>
                <c:pt idx="2575">
                  <c:v>166.15424044348657</c:v>
                </c:pt>
                <c:pt idx="2576">
                  <c:v>166.23441152604298</c:v>
                </c:pt>
                <c:pt idx="2577">
                  <c:v>166.35515090382259</c:v>
                </c:pt>
                <c:pt idx="2578">
                  <c:v>168.33353119949783</c:v>
                </c:pt>
                <c:pt idx="2579">
                  <c:v>168.33353119949783</c:v>
                </c:pt>
                <c:pt idx="2580">
                  <c:v>168.33353119949783</c:v>
                </c:pt>
                <c:pt idx="2581">
                  <c:v>167.79330681449582</c:v>
                </c:pt>
                <c:pt idx="2582">
                  <c:v>167.93738589325821</c:v>
                </c:pt>
                <c:pt idx="2583">
                  <c:v>167.69196555626152</c:v>
                </c:pt>
                <c:pt idx="2584">
                  <c:v>168.39836628424763</c:v>
                </c:pt>
                <c:pt idx="2585">
                  <c:v>168.67012083182249</c:v>
                </c:pt>
                <c:pt idx="2586">
                  <c:v>168.67012083182249</c:v>
                </c:pt>
                <c:pt idx="2587">
                  <c:v>168.67400193130283</c:v>
                </c:pt>
                <c:pt idx="2588">
                  <c:v>168.71663428529098</c:v>
                </c:pt>
                <c:pt idx="2589">
                  <c:v>168.48040568979641</c:v>
                </c:pt>
                <c:pt idx="2590">
                  <c:v>168.32557051216344</c:v>
                </c:pt>
                <c:pt idx="2591">
                  <c:v>166.73001074602294</c:v>
                </c:pt>
                <c:pt idx="2592">
                  <c:v>165.4596047599432</c:v>
                </c:pt>
                <c:pt idx="2593">
                  <c:v>165.4596047599432</c:v>
                </c:pt>
                <c:pt idx="2594">
                  <c:v>165.4596047599432</c:v>
                </c:pt>
                <c:pt idx="2595">
                  <c:v>164.37639202005732</c:v>
                </c:pt>
                <c:pt idx="2596">
                  <c:v>164.11972157144584</c:v>
                </c:pt>
                <c:pt idx="2597">
                  <c:v>161.69585217433209</c:v>
                </c:pt>
                <c:pt idx="2598">
                  <c:v>159.4644785195797</c:v>
                </c:pt>
                <c:pt idx="2599">
                  <c:v>160.40208659786563</c:v>
                </c:pt>
                <c:pt idx="2600">
                  <c:v>160.40208659786563</c:v>
                </c:pt>
                <c:pt idx="2601">
                  <c:v>160.40208659786563</c:v>
                </c:pt>
                <c:pt idx="2602">
                  <c:v>160.41099853779701</c:v>
                </c:pt>
                <c:pt idx="2603">
                  <c:v>161.38916876578065</c:v>
                </c:pt>
                <c:pt idx="2604">
                  <c:v>161.6085256961837</c:v>
                </c:pt>
                <c:pt idx="2605">
                  <c:v>160.90142052068211</c:v>
                </c:pt>
                <c:pt idx="2606">
                  <c:v>161.52291352054266</c:v>
                </c:pt>
                <c:pt idx="2607">
                  <c:v>161.52291352054266</c:v>
                </c:pt>
                <c:pt idx="2608">
                  <c:v>161.52291352054266</c:v>
                </c:pt>
                <c:pt idx="2609">
                  <c:v>161.62502830647037</c:v>
                </c:pt>
                <c:pt idx="2610">
                  <c:v>160.32834141312293</c:v>
                </c:pt>
                <c:pt idx="2611">
                  <c:v>159.62158843163925</c:v>
                </c:pt>
                <c:pt idx="2612">
                  <c:v>160.88198603334962</c:v>
                </c:pt>
                <c:pt idx="2613">
                  <c:v>159.91216046278311</c:v>
                </c:pt>
                <c:pt idx="2614">
                  <c:v>159.91216046278311</c:v>
                </c:pt>
                <c:pt idx="2615">
                  <c:v>159.91216046278311</c:v>
                </c:pt>
                <c:pt idx="2616">
                  <c:v>160.27533377216693</c:v>
                </c:pt>
                <c:pt idx="2617">
                  <c:v>161.09103264485364</c:v>
                </c:pt>
                <c:pt idx="2618">
                  <c:v>162.12712183951555</c:v>
                </c:pt>
                <c:pt idx="2619">
                  <c:v>161.17600470051525</c:v>
                </c:pt>
                <c:pt idx="2620">
                  <c:v>161.35946973490582</c:v>
                </c:pt>
                <c:pt idx="2621">
                  <c:v>161.35946973490582</c:v>
                </c:pt>
                <c:pt idx="2622">
                  <c:v>161.35946973490582</c:v>
                </c:pt>
                <c:pt idx="2623">
                  <c:v>160.84759715703927</c:v>
                </c:pt>
                <c:pt idx="2624">
                  <c:v>160.40859581011856</c:v>
                </c:pt>
                <c:pt idx="2625">
                  <c:v>161.48377933794268</c:v>
                </c:pt>
                <c:pt idx="2626">
                  <c:v>161.44276245799085</c:v>
                </c:pt>
                <c:pt idx="2627">
                  <c:v>161.34048685354608</c:v>
                </c:pt>
                <c:pt idx="2628">
                  <c:v>161.34048685354608</c:v>
                </c:pt>
                <c:pt idx="2629">
                  <c:v>161.34048685354608</c:v>
                </c:pt>
                <c:pt idx="2630">
                  <c:v>160.95741774901458</c:v>
                </c:pt>
                <c:pt idx="2631">
                  <c:v>160.3499644544298</c:v>
                </c:pt>
                <c:pt idx="2632">
                  <c:v>159.84947854187499</c:v>
                </c:pt>
                <c:pt idx="2633">
                  <c:v>161.69937659467047</c:v>
                </c:pt>
                <c:pt idx="2634">
                  <c:v>161.55372426420905</c:v>
                </c:pt>
                <c:pt idx="2635">
                  <c:v>161.55372426420905</c:v>
                </c:pt>
                <c:pt idx="2636">
                  <c:v>161.55372426420905</c:v>
                </c:pt>
                <c:pt idx="2637">
                  <c:v>160.9371997105975</c:v>
                </c:pt>
                <c:pt idx="2638">
                  <c:v>159.58023035191366</c:v>
                </c:pt>
                <c:pt idx="2639">
                  <c:v>160.7772655968179</c:v>
                </c:pt>
                <c:pt idx="2640">
                  <c:v>159.49184010396274</c:v>
                </c:pt>
                <c:pt idx="2641">
                  <c:v>159.58928164367427</c:v>
                </c:pt>
                <c:pt idx="2642">
                  <c:v>159.58928164367427</c:v>
                </c:pt>
                <c:pt idx="2643">
                  <c:v>159.58928164367427</c:v>
                </c:pt>
                <c:pt idx="2644">
                  <c:v>160.93341438885403</c:v>
                </c:pt>
                <c:pt idx="2645">
                  <c:v>161.37178735364444</c:v>
                </c:pt>
                <c:pt idx="2646">
                  <c:v>161.92319313731397</c:v>
                </c:pt>
                <c:pt idx="2647">
                  <c:v>162.39263600116189</c:v>
                </c:pt>
                <c:pt idx="2648">
                  <c:v>162.39402932997879</c:v>
                </c:pt>
                <c:pt idx="2649">
                  <c:v>162.39402932997879</c:v>
                </c:pt>
                <c:pt idx="2650">
                  <c:v>162.39402932997879</c:v>
                </c:pt>
                <c:pt idx="2651">
                  <c:v>164.32435843841546</c:v>
                </c:pt>
                <c:pt idx="2652">
                  <c:v>162.85046589459435</c:v>
                </c:pt>
                <c:pt idx="2653">
                  <c:v>161.65850145153479</c:v>
                </c:pt>
                <c:pt idx="2654">
                  <c:v>159.07418499953516</c:v>
                </c:pt>
                <c:pt idx="2655">
                  <c:v>159.40959450934852</c:v>
                </c:pt>
                <c:pt idx="2656">
                  <c:v>159.40959450934852</c:v>
                </c:pt>
                <c:pt idx="2657">
                  <c:v>159.40959450934852</c:v>
                </c:pt>
                <c:pt idx="2658">
                  <c:v>159.87556947734666</c:v>
                </c:pt>
                <c:pt idx="2659">
                  <c:v>160.66902713239566</c:v>
                </c:pt>
                <c:pt idx="2660">
                  <c:v>161.07572703408562</c:v>
                </c:pt>
                <c:pt idx="2661">
                  <c:v>161.09762044690407</c:v>
                </c:pt>
                <c:pt idx="2662">
                  <c:v>160.11019352506543</c:v>
                </c:pt>
                <c:pt idx="2663">
                  <c:v>160.11019352506543</c:v>
                </c:pt>
                <c:pt idx="2664">
                  <c:v>160.11019352506543</c:v>
                </c:pt>
                <c:pt idx="2665">
                  <c:v>158.80673804067979</c:v>
                </c:pt>
                <c:pt idx="2666">
                  <c:v>158.17757750591022</c:v>
                </c:pt>
                <c:pt idx="2667">
                  <c:v>158.57965225372405</c:v>
                </c:pt>
                <c:pt idx="2668">
                  <c:v>157.48087921600234</c:v>
                </c:pt>
                <c:pt idx="2669">
                  <c:v>156.39774620126897</c:v>
                </c:pt>
                <c:pt idx="2670">
                  <c:v>156.39774620126897</c:v>
                </c:pt>
                <c:pt idx="2671">
                  <c:v>156.39774620126897</c:v>
                </c:pt>
                <c:pt idx="2672">
                  <c:v>155.32775571256536</c:v>
                </c:pt>
                <c:pt idx="2673">
                  <c:v>155.10363950695793</c:v>
                </c:pt>
                <c:pt idx="2674">
                  <c:v>156.22052995779276</c:v>
                </c:pt>
                <c:pt idx="2675">
                  <c:v>156.23938890016927</c:v>
                </c:pt>
                <c:pt idx="2676">
                  <c:v>157.662529746632</c:v>
                </c:pt>
                <c:pt idx="2677">
                  <c:v>157.662529746632</c:v>
                </c:pt>
                <c:pt idx="2678">
                  <c:v>157.662529746632</c:v>
                </c:pt>
                <c:pt idx="2679">
                  <c:v>157.86112935222735</c:v>
                </c:pt>
                <c:pt idx="2680">
                  <c:v>157.86228963152809</c:v>
                </c:pt>
                <c:pt idx="2681">
                  <c:v>158.25370286417788</c:v>
                </c:pt>
                <c:pt idx="2682">
                  <c:v>157.11669115506152</c:v>
                </c:pt>
                <c:pt idx="2683">
                  <c:v>158.92726462475966</c:v>
                </c:pt>
                <c:pt idx="2684">
                  <c:v>158.92726462475966</c:v>
                </c:pt>
                <c:pt idx="2685">
                  <c:v>158.92726462475966</c:v>
                </c:pt>
                <c:pt idx="2686">
                  <c:v>158.50916672334807</c:v>
                </c:pt>
                <c:pt idx="2687">
                  <c:v>159.41600876181403</c:v>
                </c:pt>
                <c:pt idx="2688">
                  <c:v>160.29892316722075</c:v>
                </c:pt>
                <c:pt idx="2689">
                  <c:v>160.50199625504592</c:v>
                </c:pt>
                <c:pt idx="2690">
                  <c:v>160.26080990527348</c:v>
                </c:pt>
                <c:pt idx="2691">
                  <c:v>160.26080990527348</c:v>
                </c:pt>
                <c:pt idx="2692">
                  <c:v>160.26080990527348</c:v>
                </c:pt>
                <c:pt idx="2693">
                  <c:v>159.18212324074685</c:v>
                </c:pt>
                <c:pt idx="2694">
                  <c:v>160.84445260282254</c:v>
                </c:pt>
                <c:pt idx="2695">
                  <c:v>160.3283719175347</c:v>
                </c:pt>
                <c:pt idx="2696">
                  <c:v>160.06256190644888</c:v>
                </c:pt>
                <c:pt idx="2697">
                  <c:v>161.79016515587375</c:v>
                </c:pt>
                <c:pt idx="2698">
                  <c:v>161.79016515587375</c:v>
                </c:pt>
                <c:pt idx="2699">
                  <c:v>161.79016515587375</c:v>
                </c:pt>
                <c:pt idx="2700">
                  <c:v>161.86665631015615</c:v>
                </c:pt>
                <c:pt idx="2701">
                  <c:v>160.51933491636012</c:v>
                </c:pt>
                <c:pt idx="2702">
                  <c:v>159.60937970019955</c:v>
                </c:pt>
                <c:pt idx="2703">
                  <c:v>159.90260926430335</c:v>
                </c:pt>
                <c:pt idx="2704">
                  <c:v>159.7064199559187</c:v>
                </c:pt>
                <c:pt idx="2705">
                  <c:v>159.7064199559187</c:v>
                </c:pt>
                <c:pt idx="2706">
                  <c:v>159.7064199559187</c:v>
                </c:pt>
                <c:pt idx="2707">
                  <c:v>159.05073886053287</c:v>
                </c:pt>
                <c:pt idx="2708">
                  <c:v>159.59865116032611</c:v>
                </c:pt>
                <c:pt idx="2709">
                  <c:v>161.24963855909223</c:v>
                </c:pt>
                <c:pt idx="2710">
                  <c:v>161.60857057954647</c:v>
                </c:pt>
                <c:pt idx="2711">
                  <c:v>162.50519432215026</c:v>
                </c:pt>
                <c:pt idx="2712">
                  <c:v>162.50519432215026</c:v>
                </c:pt>
                <c:pt idx="2713">
                  <c:v>162.50519432215026</c:v>
                </c:pt>
                <c:pt idx="2714">
                  <c:v>162.79783042598169</c:v>
                </c:pt>
                <c:pt idx="2715">
                  <c:v>165.06923622341242</c:v>
                </c:pt>
                <c:pt idx="2716">
                  <c:v>164.86867214932388</c:v>
                </c:pt>
                <c:pt idx="2717">
                  <c:v>163.84391607939926</c:v>
                </c:pt>
                <c:pt idx="2718">
                  <c:v>163.89081640037699</c:v>
                </c:pt>
                <c:pt idx="2719">
                  <c:v>163.89081640037699</c:v>
                </c:pt>
                <c:pt idx="2720">
                  <c:v>163.89081640037699</c:v>
                </c:pt>
                <c:pt idx="2721">
                  <c:v>164.95787672779656</c:v>
                </c:pt>
                <c:pt idx="2722">
                  <c:v>165.25491142768399</c:v>
                </c:pt>
                <c:pt idx="2723">
                  <c:v>166.02107946843793</c:v>
                </c:pt>
                <c:pt idx="2724">
                  <c:v>166.75185611414494</c:v>
                </c:pt>
                <c:pt idx="2725">
                  <c:v>166.91152935396707</c:v>
                </c:pt>
                <c:pt idx="2726">
                  <c:v>166.91152935396707</c:v>
                </c:pt>
                <c:pt idx="2727">
                  <c:v>166.91152935396707</c:v>
                </c:pt>
                <c:pt idx="2728">
                  <c:v>166.5596264383995</c:v>
                </c:pt>
                <c:pt idx="2729">
                  <c:v>166.06680148771224</c:v>
                </c:pt>
                <c:pt idx="2730">
                  <c:v>166.53312536962983</c:v>
                </c:pt>
                <c:pt idx="2731">
                  <c:v>166.1940955676711</c:v>
                </c:pt>
                <c:pt idx="2732">
                  <c:v>166.6271724516061</c:v>
                </c:pt>
                <c:pt idx="2733">
                  <c:v>166.6271724516061</c:v>
                </c:pt>
                <c:pt idx="2734">
                  <c:v>166.6271724516061</c:v>
                </c:pt>
                <c:pt idx="2735">
                  <c:v>166.7801178669277</c:v>
                </c:pt>
                <c:pt idx="2736">
                  <c:v>165.36696324342236</c:v>
                </c:pt>
                <c:pt idx="2737">
                  <c:v>164.29755824350201</c:v>
                </c:pt>
                <c:pt idx="2738">
                  <c:v>164.30908207423721</c:v>
                </c:pt>
                <c:pt idx="2739">
                  <c:v>164.79392367053106</c:v>
                </c:pt>
                <c:pt idx="2740">
                  <c:v>164.79392367053106</c:v>
                </c:pt>
                <c:pt idx="2741">
                  <c:v>164.79392367053106</c:v>
                </c:pt>
                <c:pt idx="2742">
                  <c:v>165.1456120309756</c:v>
                </c:pt>
                <c:pt idx="2743">
                  <c:v>165.65458254997444</c:v>
                </c:pt>
                <c:pt idx="2744">
                  <c:v>165.44523491473109</c:v>
                </c:pt>
                <c:pt idx="2745">
                  <c:v>164.91479102035689</c:v>
                </c:pt>
                <c:pt idx="2746">
                  <c:v>164.9331377908579</c:v>
                </c:pt>
                <c:pt idx="2747">
                  <c:v>164.9331377908579</c:v>
                </c:pt>
                <c:pt idx="2748">
                  <c:v>164.9331377908579</c:v>
                </c:pt>
                <c:pt idx="2749">
                  <c:v>165.28713213516704</c:v>
                </c:pt>
                <c:pt idx="2750">
                  <c:v>165.94731042824208</c:v>
                </c:pt>
                <c:pt idx="2751">
                  <c:v>165.77320846697938</c:v>
                </c:pt>
                <c:pt idx="2752">
                  <c:v>165.94876063701383</c:v>
                </c:pt>
                <c:pt idx="2753">
                  <c:v>167.17673002161195</c:v>
                </c:pt>
                <c:pt idx="2754">
                  <c:v>167.17673002161195</c:v>
                </c:pt>
                <c:pt idx="2755">
                  <c:v>167.17673002161195</c:v>
                </c:pt>
                <c:pt idx="2756">
                  <c:v>167.97281725113837</c:v>
                </c:pt>
                <c:pt idx="2757">
                  <c:v>167.90625634257444</c:v>
                </c:pt>
                <c:pt idx="2758">
                  <c:v>167.5911752153599</c:v>
                </c:pt>
                <c:pt idx="2759">
                  <c:v>169.33837522571488</c:v>
                </c:pt>
                <c:pt idx="2760">
                  <c:v>166.44036568684706</c:v>
                </c:pt>
                <c:pt idx="2761">
                  <c:v>166.44036568684706</c:v>
                </c:pt>
                <c:pt idx="2762">
                  <c:v>166.44036568684706</c:v>
                </c:pt>
                <c:pt idx="2763">
                  <c:v>166.12096163188303</c:v>
                </c:pt>
                <c:pt idx="2764">
                  <c:v>166.48888966012458</c:v>
                </c:pt>
                <c:pt idx="2765">
                  <c:v>166.47081396137418</c:v>
                </c:pt>
                <c:pt idx="2766">
                  <c:v>167.42100772625989</c:v>
                </c:pt>
                <c:pt idx="2767">
                  <c:v>168.77672277526435</c:v>
                </c:pt>
                <c:pt idx="2768">
                  <c:v>168.77672277526435</c:v>
                </c:pt>
                <c:pt idx="2769">
                  <c:v>168.78107215141026</c:v>
                </c:pt>
                <c:pt idx="2770">
                  <c:v>168.78552459609361</c:v>
                </c:pt>
                <c:pt idx="2771">
                  <c:v>170.12119871785333</c:v>
                </c:pt>
                <c:pt idx="2772">
                  <c:v>170.20487623186671</c:v>
                </c:pt>
                <c:pt idx="2773">
                  <c:v>170.61417130183898</c:v>
                </c:pt>
                <c:pt idx="2774">
                  <c:v>171.6721924316245</c:v>
                </c:pt>
                <c:pt idx="2775">
                  <c:v>171.6721924316245</c:v>
                </c:pt>
                <c:pt idx="2776">
                  <c:v>171.6721924316245</c:v>
                </c:pt>
                <c:pt idx="2777">
                  <c:v>171.60148408900577</c:v>
                </c:pt>
                <c:pt idx="2778">
                  <c:v>171.11676824095892</c:v>
                </c:pt>
                <c:pt idx="2779">
                  <c:v>170.92063249003346</c:v>
                </c:pt>
                <c:pt idx="2780">
                  <c:v>171.02767837295565</c:v>
                </c:pt>
                <c:pt idx="2781">
                  <c:v>171.1510030112768</c:v>
                </c:pt>
                <c:pt idx="2782">
                  <c:v>171.1510030112768</c:v>
                </c:pt>
                <c:pt idx="2783">
                  <c:v>171.1510030112768</c:v>
                </c:pt>
                <c:pt idx="2784">
                  <c:v>170.9632486494634</c:v>
                </c:pt>
                <c:pt idx="2785">
                  <c:v>171.82799272855979</c:v>
                </c:pt>
                <c:pt idx="2786">
                  <c:v>172.02026481586319</c:v>
                </c:pt>
                <c:pt idx="2787">
                  <c:v>172.24505917772188</c:v>
                </c:pt>
                <c:pt idx="2788">
                  <c:v>172.31710239617357</c:v>
                </c:pt>
                <c:pt idx="2789">
                  <c:v>172.31710239617357</c:v>
                </c:pt>
                <c:pt idx="2790">
                  <c:v>172.31710239617357</c:v>
                </c:pt>
                <c:pt idx="2791">
                  <c:v>172.45926055930835</c:v>
                </c:pt>
                <c:pt idx="2792">
                  <c:v>173.56771658766422</c:v>
                </c:pt>
                <c:pt idx="2793">
                  <c:v>173.44133325483091</c:v>
                </c:pt>
                <c:pt idx="2794">
                  <c:v>173.77645659894588</c:v>
                </c:pt>
                <c:pt idx="2795">
                  <c:v>173.76842986441559</c:v>
                </c:pt>
                <c:pt idx="2796">
                  <c:v>173.76842986441559</c:v>
                </c:pt>
                <c:pt idx="2797">
                  <c:v>173.76842986441559</c:v>
                </c:pt>
                <c:pt idx="2798">
                  <c:v>173.96223726961199</c:v>
                </c:pt>
                <c:pt idx="2799">
                  <c:v>173.07407306723198</c:v>
                </c:pt>
                <c:pt idx="2800">
                  <c:v>172.61352122805934</c:v>
                </c:pt>
                <c:pt idx="2801">
                  <c:v>172.61058507206326</c:v>
                </c:pt>
                <c:pt idx="2802">
                  <c:v>172.6451900421585</c:v>
                </c:pt>
                <c:pt idx="2803">
                  <c:v>172.6451900421585</c:v>
                </c:pt>
                <c:pt idx="2804">
                  <c:v>172.6451900421585</c:v>
                </c:pt>
                <c:pt idx="2805">
                  <c:v>172.5030564365525</c:v>
                </c:pt>
                <c:pt idx="2806">
                  <c:v>171.06194002762308</c:v>
                </c:pt>
                <c:pt idx="2807">
                  <c:v>171.76034316327087</c:v>
                </c:pt>
                <c:pt idx="2808">
                  <c:v>170.51158363475034</c:v>
                </c:pt>
                <c:pt idx="2809">
                  <c:v>170.80529154267703</c:v>
                </c:pt>
                <c:pt idx="2810">
                  <c:v>170.80529154267703</c:v>
                </c:pt>
                <c:pt idx="2811">
                  <c:v>170.80529154267703</c:v>
                </c:pt>
                <c:pt idx="2812">
                  <c:v>169.78323196330268</c:v>
                </c:pt>
                <c:pt idx="2813">
                  <c:v>170.9548788817643</c:v>
                </c:pt>
                <c:pt idx="2814">
                  <c:v>172.5268295076676</c:v>
                </c:pt>
                <c:pt idx="2815">
                  <c:v>174.4880972528278</c:v>
                </c:pt>
                <c:pt idx="2816">
                  <c:v>174.52452687777222</c:v>
                </c:pt>
                <c:pt idx="2817">
                  <c:v>174.52452687777222</c:v>
                </c:pt>
                <c:pt idx="2818">
                  <c:v>174.52452687777222</c:v>
                </c:pt>
                <c:pt idx="2819">
                  <c:v>173.64148861961928</c:v>
                </c:pt>
                <c:pt idx="2820">
                  <c:v>173.91077704941526</c:v>
                </c:pt>
                <c:pt idx="2821">
                  <c:v>174.85936642640021</c:v>
                </c:pt>
                <c:pt idx="2822">
                  <c:v>173.34460519848358</c:v>
                </c:pt>
                <c:pt idx="2823">
                  <c:v>174.16395314387523</c:v>
                </c:pt>
                <c:pt idx="2824">
                  <c:v>174.16395314387523</c:v>
                </c:pt>
                <c:pt idx="2825">
                  <c:v>174.16395314387523</c:v>
                </c:pt>
                <c:pt idx="2826">
                  <c:v>174.26910114730677</c:v>
                </c:pt>
                <c:pt idx="2827">
                  <c:v>173.96422606830461</c:v>
                </c:pt>
                <c:pt idx="2828">
                  <c:v>172.84085033882627</c:v>
                </c:pt>
                <c:pt idx="2829">
                  <c:v>173.73302888214772</c:v>
                </c:pt>
                <c:pt idx="2830">
                  <c:v>172.84066307793688</c:v>
                </c:pt>
                <c:pt idx="2831">
                  <c:v>172.84066307793688</c:v>
                </c:pt>
                <c:pt idx="2832">
                  <c:v>172.84066307793688</c:v>
                </c:pt>
                <c:pt idx="2833">
                  <c:v>172.85983110747222</c:v>
                </c:pt>
                <c:pt idx="2834">
                  <c:v>173.51362674648186</c:v>
                </c:pt>
                <c:pt idx="2835">
                  <c:v>174.1746060859374</c:v>
                </c:pt>
                <c:pt idx="2836">
                  <c:v>174.84886211228695</c:v>
                </c:pt>
                <c:pt idx="2837">
                  <c:v>175.82637216081187</c:v>
                </c:pt>
                <c:pt idx="2838">
                  <c:v>175.82637216081187</c:v>
                </c:pt>
                <c:pt idx="2839">
                  <c:v>175.82637216081187</c:v>
                </c:pt>
                <c:pt idx="2840">
                  <c:v>176.98513125084557</c:v>
                </c:pt>
                <c:pt idx="2841">
                  <c:v>177.22286475854696</c:v>
                </c:pt>
                <c:pt idx="2842">
                  <c:v>176.90985727926773</c:v>
                </c:pt>
                <c:pt idx="2843">
                  <c:v>177.63241020935342</c:v>
                </c:pt>
                <c:pt idx="2844">
                  <c:v>177.83416687719333</c:v>
                </c:pt>
                <c:pt idx="2845">
                  <c:v>177.83416687719333</c:v>
                </c:pt>
                <c:pt idx="2846">
                  <c:v>177.83416687719333</c:v>
                </c:pt>
                <c:pt idx="2847">
                  <c:v>178.31326101446882</c:v>
                </c:pt>
                <c:pt idx="2848">
                  <c:v>179.87742672322034</c:v>
                </c:pt>
                <c:pt idx="2849">
                  <c:v>179.60094072815261</c:v>
                </c:pt>
                <c:pt idx="2850">
                  <c:v>180.56385859980074</c:v>
                </c:pt>
                <c:pt idx="2851">
                  <c:v>180.21302302254131</c:v>
                </c:pt>
                <c:pt idx="2852">
                  <c:v>180.21302302254131</c:v>
                </c:pt>
                <c:pt idx="2853">
                  <c:v>180.21302302254131</c:v>
                </c:pt>
                <c:pt idx="2854">
                  <c:v>180.58419697327943</c:v>
                </c:pt>
                <c:pt idx="2855">
                  <c:v>180.26503968691674</c:v>
                </c:pt>
                <c:pt idx="2856">
                  <c:v>180.03983277018548</c:v>
                </c:pt>
                <c:pt idx="2857">
                  <c:v>180.10529345298241</c:v>
                </c:pt>
                <c:pt idx="2858">
                  <c:v>180.35278694303375</c:v>
                </c:pt>
                <c:pt idx="2859">
                  <c:v>180.35278694303375</c:v>
                </c:pt>
                <c:pt idx="2860">
                  <c:v>180.35683947015636</c:v>
                </c:pt>
                <c:pt idx="2861">
                  <c:v>181.79031743383356</c:v>
                </c:pt>
                <c:pt idx="2862">
                  <c:v>183.12080804487468</c:v>
                </c:pt>
                <c:pt idx="2863">
                  <c:v>184.46281804267196</c:v>
                </c:pt>
                <c:pt idx="2864">
                  <c:v>184.41439286367938</c:v>
                </c:pt>
                <c:pt idx="2865">
                  <c:v>183.82321195618843</c:v>
                </c:pt>
                <c:pt idx="2866">
                  <c:v>183.82321195618843</c:v>
                </c:pt>
                <c:pt idx="2867">
                  <c:v>183.82321195618843</c:v>
                </c:pt>
                <c:pt idx="2868">
                  <c:v>183.30264667871393</c:v>
                </c:pt>
                <c:pt idx="2869">
                  <c:v>183.56819905598385</c:v>
                </c:pt>
                <c:pt idx="2870">
                  <c:v>183.71455063836322</c:v>
                </c:pt>
                <c:pt idx="2871">
                  <c:v>183.38682776291597</c:v>
                </c:pt>
                <c:pt idx="2872">
                  <c:v>183.20732323429681</c:v>
                </c:pt>
                <c:pt idx="2873">
                  <c:v>183.20732323429681</c:v>
                </c:pt>
                <c:pt idx="2874">
                  <c:v>183.20732323429681</c:v>
                </c:pt>
                <c:pt idx="2875">
                  <c:v>184.08663960667246</c:v>
                </c:pt>
                <c:pt idx="2876">
                  <c:v>184.78316822495225</c:v>
                </c:pt>
                <c:pt idx="2877">
                  <c:v>184.58584382309988</c:v>
                </c:pt>
                <c:pt idx="2878">
                  <c:v>183.99367213167255</c:v>
                </c:pt>
                <c:pt idx="2879">
                  <c:v>183.78806472287559</c:v>
                </c:pt>
                <c:pt idx="2880">
                  <c:v>183.78806472287559</c:v>
                </c:pt>
                <c:pt idx="2881">
                  <c:v>183.78806472287559</c:v>
                </c:pt>
                <c:pt idx="2882">
                  <c:v>184.32033517500017</c:v>
                </c:pt>
                <c:pt idx="2883">
                  <c:v>185.34565574668147</c:v>
                </c:pt>
                <c:pt idx="2884">
                  <c:v>184.97876587458748</c:v>
                </c:pt>
                <c:pt idx="2885">
                  <c:v>184.55031435749345</c:v>
                </c:pt>
                <c:pt idx="2886">
                  <c:v>185.9916873771852</c:v>
                </c:pt>
                <c:pt idx="2887">
                  <c:v>185.9916873771852</c:v>
                </c:pt>
                <c:pt idx="2888">
                  <c:v>185.9916873771852</c:v>
                </c:pt>
                <c:pt idx="2889">
                  <c:v>188.13796635242733</c:v>
                </c:pt>
                <c:pt idx="2890">
                  <c:v>188.25397786661921</c:v>
                </c:pt>
                <c:pt idx="2891">
                  <c:v>186.95763461947277</c:v>
                </c:pt>
                <c:pt idx="2892">
                  <c:v>187.04116168189171</c:v>
                </c:pt>
                <c:pt idx="2893">
                  <c:v>185.21729525815732</c:v>
                </c:pt>
                <c:pt idx="2894">
                  <c:v>185.21729525815732</c:v>
                </c:pt>
                <c:pt idx="2895">
                  <c:v>185.21729525815732</c:v>
                </c:pt>
                <c:pt idx="2896">
                  <c:v>182.18539926515845</c:v>
                </c:pt>
                <c:pt idx="2897">
                  <c:v>181.92398872316883</c:v>
                </c:pt>
                <c:pt idx="2898">
                  <c:v>182.93441456817609</c:v>
                </c:pt>
                <c:pt idx="2899">
                  <c:v>184.91734678964102</c:v>
                </c:pt>
                <c:pt idx="2900">
                  <c:v>184.99281525721278</c:v>
                </c:pt>
                <c:pt idx="2901">
                  <c:v>184.99281525721278</c:v>
                </c:pt>
                <c:pt idx="2902">
                  <c:v>184.99281525721278</c:v>
                </c:pt>
                <c:pt idx="2903">
                  <c:v>184.43120296908603</c:v>
                </c:pt>
                <c:pt idx="2904">
                  <c:v>185.3161592102926</c:v>
                </c:pt>
                <c:pt idx="2905">
                  <c:v>183.01263858175363</c:v>
                </c:pt>
                <c:pt idx="2906">
                  <c:v>182.31977103334697</c:v>
                </c:pt>
                <c:pt idx="2907">
                  <c:v>183.22704890994021</c:v>
                </c:pt>
                <c:pt idx="2908">
                  <c:v>183.22704890994021</c:v>
                </c:pt>
                <c:pt idx="2909">
                  <c:v>183.22704890994021</c:v>
                </c:pt>
                <c:pt idx="2910">
                  <c:v>184.53780941107971</c:v>
                </c:pt>
                <c:pt idx="2911">
                  <c:v>183.80443585732104</c:v>
                </c:pt>
                <c:pt idx="2912">
                  <c:v>184.85467969945492</c:v>
                </c:pt>
                <c:pt idx="2913">
                  <c:v>182.78688231250922</c:v>
                </c:pt>
                <c:pt idx="2914">
                  <c:v>181.28915950047934</c:v>
                </c:pt>
                <c:pt idx="2915">
                  <c:v>181.28915950047934</c:v>
                </c:pt>
                <c:pt idx="2916">
                  <c:v>181.28915950047934</c:v>
                </c:pt>
                <c:pt idx="2917">
                  <c:v>182.03421081084485</c:v>
                </c:pt>
                <c:pt idx="2918">
                  <c:v>182.24197737769595</c:v>
                </c:pt>
                <c:pt idx="2919">
                  <c:v>182.87360437983</c:v>
                </c:pt>
                <c:pt idx="2920">
                  <c:v>184.28723380031047</c:v>
                </c:pt>
                <c:pt idx="2921">
                  <c:v>184.91363532235943</c:v>
                </c:pt>
                <c:pt idx="2922">
                  <c:v>184.91575628175659</c:v>
                </c:pt>
                <c:pt idx="2923">
                  <c:v>184.91575628175659</c:v>
                </c:pt>
                <c:pt idx="2924">
                  <c:v>186.09675774240128</c:v>
                </c:pt>
                <c:pt idx="2925">
                  <c:v>185.46743619771138</c:v>
                </c:pt>
                <c:pt idx="2926">
                  <c:v>186.07059855631869</c:v>
                </c:pt>
                <c:pt idx="2927">
                  <c:v>185.49176827762369</c:v>
                </c:pt>
                <c:pt idx="2928">
                  <c:v>185.80609520847622</c:v>
                </c:pt>
                <c:pt idx="2929">
                  <c:v>185.80609520847622</c:v>
                </c:pt>
                <c:pt idx="2930">
                  <c:v>185.80609520847622</c:v>
                </c:pt>
                <c:pt idx="2931">
                  <c:v>184.99972648424668</c:v>
                </c:pt>
                <c:pt idx="2932">
                  <c:v>184.66346543139713</c:v>
                </c:pt>
                <c:pt idx="2933">
                  <c:v>185.71890208153167</c:v>
                </c:pt>
                <c:pt idx="2934">
                  <c:v>186.27864585208226</c:v>
                </c:pt>
                <c:pt idx="2935">
                  <c:v>185.3381920294876</c:v>
                </c:pt>
                <c:pt idx="2936">
                  <c:v>185.3381920294876</c:v>
                </c:pt>
                <c:pt idx="2937">
                  <c:v>185.3381920294876</c:v>
                </c:pt>
                <c:pt idx="2938">
                  <c:v>184.93624909243326</c:v>
                </c:pt>
                <c:pt idx="2939">
                  <c:v>184.63290371113442</c:v>
                </c:pt>
                <c:pt idx="2940">
                  <c:v>184.74622584844519</c:v>
                </c:pt>
                <c:pt idx="2941">
                  <c:v>185.02986488152806</c:v>
                </c:pt>
                <c:pt idx="2942">
                  <c:v>184.57934306472262</c:v>
                </c:pt>
                <c:pt idx="2943">
                  <c:v>184.57934306472262</c:v>
                </c:pt>
                <c:pt idx="2944">
                  <c:v>184.57934306472262</c:v>
                </c:pt>
                <c:pt idx="2945">
                  <c:v>185.04247847758003</c:v>
                </c:pt>
                <c:pt idx="2946">
                  <c:v>184.218238214423</c:v>
                </c:pt>
                <c:pt idx="2947">
                  <c:v>184.51287502244077</c:v>
                </c:pt>
                <c:pt idx="2948">
                  <c:v>185.63546057972104</c:v>
                </c:pt>
                <c:pt idx="2949">
                  <c:v>186.07016128140597</c:v>
                </c:pt>
                <c:pt idx="2950">
                  <c:v>186.07016128140597</c:v>
                </c:pt>
                <c:pt idx="2951">
                  <c:v>186.07016128140597</c:v>
                </c:pt>
                <c:pt idx="2952">
                  <c:v>186.12874175028219</c:v>
                </c:pt>
                <c:pt idx="2953">
                  <c:v>186.03710126428143</c:v>
                </c:pt>
                <c:pt idx="2954">
                  <c:v>182.23273742234852</c:v>
                </c:pt>
                <c:pt idx="2955">
                  <c:v>181.80382716224179</c:v>
                </c:pt>
                <c:pt idx="2956">
                  <c:v>184.15760313370762</c:v>
                </c:pt>
                <c:pt idx="2957">
                  <c:v>184.15760313370762</c:v>
                </c:pt>
                <c:pt idx="2958">
                  <c:v>184.15760313370762</c:v>
                </c:pt>
                <c:pt idx="2959">
                  <c:v>184.19043475119432</c:v>
                </c:pt>
                <c:pt idx="2960">
                  <c:v>183.60605007505052</c:v>
                </c:pt>
                <c:pt idx="2961">
                  <c:v>184.34078640563587</c:v>
                </c:pt>
                <c:pt idx="2962">
                  <c:v>184.33607834195107</c:v>
                </c:pt>
                <c:pt idx="2963">
                  <c:v>182.77460797625363</c:v>
                </c:pt>
                <c:pt idx="2964">
                  <c:v>182.77460797625363</c:v>
                </c:pt>
                <c:pt idx="2965">
                  <c:v>182.77460797625363</c:v>
                </c:pt>
                <c:pt idx="2966">
                  <c:v>183.05859219565068</c:v>
                </c:pt>
                <c:pt idx="2967">
                  <c:v>182.37541936016243</c:v>
                </c:pt>
                <c:pt idx="2968">
                  <c:v>182.02274724546632</c:v>
                </c:pt>
                <c:pt idx="2969">
                  <c:v>182.22795423002844</c:v>
                </c:pt>
                <c:pt idx="2970">
                  <c:v>181.61180871574496</c:v>
                </c:pt>
                <c:pt idx="2971">
                  <c:v>181.61180871574496</c:v>
                </c:pt>
                <c:pt idx="2972">
                  <c:v>181.61180871574496</c:v>
                </c:pt>
                <c:pt idx="2973">
                  <c:v>181.66725480094587</c:v>
                </c:pt>
                <c:pt idx="2974">
                  <c:v>182.19910748944619</c:v>
                </c:pt>
                <c:pt idx="2975">
                  <c:v>182.65996008993895</c:v>
                </c:pt>
                <c:pt idx="2976">
                  <c:v>184.01909449437656</c:v>
                </c:pt>
                <c:pt idx="2977">
                  <c:v>184.05384466018089</c:v>
                </c:pt>
                <c:pt idx="2978">
                  <c:v>184.05384466018089</c:v>
                </c:pt>
                <c:pt idx="2979">
                  <c:v>184.05384466018089</c:v>
                </c:pt>
                <c:pt idx="2980">
                  <c:v>184.21432120734008</c:v>
                </c:pt>
                <c:pt idx="2981">
                  <c:v>183.42947424969299</c:v>
                </c:pt>
                <c:pt idx="2982">
                  <c:v>184.16706250859843</c:v>
                </c:pt>
                <c:pt idx="2983">
                  <c:v>183.15516210865681</c:v>
                </c:pt>
                <c:pt idx="2984">
                  <c:v>184.08960326177061</c:v>
                </c:pt>
                <c:pt idx="2985">
                  <c:v>184.08960326177061</c:v>
                </c:pt>
                <c:pt idx="2986">
                  <c:v>184.08960326177061</c:v>
                </c:pt>
                <c:pt idx="2987">
                  <c:v>184.86980445473054</c:v>
                </c:pt>
                <c:pt idx="2988">
                  <c:v>184.72907601348547</c:v>
                </c:pt>
                <c:pt idx="2989">
                  <c:v>185.07037221787417</c:v>
                </c:pt>
                <c:pt idx="2990">
                  <c:v>185.65211317238521</c:v>
                </c:pt>
                <c:pt idx="2991">
                  <c:v>185.41250684208268</c:v>
                </c:pt>
                <c:pt idx="2992">
                  <c:v>185.41250684208268</c:v>
                </c:pt>
                <c:pt idx="2993">
                  <c:v>185.41250684208268</c:v>
                </c:pt>
                <c:pt idx="2994">
                  <c:v>184.70851594897903</c:v>
                </c:pt>
                <c:pt idx="2995">
                  <c:v>185.33943036816143</c:v>
                </c:pt>
                <c:pt idx="2996">
                  <c:v>185.45592546711936</c:v>
                </c:pt>
                <c:pt idx="2997">
                  <c:v>185.10644119381359</c:v>
                </c:pt>
                <c:pt idx="2998">
                  <c:v>185.68834735554373</c:v>
                </c:pt>
                <c:pt idx="2999">
                  <c:v>185.68834735554373</c:v>
                </c:pt>
                <c:pt idx="3000">
                  <c:v>185.68834735554373</c:v>
                </c:pt>
                <c:pt idx="3001">
                  <c:v>185.54334703886073</c:v>
                </c:pt>
                <c:pt idx="3002">
                  <c:v>185.80892821951173</c:v>
                </c:pt>
                <c:pt idx="3003">
                  <c:v>185.09252517395785</c:v>
                </c:pt>
                <c:pt idx="3004">
                  <c:v>184.27808289561264</c:v>
                </c:pt>
                <c:pt idx="3005">
                  <c:v>185.57843013088055</c:v>
                </c:pt>
                <c:pt idx="3006">
                  <c:v>185.57843013088055</c:v>
                </c:pt>
                <c:pt idx="3007">
                  <c:v>185.57843013088055</c:v>
                </c:pt>
                <c:pt idx="3008">
                  <c:v>186.38152635462484</c:v>
                </c:pt>
                <c:pt idx="3009">
                  <c:v>187.45959065173474</c:v>
                </c:pt>
                <c:pt idx="3010">
                  <c:v>187.5656365421664</c:v>
                </c:pt>
                <c:pt idx="3011">
                  <c:v>187.31431734576356</c:v>
                </c:pt>
                <c:pt idx="3012">
                  <c:v>186.01473061201864</c:v>
                </c:pt>
                <c:pt idx="3013">
                  <c:v>186.01701301276324</c:v>
                </c:pt>
                <c:pt idx="3014">
                  <c:v>186.01701301276324</c:v>
                </c:pt>
                <c:pt idx="3015">
                  <c:v>184.87825220233157</c:v>
                </c:pt>
                <c:pt idx="3016">
                  <c:v>183.11104536031002</c:v>
                </c:pt>
                <c:pt idx="3017">
                  <c:v>183.07908332734237</c:v>
                </c:pt>
                <c:pt idx="3018">
                  <c:v>182.4301924707236</c:v>
                </c:pt>
                <c:pt idx="3019">
                  <c:v>183.96115029454177</c:v>
                </c:pt>
                <c:pt idx="3020">
                  <c:v>183.96115029454177</c:v>
                </c:pt>
                <c:pt idx="3021">
                  <c:v>183.96115029454177</c:v>
                </c:pt>
                <c:pt idx="3022">
                  <c:v>183.49602844097157</c:v>
                </c:pt>
                <c:pt idx="3023">
                  <c:v>183.40842560203356</c:v>
                </c:pt>
                <c:pt idx="3024">
                  <c:v>183.59107288266935</c:v>
                </c:pt>
                <c:pt idx="3025">
                  <c:v>184.93870295814656</c:v>
                </c:pt>
                <c:pt idx="3026">
                  <c:v>184.29011922809829</c:v>
                </c:pt>
                <c:pt idx="3027">
                  <c:v>184.29011922809829</c:v>
                </c:pt>
                <c:pt idx="3028">
                  <c:v>184.29011922809829</c:v>
                </c:pt>
                <c:pt idx="3029">
                  <c:v>186.05907769584138</c:v>
                </c:pt>
                <c:pt idx="3030">
                  <c:v>187.5522669150277</c:v>
                </c:pt>
                <c:pt idx="3031">
                  <c:v>187.78501927826926</c:v>
                </c:pt>
                <c:pt idx="3032">
                  <c:v>188.52931459142962</c:v>
                </c:pt>
                <c:pt idx="3033">
                  <c:v>188.78298078421238</c:v>
                </c:pt>
                <c:pt idx="3034">
                  <c:v>188.78298078421238</c:v>
                </c:pt>
                <c:pt idx="3035">
                  <c:v>188.78298078421238</c:v>
                </c:pt>
                <c:pt idx="3036">
                  <c:v>190.13148404557131</c:v>
                </c:pt>
                <c:pt idx="3037">
                  <c:v>190.15125201596754</c:v>
                </c:pt>
                <c:pt idx="3038">
                  <c:v>190.07843739703307</c:v>
                </c:pt>
                <c:pt idx="3039">
                  <c:v>189.98939325225007</c:v>
                </c:pt>
                <c:pt idx="3040">
                  <c:v>189.89817364486785</c:v>
                </c:pt>
                <c:pt idx="3041">
                  <c:v>189.89817364486785</c:v>
                </c:pt>
                <c:pt idx="3042">
                  <c:v>189.89817364486785</c:v>
                </c:pt>
                <c:pt idx="3043">
                  <c:v>188.91017902295528</c:v>
                </c:pt>
                <c:pt idx="3044">
                  <c:v>187.91517399722704</c:v>
                </c:pt>
                <c:pt idx="3045">
                  <c:v>187.89708716172981</c:v>
                </c:pt>
                <c:pt idx="3046">
                  <c:v>189.56089332089644</c:v>
                </c:pt>
                <c:pt idx="3047">
                  <c:v>190.24085582767424</c:v>
                </c:pt>
                <c:pt idx="3048">
                  <c:v>190.24085582767424</c:v>
                </c:pt>
                <c:pt idx="3049">
                  <c:v>190.24085582767424</c:v>
                </c:pt>
                <c:pt idx="3050">
                  <c:v>189.40258422778086</c:v>
                </c:pt>
                <c:pt idx="3051">
                  <c:v>189.56108578039189</c:v>
                </c:pt>
                <c:pt idx="3052">
                  <c:v>189.85653189746748</c:v>
                </c:pt>
                <c:pt idx="3053">
                  <c:v>191.00937873045527</c:v>
                </c:pt>
                <c:pt idx="3054">
                  <c:v>190.99223372862042</c:v>
                </c:pt>
                <c:pt idx="3055">
                  <c:v>190.99223372862042</c:v>
                </c:pt>
                <c:pt idx="3056">
                  <c:v>190.99223372862042</c:v>
                </c:pt>
                <c:pt idx="3057">
                  <c:v>192.49806615731762</c:v>
                </c:pt>
                <c:pt idx="3058">
                  <c:v>192.33096051106713</c:v>
                </c:pt>
                <c:pt idx="3059">
                  <c:v>192.81404395451159</c:v>
                </c:pt>
                <c:pt idx="3060">
                  <c:v>192.9431695916075</c:v>
                </c:pt>
                <c:pt idx="3061">
                  <c:v>194.05606965267529</c:v>
                </c:pt>
                <c:pt idx="3062">
                  <c:v>194.05606965267529</c:v>
                </c:pt>
                <c:pt idx="3063">
                  <c:v>194.05606965267529</c:v>
                </c:pt>
                <c:pt idx="3064">
                  <c:v>194.16376494965044</c:v>
                </c:pt>
                <c:pt idx="3065">
                  <c:v>193.36731489401521</c:v>
                </c:pt>
                <c:pt idx="3066">
                  <c:v>193.05865038394248</c:v>
                </c:pt>
                <c:pt idx="3067">
                  <c:v>192.77477887500442</c:v>
                </c:pt>
                <c:pt idx="3068">
                  <c:v>193.37605690455004</c:v>
                </c:pt>
                <c:pt idx="3069">
                  <c:v>193.37605690455004</c:v>
                </c:pt>
                <c:pt idx="3070">
                  <c:v>193.37605690455004</c:v>
                </c:pt>
                <c:pt idx="3071">
                  <c:v>191.06766116542107</c:v>
                </c:pt>
                <c:pt idx="3072">
                  <c:v>192.64776970581639</c:v>
                </c:pt>
                <c:pt idx="3073">
                  <c:v>192.47230419069064</c:v>
                </c:pt>
                <c:pt idx="3074">
                  <c:v>191.0974822207487</c:v>
                </c:pt>
                <c:pt idx="3075">
                  <c:v>188.79595574120219</c:v>
                </c:pt>
                <c:pt idx="3076">
                  <c:v>188.79595574120219</c:v>
                </c:pt>
                <c:pt idx="3077">
                  <c:v>188.79595574120219</c:v>
                </c:pt>
                <c:pt idx="3078">
                  <c:v>191.215929086176</c:v>
                </c:pt>
                <c:pt idx="3079">
                  <c:v>193.40630372953956</c:v>
                </c:pt>
                <c:pt idx="3080">
                  <c:v>194.49718490884348</c:v>
                </c:pt>
                <c:pt idx="3081">
                  <c:v>195.76775527400713</c:v>
                </c:pt>
                <c:pt idx="3082">
                  <c:v>194.95022325495023</c:v>
                </c:pt>
                <c:pt idx="3083">
                  <c:v>194.95022325495023</c:v>
                </c:pt>
                <c:pt idx="3084">
                  <c:v>194.95022325495023</c:v>
                </c:pt>
                <c:pt idx="3085">
                  <c:v>195.32806213114736</c:v>
                </c:pt>
                <c:pt idx="3086">
                  <c:v>195.77115407368879</c:v>
                </c:pt>
                <c:pt idx="3087">
                  <c:v>195.83808431584347</c:v>
                </c:pt>
                <c:pt idx="3088">
                  <c:v>194.64790577574573</c:v>
                </c:pt>
                <c:pt idx="3089">
                  <c:v>194.80884455719922</c:v>
                </c:pt>
                <c:pt idx="3090">
                  <c:v>194.80884455719922</c:v>
                </c:pt>
                <c:pt idx="3091">
                  <c:v>194.80884455719922</c:v>
                </c:pt>
                <c:pt idx="3092">
                  <c:v>194.88255632780275</c:v>
                </c:pt>
                <c:pt idx="3093">
                  <c:v>193.76171269099015</c:v>
                </c:pt>
                <c:pt idx="3094">
                  <c:v>195.41473261429951</c:v>
                </c:pt>
                <c:pt idx="3095">
                  <c:v>195.89265256341233</c:v>
                </c:pt>
                <c:pt idx="3096">
                  <c:v>194.3184180699557</c:v>
                </c:pt>
                <c:pt idx="3097">
                  <c:v>194.3184180699557</c:v>
                </c:pt>
                <c:pt idx="3098">
                  <c:v>194.3184180699557</c:v>
                </c:pt>
                <c:pt idx="3099">
                  <c:v>190.27557285922157</c:v>
                </c:pt>
                <c:pt idx="3100">
                  <c:v>186.4412232362146</c:v>
                </c:pt>
                <c:pt idx="3101">
                  <c:v>186.87490789440881</c:v>
                </c:pt>
                <c:pt idx="3102">
                  <c:v>183.05923622505026</c:v>
                </c:pt>
                <c:pt idx="3103">
                  <c:v>180.39969123162479</c:v>
                </c:pt>
                <c:pt idx="3104">
                  <c:v>180.40198771969415</c:v>
                </c:pt>
                <c:pt idx="3105">
                  <c:v>180.40198771969415</c:v>
                </c:pt>
                <c:pt idx="3106">
                  <c:v>184.56457416423896</c:v>
                </c:pt>
                <c:pt idx="3107">
                  <c:v>183.61535117672932</c:v>
                </c:pt>
                <c:pt idx="3108">
                  <c:v>186.41923470764547</c:v>
                </c:pt>
                <c:pt idx="3109">
                  <c:v>183.45828766959056</c:v>
                </c:pt>
                <c:pt idx="3110">
                  <c:v>179.46446495742427</c:v>
                </c:pt>
                <c:pt idx="3111">
                  <c:v>179.46446495742427</c:v>
                </c:pt>
                <c:pt idx="3112">
                  <c:v>179.46446495742427</c:v>
                </c:pt>
                <c:pt idx="3113">
                  <c:v>169.72442953297227</c:v>
                </c:pt>
                <c:pt idx="3114">
                  <c:v>172.57103069265631</c:v>
                </c:pt>
                <c:pt idx="3115">
                  <c:v>169.08680260015819</c:v>
                </c:pt>
                <c:pt idx="3116">
                  <c:v>159.28348795900624</c:v>
                </c:pt>
                <c:pt idx="3117">
                  <c:v>163.88036482212652</c:v>
                </c:pt>
                <c:pt idx="3118">
                  <c:v>163.88036482212652</c:v>
                </c:pt>
                <c:pt idx="3119">
                  <c:v>163.88036482212652</c:v>
                </c:pt>
                <c:pt idx="3120">
                  <c:v>155.69965038903646</c:v>
                </c:pt>
                <c:pt idx="3121">
                  <c:v>159.41909861431651</c:v>
                </c:pt>
                <c:pt idx="3122">
                  <c:v>155.23100903976572</c:v>
                </c:pt>
                <c:pt idx="3123">
                  <c:v>156.67955651448082</c:v>
                </c:pt>
                <c:pt idx="3124">
                  <c:v>155.16956042216364</c:v>
                </c:pt>
                <c:pt idx="3125">
                  <c:v>155.16956042216364</c:v>
                </c:pt>
                <c:pt idx="3126">
                  <c:v>155.16956042216364</c:v>
                </c:pt>
                <c:pt idx="3127">
                  <c:v>153.66115091851736</c:v>
                </c:pt>
                <c:pt idx="3128">
                  <c:v>161.43770820155413</c:v>
                </c:pt>
                <c:pt idx="3129">
                  <c:v>165.80852598784671</c:v>
                </c:pt>
                <c:pt idx="3130">
                  <c:v>168.17267369393923</c:v>
                </c:pt>
                <c:pt idx="3131">
                  <c:v>162.6384809825538</c:v>
                </c:pt>
                <c:pt idx="3132">
                  <c:v>162.6384809825538</c:v>
                </c:pt>
                <c:pt idx="3133">
                  <c:v>162.6384809825538</c:v>
                </c:pt>
                <c:pt idx="3134">
                  <c:v>164.20450577293229</c:v>
                </c:pt>
                <c:pt idx="3135">
                  <c:v>164.83590986466555</c:v>
                </c:pt>
                <c:pt idx="3136">
                  <c:v>160.69014497268674</c:v>
                </c:pt>
                <c:pt idx="3137">
                  <c:v>162.25413893990299</c:v>
                </c:pt>
                <c:pt idx="3138">
                  <c:v>161.73121818822051</c:v>
                </c:pt>
                <c:pt idx="3139">
                  <c:v>161.73121818822051</c:v>
                </c:pt>
                <c:pt idx="3140">
                  <c:v>161.73121818822051</c:v>
                </c:pt>
                <c:pt idx="3141">
                  <c:v>167.38172688335419</c:v>
                </c:pt>
                <c:pt idx="3142">
                  <c:v>168.54039341135885</c:v>
                </c:pt>
                <c:pt idx="3143">
                  <c:v>169.30907412303333</c:v>
                </c:pt>
                <c:pt idx="3144">
                  <c:v>171.43931412128634</c:v>
                </c:pt>
                <c:pt idx="3145">
                  <c:v>171.47383514157778</c:v>
                </c:pt>
                <c:pt idx="3146">
                  <c:v>171.47383514157778</c:v>
                </c:pt>
                <c:pt idx="3147">
                  <c:v>171.47383514157778</c:v>
                </c:pt>
                <c:pt idx="3148">
                  <c:v>170.4759980295986</c:v>
                </c:pt>
                <c:pt idx="3149">
                  <c:v>171.40063256675145</c:v>
                </c:pt>
                <c:pt idx="3150">
                  <c:v>168.82769653514015</c:v>
                </c:pt>
                <c:pt idx="3151">
                  <c:v>170.18334073139317</c:v>
                </c:pt>
                <c:pt idx="3152">
                  <c:v>173.55557298115454</c:v>
                </c:pt>
                <c:pt idx="3153">
                  <c:v>173.55557298115454</c:v>
                </c:pt>
                <c:pt idx="3154">
                  <c:v>173.55557298115454</c:v>
                </c:pt>
                <c:pt idx="3155">
                  <c:v>173.1089086229745</c:v>
                </c:pt>
                <c:pt idx="3156">
                  <c:v>170.46302897130479</c:v>
                </c:pt>
                <c:pt idx="3157">
                  <c:v>172.34796993917283</c:v>
                </c:pt>
                <c:pt idx="3158">
                  <c:v>172.32747776554706</c:v>
                </c:pt>
                <c:pt idx="3159">
                  <c:v>172.39954511674858</c:v>
                </c:pt>
                <c:pt idx="3160">
                  <c:v>172.39954511674858</c:v>
                </c:pt>
                <c:pt idx="3161">
                  <c:v>172.39954511674858</c:v>
                </c:pt>
                <c:pt idx="3162">
                  <c:v>173.64283029628976</c:v>
                </c:pt>
                <c:pt idx="3163">
                  <c:v>174.38877905810298</c:v>
                </c:pt>
                <c:pt idx="3164">
                  <c:v>177.62026417012231</c:v>
                </c:pt>
                <c:pt idx="3165">
                  <c:v>173.75112110304377</c:v>
                </c:pt>
                <c:pt idx="3166">
                  <c:v>171.53722254319541</c:v>
                </c:pt>
                <c:pt idx="3167">
                  <c:v>171.53722254319541</c:v>
                </c:pt>
                <c:pt idx="3168">
                  <c:v>171.53722254319541</c:v>
                </c:pt>
                <c:pt idx="3169">
                  <c:v>171.3790583625217</c:v>
                </c:pt>
                <c:pt idx="3170">
                  <c:v>172.55491921638691</c:v>
                </c:pt>
                <c:pt idx="3171">
                  <c:v>172.75650477521225</c:v>
                </c:pt>
                <c:pt idx="3172">
                  <c:v>175.21987260053791</c:v>
                </c:pt>
                <c:pt idx="3173">
                  <c:v>175.60906747716078</c:v>
                </c:pt>
                <c:pt idx="3174">
                  <c:v>175.60906747716078</c:v>
                </c:pt>
                <c:pt idx="3175">
                  <c:v>175.60906747716078</c:v>
                </c:pt>
                <c:pt idx="3176">
                  <c:v>176.40733712737307</c:v>
                </c:pt>
                <c:pt idx="3177">
                  <c:v>175.74510751194364</c:v>
                </c:pt>
                <c:pt idx="3178">
                  <c:v>174.9447537476278</c:v>
                </c:pt>
                <c:pt idx="3179">
                  <c:v>173.78853862176712</c:v>
                </c:pt>
                <c:pt idx="3180">
                  <c:v>175.03932601616492</c:v>
                </c:pt>
                <c:pt idx="3181">
                  <c:v>175.03932601616492</c:v>
                </c:pt>
                <c:pt idx="3182">
                  <c:v>175.03932601616492</c:v>
                </c:pt>
                <c:pt idx="3183">
                  <c:v>178.79793496135048</c:v>
                </c:pt>
                <c:pt idx="3184">
                  <c:v>178.03957603606736</c:v>
                </c:pt>
                <c:pt idx="3185">
                  <c:v>179.49726082169659</c:v>
                </c:pt>
                <c:pt idx="3186">
                  <c:v>178.88622701624303</c:v>
                </c:pt>
                <c:pt idx="3187">
                  <c:v>178.20154177120062</c:v>
                </c:pt>
                <c:pt idx="3188">
                  <c:v>178.20154177120062</c:v>
                </c:pt>
                <c:pt idx="3189">
                  <c:v>178.20154177120062</c:v>
                </c:pt>
                <c:pt idx="3190">
                  <c:v>178.79264519533277</c:v>
                </c:pt>
                <c:pt idx="3191">
                  <c:v>179.50711669687138</c:v>
                </c:pt>
                <c:pt idx="3192">
                  <c:v>181.6424597591795</c:v>
                </c:pt>
                <c:pt idx="3193">
                  <c:v>182.25333424989722</c:v>
                </c:pt>
                <c:pt idx="3194">
                  <c:v>181.33057832845662</c:v>
                </c:pt>
                <c:pt idx="3195">
                  <c:v>181.33057832845662</c:v>
                </c:pt>
                <c:pt idx="3196">
                  <c:v>181.33564107820354</c:v>
                </c:pt>
                <c:pt idx="3197">
                  <c:v>181.50506478101934</c:v>
                </c:pt>
                <c:pt idx="3198">
                  <c:v>182.37592245173738</c:v>
                </c:pt>
                <c:pt idx="3199">
                  <c:v>184.55085928125015</c:v>
                </c:pt>
                <c:pt idx="3200">
                  <c:v>184.1664453778931</c:v>
                </c:pt>
                <c:pt idx="3201">
                  <c:v>185.82670772463925</c:v>
                </c:pt>
                <c:pt idx="3202">
                  <c:v>185.82670772463925</c:v>
                </c:pt>
                <c:pt idx="3203">
                  <c:v>185.82670772463925</c:v>
                </c:pt>
                <c:pt idx="3204">
                  <c:v>186.63662228065465</c:v>
                </c:pt>
                <c:pt idx="3205">
                  <c:v>185.50121092354539</c:v>
                </c:pt>
                <c:pt idx="3206">
                  <c:v>185.63421529177759</c:v>
                </c:pt>
                <c:pt idx="3207">
                  <c:v>180.61521187488088</c:v>
                </c:pt>
                <c:pt idx="3208">
                  <c:v>181.77533227918715</c:v>
                </c:pt>
                <c:pt idx="3209">
                  <c:v>181.77533227918715</c:v>
                </c:pt>
                <c:pt idx="3210">
                  <c:v>181.77533227918715</c:v>
                </c:pt>
                <c:pt idx="3211">
                  <c:v>180.87758390363334</c:v>
                </c:pt>
                <c:pt idx="3212">
                  <c:v>184.48427207401676</c:v>
                </c:pt>
                <c:pt idx="3213">
                  <c:v>185.26868812981917</c:v>
                </c:pt>
                <c:pt idx="3214">
                  <c:v>185.87640648062262</c:v>
                </c:pt>
                <c:pt idx="3215">
                  <c:v>186.84525007412157</c:v>
                </c:pt>
                <c:pt idx="3216">
                  <c:v>186.84525007412157</c:v>
                </c:pt>
                <c:pt idx="3217">
                  <c:v>186.84525007412157</c:v>
                </c:pt>
                <c:pt idx="3218">
                  <c:v>185.98778358938642</c:v>
                </c:pt>
                <c:pt idx="3219">
                  <c:v>187.07337010378581</c:v>
                </c:pt>
                <c:pt idx="3220">
                  <c:v>184.01260283203933</c:v>
                </c:pt>
                <c:pt idx="3221">
                  <c:v>184.98185425506256</c:v>
                </c:pt>
                <c:pt idx="3222">
                  <c:v>184.51280871595779</c:v>
                </c:pt>
                <c:pt idx="3223">
                  <c:v>184.51280871595779</c:v>
                </c:pt>
                <c:pt idx="3224">
                  <c:v>184.51280871595779</c:v>
                </c:pt>
                <c:pt idx="3225">
                  <c:v>185.80642617273728</c:v>
                </c:pt>
                <c:pt idx="3226">
                  <c:v>185.65266020669378</c:v>
                </c:pt>
                <c:pt idx="3227">
                  <c:v>184.85085978473992</c:v>
                </c:pt>
                <c:pt idx="3228">
                  <c:v>186.24576840328734</c:v>
                </c:pt>
                <c:pt idx="3229">
                  <c:v>185.68512766632441</c:v>
                </c:pt>
                <c:pt idx="3230">
                  <c:v>185.68512766632441</c:v>
                </c:pt>
                <c:pt idx="3231">
                  <c:v>185.68512766632441</c:v>
                </c:pt>
                <c:pt idx="3232">
                  <c:v>188.13400997663385</c:v>
                </c:pt>
                <c:pt idx="3233">
                  <c:v>186.03068867715598</c:v>
                </c:pt>
                <c:pt idx="3234">
                  <c:v>186.42220886454592</c:v>
                </c:pt>
                <c:pt idx="3235">
                  <c:v>185.3951679030252</c:v>
                </c:pt>
                <c:pt idx="3236">
                  <c:v>185.97285739225933</c:v>
                </c:pt>
                <c:pt idx="3237">
                  <c:v>185.97285739225933</c:v>
                </c:pt>
                <c:pt idx="3238">
                  <c:v>185.97285739225933</c:v>
                </c:pt>
                <c:pt idx="3239">
                  <c:v>186.848012184033</c:v>
                </c:pt>
                <c:pt idx="3240">
                  <c:v>187.84389714113294</c:v>
                </c:pt>
                <c:pt idx="3241">
                  <c:v>189.28885250798965</c:v>
                </c:pt>
                <c:pt idx="3242">
                  <c:v>188.57011705635125</c:v>
                </c:pt>
                <c:pt idx="3243">
                  <c:v>189.76390355350338</c:v>
                </c:pt>
                <c:pt idx="3244">
                  <c:v>189.76390355350338</c:v>
                </c:pt>
                <c:pt idx="3245">
                  <c:v>189.76390355350338</c:v>
                </c:pt>
                <c:pt idx="3246">
                  <c:v>189.18469288360413</c:v>
                </c:pt>
                <c:pt idx="3247">
                  <c:v>188.81902157442326</c:v>
                </c:pt>
                <c:pt idx="3248">
                  <c:v>188.96758815697845</c:v>
                </c:pt>
                <c:pt idx="3249">
                  <c:v>188.26141439035993</c:v>
                </c:pt>
                <c:pt idx="3250">
                  <c:v>186.29023831189883</c:v>
                </c:pt>
                <c:pt idx="3251">
                  <c:v>186.29023831189883</c:v>
                </c:pt>
                <c:pt idx="3252">
                  <c:v>186.29023831189883</c:v>
                </c:pt>
                <c:pt idx="3253">
                  <c:v>186.7073048974315</c:v>
                </c:pt>
                <c:pt idx="3254">
                  <c:v>186.08017746515762</c:v>
                </c:pt>
                <c:pt idx="3255">
                  <c:v>186.72659022884318</c:v>
                </c:pt>
                <c:pt idx="3256">
                  <c:v>184.30358864871567</c:v>
                </c:pt>
                <c:pt idx="3257">
                  <c:v>183.37616377545592</c:v>
                </c:pt>
                <c:pt idx="3258">
                  <c:v>183.37616377545592</c:v>
                </c:pt>
                <c:pt idx="3259">
                  <c:v>183.37616377545592</c:v>
                </c:pt>
                <c:pt idx="3260">
                  <c:v>186.80262624735073</c:v>
                </c:pt>
                <c:pt idx="3261">
                  <c:v>187.02913377180695</c:v>
                </c:pt>
                <c:pt idx="3262">
                  <c:v>188.00070523475938</c:v>
                </c:pt>
                <c:pt idx="3263">
                  <c:v>187.46838123788717</c:v>
                </c:pt>
                <c:pt idx="3264">
                  <c:v>187.99530424108394</c:v>
                </c:pt>
                <c:pt idx="3265">
                  <c:v>187.99530424108394</c:v>
                </c:pt>
                <c:pt idx="3266">
                  <c:v>187.99530424108394</c:v>
                </c:pt>
                <c:pt idx="3267">
                  <c:v>187.84684810923085</c:v>
                </c:pt>
                <c:pt idx="3268">
                  <c:v>188.63703902508169</c:v>
                </c:pt>
                <c:pt idx="3269">
                  <c:v>191.05646373295036</c:v>
                </c:pt>
                <c:pt idx="3270">
                  <c:v>190.23529349900295</c:v>
                </c:pt>
                <c:pt idx="3271">
                  <c:v>189.05806994400774</c:v>
                </c:pt>
                <c:pt idx="3272">
                  <c:v>189.05806994400774</c:v>
                </c:pt>
                <c:pt idx="3273">
                  <c:v>189.05806994400774</c:v>
                </c:pt>
                <c:pt idx="3274">
                  <c:v>189.94872818325604</c:v>
                </c:pt>
                <c:pt idx="3275">
                  <c:v>188.76324867322793</c:v>
                </c:pt>
                <c:pt idx="3276">
                  <c:v>189.15965904597167</c:v>
                </c:pt>
                <c:pt idx="3277">
                  <c:v>188.327076589874</c:v>
                </c:pt>
                <c:pt idx="3278">
                  <c:v>189.14443116844018</c:v>
                </c:pt>
                <c:pt idx="3279">
                  <c:v>189.14443116844018</c:v>
                </c:pt>
                <c:pt idx="3280">
                  <c:v>189.14443116844018</c:v>
                </c:pt>
                <c:pt idx="3281">
                  <c:v>191.19232440492124</c:v>
                </c:pt>
                <c:pt idx="3282">
                  <c:v>190.48475602691701</c:v>
                </c:pt>
                <c:pt idx="3283">
                  <c:v>190.38683352838626</c:v>
                </c:pt>
                <c:pt idx="3284">
                  <c:v>190.29263773862976</c:v>
                </c:pt>
                <c:pt idx="3285">
                  <c:v>189.45804087047742</c:v>
                </c:pt>
                <c:pt idx="3286">
                  <c:v>189.45804087047742</c:v>
                </c:pt>
                <c:pt idx="3287">
                  <c:v>189.45804087047742</c:v>
                </c:pt>
                <c:pt idx="3288">
                  <c:v>188.55261331483578</c:v>
                </c:pt>
                <c:pt idx="3289">
                  <c:v>188.06701302897864</c:v>
                </c:pt>
                <c:pt idx="3290">
                  <c:v>190.82509852453433</c:v>
                </c:pt>
                <c:pt idx="3291">
                  <c:v>187.60548410447149</c:v>
                </c:pt>
                <c:pt idx="3292">
                  <c:v>186.74603899307596</c:v>
                </c:pt>
                <c:pt idx="3293">
                  <c:v>186.74603899307596</c:v>
                </c:pt>
                <c:pt idx="3294">
                  <c:v>186.74603899307596</c:v>
                </c:pt>
                <c:pt idx="3295">
                  <c:v>188.57582523710025</c:v>
                </c:pt>
                <c:pt idx="3296">
                  <c:v>187.86860177668055</c:v>
                </c:pt>
                <c:pt idx="3297">
                  <c:v>190.33755403305554</c:v>
                </c:pt>
                <c:pt idx="3298">
                  <c:v>190.35455688675731</c:v>
                </c:pt>
                <c:pt idx="3299">
                  <c:v>191.27418830426078</c:v>
                </c:pt>
                <c:pt idx="3300">
                  <c:v>191.27418830426078</c:v>
                </c:pt>
                <c:pt idx="3301">
                  <c:v>191.27418830426078</c:v>
                </c:pt>
                <c:pt idx="3302">
                  <c:v>191.43491600469284</c:v>
                </c:pt>
                <c:pt idx="3303">
                  <c:v>192.66496765703687</c:v>
                </c:pt>
                <c:pt idx="3304">
                  <c:v>191.33843467502399</c:v>
                </c:pt>
                <c:pt idx="3305">
                  <c:v>190.8481318495536</c:v>
                </c:pt>
                <c:pt idx="3306">
                  <c:v>190.01609506609174</c:v>
                </c:pt>
                <c:pt idx="3307">
                  <c:v>190.01609506609174</c:v>
                </c:pt>
                <c:pt idx="3308">
                  <c:v>190.01609506609174</c:v>
                </c:pt>
                <c:pt idx="3309">
                  <c:v>188.13613092617538</c:v>
                </c:pt>
                <c:pt idx="3310">
                  <c:v>189.18033536820968</c:v>
                </c:pt>
                <c:pt idx="3311">
                  <c:v>187.34632282337586</c:v>
                </c:pt>
                <c:pt idx="3312">
                  <c:v>186.62717710204927</c:v>
                </c:pt>
                <c:pt idx="3313">
                  <c:v>187.79383957426731</c:v>
                </c:pt>
                <c:pt idx="3314">
                  <c:v>187.79383957426731</c:v>
                </c:pt>
                <c:pt idx="3315">
                  <c:v>187.79383957426731</c:v>
                </c:pt>
                <c:pt idx="3316">
                  <c:v>189.00230044368129</c:v>
                </c:pt>
                <c:pt idx="3317">
                  <c:v>188.99936334793239</c:v>
                </c:pt>
                <c:pt idx="3318">
                  <c:v>188.75341658641409</c:v>
                </c:pt>
                <c:pt idx="3319">
                  <c:v>189.60631022446478</c:v>
                </c:pt>
                <c:pt idx="3320">
                  <c:v>188.60712668297009</c:v>
                </c:pt>
                <c:pt idx="3321">
                  <c:v>188.60712668297009</c:v>
                </c:pt>
                <c:pt idx="3322">
                  <c:v>188.60712668297009</c:v>
                </c:pt>
                <c:pt idx="3323">
                  <c:v>190.09231350203513</c:v>
                </c:pt>
                <c:pt idx="3324">
                  <c:v>189.37602665552811</c:v>
                </c:pt>
                <c:pt idx="3325">
                  <c:v>190.58352797044935</c:v>
                </c:pt>
                <c:pt idx="3326">
                  <c:v>191.37033110148727</c:v>
                </c:pt>
                <c:pt idx="3327">
                  <c:v>192.22755919002989</c:v>
                </c:pt>
                <c:pt idx="3328">
                  <c:v>192.22755919002989</c:v>
                </c:pt>
                <c:pt idx="3329">
                  <c:v>192.22755919002989</c:v>
                </c:pt>
                <c:pt idx="3330">
                  <c:v>192.63237312920378</c:v>
                </c:pt>
                <c:pt idx="3331">
                  <c:v>192.19727246169313</c:v>
                </c:pt>
                <c:pt idx="3332">
                  <c:v>191.35801039795282</c:v>
                </c:pt>
                <c:pt idx="3333">
                  <c:v>190.35568479380876</c:v>
                </c:pt>
                <c:pt idx="3334">
                  <c:v>191.30956855165161</c:v>
                </c:pt>
                <c:pt idx="3335">
                  <c:v>191.30956855165161</c:v>
                </c:pt>
                <c:pt idx="3336">
                  <c:v>191.30956855165161</c:v>
                </c:pt>
                <c:pt idx="3337">
                  <c:v>189.6131883453904</c:v>
                </c:pt>
                <c:pt idx="3338">
                  <c:v>190.55850489588636</c:v>
                </c:pt>
                <c:pt idx="3339">
                  <c:v>187.63044007720762</c:v>
                </c:pt>
                <c:pt idx="3340">
                  <c:v>188.0817062960285</c:v>
                </c:pt>
                <c:pt idx="3341">
                  <c:v>189.23118457141024</c:v>
                </c:pt>
                <c:pt idx="3342">
                  <c:v>189.23118457141024</c:v>
                </c:pt>
                <c:pt idx="3343">
                  <c:v>189.23118457141024</c:v>
                </c:pt>
                <c:pt idx="3344">
                  <c:v>186.71792194739612</c:v>
                </c:pt>
                <c:pt idx="3345">
                  <c:v>185.91623174490201</c:v>
                </c:pt>
                <c:pt idx="3346">
                  <c:v>182.3299448177892</c:v>
                </c:pt>
                <c:pt idx="3347">
                  <c:v>183.41755934832233</c:v>
                </c:pt>
                <c:pt idx="3348">
                  <c:v>182.30566376179686</c:v>
                </c:pt>
                <c:pt idx="3349">
                  <c:v>182.26642429072879</c:v>
                </c:pt>
                <c:pt idx="3350">
                  <c:v>182.30757093601244</c:v>
                </c:pt>
                <c:pt idx="3351">
                  <c:v>184.47287624060934</c:v>
                </c:pt>
                <c:pt idx="3352">
                  <c:v>186.38114299577899</c:v>
                </c:pt>
                <c:pt idx="3353">
                  <c:v>189.82123380258355</c:v>
                </c:pt>
                <c:pt idx="3354">
                  <c:v>191.47753796025137</c:v>
                </c:pt>
                <c:pt idx="3355">
                  <c:v>191.76507020512938</c:v>
                </c:pt>
                <c:pt idx="3356">
                  <c:v>191.76507020512938</c:v>
                </c:pt>
                <c:pt idx="3357">
                  <c:v>191.76507020512938</c:v>
                </c:pt>
                <c:pt idx="3358">
                  <c:v>195.28489122163472</c:v>
                </c:pt>
                <c:pt idx="3359">
                  <c:v>194.66196756991812</c:v>
                </c:pt>
                <c:pt idx="3360">
                  <c:v>196.00740879793176</c:v>
                </c:pt>
                <c:pt idx="3361">
                  <c:v>195.94925927996368</c:v>
                </c:pt>
                <c:pt idx="3362">
                  <c:v>196.44571828276798</c:v>
                </c:pt>
                <c:pt idx="3363">
                  <c:v>196.44571828276798</c:v>
                </c:pt>
                <c:pt idx="3364">
                  <c:v>196.44571828276798</c:v>
                </c:pt>
                <c:pt idx="3365">
                  <c:v>198.25112908315955</c:v>
                </c:pt>
                <c:pt idx="3366">
                  <c:v>196.88296632117601</c:v>
                </c:pt>
                <c:pt idx="3367">
                  <c:v>196.2645293603459</c:v>
                </c:pt>
                <c:pt idx="3368">
                  <c:v>196.85095992349343</c:v>
                </c:pt>
                <c:pt idx="3369">
                  <c:v>196.4844116250583</c:v>
                </c:pt>
                <c:pt idx="3370">
                  <c:v>196.4844116250583</c:v>
                </c:pt>
                <c:pt idx="3371">
                  <c:v>196.4844116250583</c:v>
                </c:pt>
                <c:pt idx="3372">
                  <c:v>196.57545267718476</c:v>
                </c:pt>
                <c:pt idx="3373">
                  <c:v>197.89718080863204</c:v>
                </c:pt>
                <c:pt idx="3374">
                  <c:v>197.69921040586652</c:v>
                </c:pt>
                <c:pt idx="3375">
                  <c:v>198.06623503600082</c:v>
                </c:pt>
                <c:pt idx="3376">
                  <c:v>198.28760970557585</c:v>
                </c:pt>
                <c:pt idx="3377">
                  <c:v>198.28760970557585</c:v>
                </c:pt>
                <c:pt idx="3378">
                  <c:v>198.28760970557585</c:v>
                </c:pt>
                <c:pt idx="3379">
                  <c:v>196.71191523217439</c:v>
                </c:pt>
                <c:pt idx="3380">
                  <c:v>198.5605547979518</c:v>
                </c:pt>
                <c:pt idx="3381">
                  <c:v>199.5463245570906</c:v>
                </c:pt>
                <c:pt idx="3382">
                  <c:v>198.20897506722523</c:v>
                </c:pt>
                <c:pt idx="3383">
                  <c:v>199.77025923547075</c:v>
                </c:pt>
                <c:pt idx="3384">
                  <c:v>199.77025923547075</c:v>
                </c:pt>
                <c:pt idx="3385">
                  <c:v>199.77025923547075</c:v>
                </c:pt>
                <c:pt idx="3386">
                  <c:v>201.18311441688769</c:v>
                </c:pt>
                <c:pt idx="3387">
                  <c:v>200.91076478757697</c:v>
                </c:pt>
                <c:pt idx="3388">
                  <c:v>200.34037912634503</c:v>
                </c:pt>
                <c:pt idx="3389">
                  <c:v>201.64935107505801</c:v>
                </c:pt>
                <c:pt idx="3390">
                  <c:v>201.42939599589238</c:v>
                </c:pt>
                <c:pt idx="3391">
                  <c:v>201.42939599589238</c:v>
                </c:pt>
                <c:pt idx="3392">
                  <c:v>201.42939599589238</c:v>
                </c:pt>
                <c:pt idx="3393">
                  <c:v>200.03993803660666</c:v>
                </c:pt>
                <c:pt idx="3394">
                  <c:v>200.04804165449653</c:v>
                </c:pt>
                <c:pt idx="3395">
                  <c:v>200.34859583275866</c:v>
                </c:pt>
                <c:pt idx="3396">
                  <c:v>200.50283820623244</c:v>
                </c:pt>
                <c:pt idx="3397">
                  <c:v>201.11998995228799</c:v>
                </c:pt>
                <c:pt idx="3398">
                  <c:v>201.11998995228799</c:v>
                </c:pt>
                <c:pt idx="3399">
                  <c:v>201.11998995228799</c:v>
                </c:pt>
                <c:pt idx="3400">
                  <c:v>201.45334834683382</c:v>
                </c:pt>
                <c:pt idx="3401">
                  <c:v>201.507734707287</c:v>
                </c:pt>
                <c:pt idx="3402">
                  <c:v>200.22472488501896</c:v>
                </c:pt>
                <c:pt idx="3403">
                  <c:v>200.20568151143516</c:v>
                </c:pt>
                <c:pt idx="3404">
                  <c:v>200.12076827573571</c:v>
                </c:pt>
                <c:pt idx="3405">
                  <c:v>200.12076827573571</c:v>
                </c:pt>
                <c:pt idx="3406">
                  <c:v>200.12076827573571</c:v>
                </c:pt>
                <c:pt idx="3407">
                  <c:v>201.99216762215102</c:v>
                </c:pt>
                <c:pt idx="3408">
                  <c:v>203.28054638442543</c:v>
                </c:pt>
                <c:pt idx="3409">
                  <c:v>202.33744661752954</c:v>
                </c:pt>
                <c:pt idx="3410">
                  <c:v>201.13231062185426</c:v>
                </c:pt>
                <c:pt idx="3411">
                  <c:v>201.13554684073216</c:v>
                </c:pt>
                <c:pt idx="3412">
                  <c:v>201.13554684073216</c:v>
                </c:pt>
                <c:pt idx="3413">
                  <c:v>201.13554684073216</c:v>
                </c:pt>
                <c:pt idx="3414">
                  <c:v>203.01163865388907</c:v>
                </c:pt>
                <c:pt idx="3415">
                  <c:v>203.69490477552455</c:v>
                </c:pt>
                <c:pt idx="3416">
                  <c:v>206.41736254496422</c:v>
                </c:pt>
                <c:pt idx="3417">
                  <c:v>208.16725747924463</c:v>
                </c:pt>
                <c:pt idx="3418">
                  <c:v>208.79982156956456</c:v>
                </c:pt>
                <c:pt idx="3419">
                  <c:v>208.79982156956456</c:v>
                </c:pt>
                <c:pt idx="3420">
                  <c:v>208.79982156956456</c:v>
                </c:pt>
                <c:pt idx="3421">
                  <c:v>208.00094718824474</c:v>
                </c:pt>
                <c:pt idx="3422">
                  <c:v>206.73457502147855</c:v>
                </c:pt>
                <c:pt idx="3423">
                  <c:v>206.75250097647864</c:v>
                </c:pt>
                <c:pt idx="3424">
                  <c:v>207.0978479489597</c:v>
                </c:pt>
                <c:pt idx="3425">
                  <c:v>206.67679317233771</c:v>
                </c:pt>
                <c:pt idx="3426">
                  <c:v>206.67679317233771</c:v>
                </c:pt>
                <c:pt idx="3427">
                  <c:v>206.67679317233771</c:v>
                </c:pt>
                <c:pt idx="3428">
                  <c:v>206.17200990622948</c:v>
                </c:pt>
                <c:pt idx="3429">
                  <c:v>207.45779958428957</c:v>
                </c:pt>
                <c:pt idx="3430">
                  <c:v>208.31798393328393</c:v>
                </c:pt>
                <c:pt idx="3431">
                  <c:v>207.05888504023309</c:v>
                </c:pt>
                <c:pt idx="3432">
                  <c:v>207.01760371032262</c:v>
                </c:pt>
                <c:pt idx="3433">
                  <c:v>207.01760371032262</c:v>
                </c:pt>
                <c:pt idx="3434">
                  <c:v>207.01760371032262</c:v>
                </c:pt>
                <c:pt idx="3435">
                  <c:v>206.58368653224164</c:v>
                </c:pt>
                <c:pt idx="3436">
                  <c:v>206.2078508971704</c:v>
                </c:pt>
                <c:pt idx="3437">
                  <c:v>203.60615531149995</c:v>
                </c:pt>
                <c:pt idx="3438">
                  <c:v>203.45627267632895</c:v>
                </c:pt>
                <c:pt idx="3439">
                  <c:v>200.35658177453874</c:v>
                </c:pt>
                <c:pt idx="3440">
                  <c:v>200.35658177453874</c:v>
                </c:pt>
                <c:pt idx="3441">
                  <c:v>200.36094954802144</c:v>
                </c:pt>
                <c:pt idx="3442">
                  <c:v>203.0921257523764</c:v>
                </c:pt>
                <c:pt idx="3443">
                  <c:v>205.02659449753784</c:v>
                </c:pt>
                <c:pt idx="3444">
                  <c:v>204.82557412269679</c:v>
                </c:pt>
                <c:pt idx="3445">
                  <c:v>205.45297738704778</c:v>
                </c:pt>
                <c:pt idx="3446">
                  <c:v>205.58101568255537</c:v>
                </c:pt>
                <c:pt idx="3447">
                  <c:v>205.58101568255537</c:v>
                </c:pt>
                <c:pt idx="3448">
                  <c:v>205.58101568255537</c:v>
                </c:pt>
                <c:pt idx="3449">
                  <c:v>206.22453154527537</c:v>
                </c:pt>
                <c:pt idx="3450">
                  <c:v>205.91404607731675</c:v>
                </c:pt>
                <c:pt idx="3451">
                  <c:v>205.90985366733861</c:v>
                </c:pt>
                <c:pt idx="3452">
                  <c:v>206.82459171946746</c:v>
                </c:pt>
                <c:pt idx="3453">
                  <c:v>207.2855354822949</c:v>
                </c:pt>
                <c:pt idx="3454">
                  <c:v>207.2855354822949</c:v>
                </c:pt>
                <c:pt idx="3455">
                  <c:v>207.2855354822949</c:v>
                </c:pt>
                <c:pt idx="3456">
                  <c:v>208.45352936193237</c:v>
                </c:pt>
                <c:pt idx="3457">
                  <c:v>208.15980791638492</c:v>
                </c:pt>
                <c:pt idx="3458">
                  <c:v>207.42811370197035</c:v>
                </c:pt>
                <c:pt idx="3459">
                  <c:v>204.65783864364073</c:v>
                </c:pt>
                <c:pt idx="3460">
                  <c:v>204.30778982984626</c:v>
                </c:pt>
                <c:pt idx="3461">
                  <c:v>204.30778982984626</c:v>
                </c:pt>
                <c:pt idx="3462">
                  <c:v>204.30778982984626</c:v>
                </c:pt>
                <c:pt idx="3463">
                  <c:v>202.79993500548716</c:v>
                </c:pt>
                <c:pt idx="3464">
                  <c:v>202.71396811303833</c:v>
                </c:pt>
                <c:pt idx="3465">
                  <c:v>203.26658058009224</c:v>
                </c:pt>
                <c:pt idx="3466">
                  <c:v>201.82115599091881</c:v>
                </c:pt>
                <c:pt idx="3467">
                  <c:v>200.04936604426297</c:v>
                </c:pt>
                <c:pt idx="3468">
                  <c:v>200.04936604426297</c:v>
                </c:pt>
                <c:pt idx="3469">
                  <c:v>200.05341904441906</c:v>
                </c:pt>
                <c:pt idx="3470">
                  <c:v>203.40313149770651</c:v>
                </c:pt>
                <c:pt idx="3471">
                  <c:v>203.32932667144257</c:v>
                </c:pt>
                <c:pt idx="3472">
                  <c:v>202.60853030827212</c:v>
                </c:pt>
                <c:pt idx="3473">
                  <c:v>200.68711662411727</c:v>
                </c:pt>
                <c:pt idx="3474">
                  <c:v>202.2452574182004</c:v>
                </c:pt>
                <c:pt idx="3475">
                  <c:v>202.2452574182004</c:v>
                </c:pt>
                <c:pt idx="3476">
                  <c:v>202.2452574182004</c:v>
                </c:pt>
                <c:pt idx="3477">
                  <c:v>202.50215136662555</c:v>
                </c:pt>
                <c:pt idx="3478">
                  <c:v>203.4296982958098</c:v>
                </c:pt>
                <c:pt idx="3479">
                  <c:v>204.02604635347302</c:v>
                </c:pt>
                <c:pt idx="3480">
                  <c:v>205.07304069476373</c:v>
                </c:pt>
                <c:pt idx="3481">
                  <c:v>205.22471476639197</c:v>
                </c:pt>
                <c:pt idx="3482">
                  <c:v>205.22471476639197</c:v>
                </c:pt>
                <c:pt idx="3483">
                  <c:v>205.22471476639197</c:v>
                </c:pt>
                <c:pt idx="3484">
                  <c:v>205.99802201410321</c:v>
                </c:pt>
                <c:pt idx="3485">
                  <c:v>206.34355279632857</c:v>
                </c:pt>
                <c:pt idx="3486">
                  <c:v>205.73662212387555</c:v>
                </c:pt>
                <c:pt idx="3487">
                  <c:v>204.79063484851886</c:v>
                </c:pt>
                <c:pt idx="3488">
                  <c:v>204.23270938665661</c:v>
                </c:pt>
                <c:pt idx="3489">
                  <c:v>204.23270938665661</c:v>
                </c:pt>
                <c:pt idx="3490">
                  <c:v>204.23270938665661</c:v>
                </c:pt>
                <c:pt idx="3491">
                  <c:v>205.15655400524005</c:v>
                </c:pt>
                <c:pt idx="3492">
                  <c:v>205.14790870805427</c:v>
                </c:pt>
                <c:pt idx="3493">
                  <c:v>205.30199530228489</c:v>
                </c:pt>
                <c:pt idx="3494">
                  <c:v>205.59981458875021</c:v>
                </c:pt>
                <c:pt idx="3495">
                  <c:v>207.17221318675095</c:v>
                </c:pt>
                <c:pt idx="3496">
                  <c:v>207.17221318675095</c:v>
                </c:pt>
                <c:pt idx="3497">
                  <c:v>207.17221318675095</c:v>
                </c:pt>
                <c:pt idx="3498">
                  <c:v>207.30199207625753</c:v>
                </c:pt>
                <c:pt idx="3499">
                  <c:v>207.72069234777348</c:v>
                </c:pt>
                <c:pt idx="3500">
                  <c:v>206.78789765230272</c:v>
                </c:pt>
                <c:pt idx="3501">
                  <c:v>208.31646552023264</c:v>
                </c:pt>
                <c:pt idx="3502">
                  <c:v>208.60797524942302</c:v>
                </c:pt>
                <c:pt idx="3503">
                  <c:v>208.60797524942302</c:v>
                </c:pt>
                <c:pt idx="3504">
                  <c:v>208.60797524942302</c:v>
                </c:pt>
                <c:pt idx="3505">
                  <c:v>208.93322011579392</c:v>
                </c:pt>
                <c:pt idx="3506">
                  <c:v>209.8848315387977</c:v>
                </c:pt>
                <c:pt idx="3507">
                  <c:v>211.11064920546181</c:v>
                </c:pt>
                <c:pt idx="3508">
                  <c:v>213.01050360417599</c:v>
                </c:pt>
                <c:pt idx="3509">
                  <c:v>213.39647011628659</c:v>
                </c:pt>
                <c:pt idx="3510">
                  <c:v>213.39647011628659</c:v>
                </c:pt>
                <c:pt idx="3511">
                  <c:v>213.39647011628659</c:v>
                </c:pt>
                <c:pt idx="3512">
                  <c:v>212.59291503824022</c:v>
                </c:pt>
                <c:pt idx="3513">
                  <c:v>213.39365263051923</c:v>
                </c:pt>
                <c:pt idx="3514">
                  <c:v>213.43075111702902</c:v>
                </c:pt>
                <c:pt idx="3515">
                  <c:v>214.83133066062419</c:v>
                </c:pt>
                <c:pt idx="3516">
                  <c:v>215.2300189406908</c:v>
                </c:pt>
                <c:pt idx="3517">
                  <c:v>215.2300189406908</c:v>
                </c:pt>
                <c:pt idx="3518">
                  <c:v>215.2300189406908</c:v>
                </c:pt>
                <c:pt idx="3519">
                  <c:v>213.28369818401049</c:v>
                </c:pt>
                <c:pt idx="3520">
                  <c:v>211.80739534759437</c:v>
                </c:pt>
                <c:pt idx="3521">
                  <c:v>212.72720285107457</c:v>
                </c:pt>
                <c:pt idx="3522">
                  <c:v>213.55852374164036</c:v>
                </c:pt>
                <c:pt idx="3523">
                  <c:v>214.67581495498138</c:v>
                </c:pt>
                <c:pt idx="3524">
                  <c:v>214.67581495498138</c:v>
                </c:pt>
                <c:pt idx="3525">
                  <c:v>214.67581495498138</c:v>
                </c:pt>
                <c:pt idx="3526">
                  <c:v>214.85424061182309</c:v>
                </c:pt>
                <c:pt idx="3527">
                  <c:v>214.33372398580485</c:v>
                </c:pt>
                <c:pt idx="3528">
                  <c:v>214.48658465441426</c:v>
                </c:pt>
                <c:pt idx="3529">
                  <c:v>214.61358216118813</c:v>
                </c:pt>
                <c:pt idx="3530">
                  <c:v>213.68478393871843</c:v>
                </c:pt>
                <c:pt idx="3531">
                  <c:v>213.68478393871843</c:v>
                </c:pt>
                <c:pt idx="3532">
                  <c:v>213.68478393871843</c:v>
                </c:pt>
                <c:pt idx="3533">
                  <c:v>213.23966998638272</c:v>
                </c:pt>
                <c:pt idx="3534">
                  <c:v>212.35937398074492</c:v>
                </c:pt>
                <c:pt idx="3535">
                  <c:v>213.47614219819732</c:v>
                </c:pt>
                <c:pt idx="3536">
                  <c:v>215.03401209778715</c:v>
                </c:pt>
                <c:pt idx="3537">
                  <c:v>215.80243614001859</c:v>
                </c:pt>
                <c:pt idx="3538">
                  <c:v>215.80243614001859</c:v>
                </c:pt>
                <c:pt idx="3539">
                  <c:v>215.80243614001859</c:v>
                </c:pt>
                <c:pt idx="3540">
                  <c:v>213.74988306125746</c:v>
                </c:pt>
                <c:pt idx="3541">
                  <c:v>210.71392507217584</c:v>
                </c:pt>
                <c:pt idx="3542">
                  <c:v>209.59148360040513</c:v>
                </c:pt>
                <c:pt idx="3543">
                  <c:v>210.17962664619554</c:v>
                </c:pt>
                <c:pt idx="3544">
                  <c:v>212.80328631484238</c:v>
                </c:pt>
                <c:pt idx="3545">
                  <c:v>212.80328631484238</c:v>
                </c:pt>
                <c:pt idx="3546">
                  <c:v>212.80328631484238</c:v>
                </c:pt>
                <c:pt idx="3547">
                  <c:v>212.29278825523599</c:v>
                </c:pt>
                <c:pt idx="3548">
                  <c:v>211.44048366066039</c:v>
                </c:pt>
                <c:pt idx="3549">
                  <c:v>211.12446894259082</c:v>
                </c:pt>
                <c:pt idx="3550">
                  <c:v>212.6532296671829</c:v>
                </c:pt>
                <c:pt idx="3551">
                  <c:v>212.73263225660833</c:v>
                </c:pt>
                <c:pt idx="3552">
                  <c:v>212.73263225660833</c:v>
                </c:pt>
                <c:pt idx="3553">
                  <c:v>212.73263225660833</c:v>
                </c:pt>
                <c:pt idx="3554">
                  <c:v>213.80737453337929</c:v>
                </c:pt>
                <c:pt idx="3555">
                  <c:v>214.32296674091901</c:v>
                </c:pt>
                <c:pt idx="3556">
                  <c:v>214.38483320849846</c:v>
                </c:pt>
                <c:pt idx="3557">
                  <c:v>213.4910199618856</c:v>
                </c:pt>
                <c:pt idx="3558">
                  <c:v>214.05531729093863</c:v>
                </c:pt>
                <c:pt idx="3559">
                  <c:v>214.05531729093863</c:v>
                </c:pt>
                <c:pt idx="3560">
                  <c:v>214.05531729093863</c:v>
                </c:pt>
                <c:pt idx="3561">
                  <c:v>213.40469829458598</c:v>
                </c:pt>
                <c:pt idx="3562">
                  <c:v>214.04025589895295</c:v>
                </c:pt>
                <c:pt idx="3563">
                  <c:v>214.24652649356278</c:v>
                </c:pt>
                <c:pt idx="3564">
                  <c:v>213.72176819129157</c:v>
                </c:pt>
                <c:pt idx="3565">
                  <c:v>214.46486595598662</c:v>
                </c:pt>
                <c:pt idx="3566">
                  <c:v>214.47985061617095</c:v>
                </c:pt>
                <c:pt idx="3567">
                  <c:v>214.47985061617095</c:v>
                </c:pt>
                <c:pt idx="3568">
                  <c:v>214.57305498005471</c:v>
                </c:pt>
                <c:pt idx="3569">
                  <c:v>214.63018076448205</c:v>
                </c:pt>
                <c:pt idx="3570">
                  <c:v>214.7101498235331</c:v>
                </c:pt>
                <c:pt idx="3571">
                  <c:v>214.65287159686468</c:v>
                </c:pt>
                <c:pt idx="3572">
                  <c:v>215.34466989714809</c:v>
                </c:pt>
                <c:pt idx="3573">
                  <c:v>215.34466989714809</c:v>
                </c:pt>
                <c:pt idx="3574">
                  <c:v>215.34466989714809</c:v>
                </c:pt>
                <c:pt idx="3575">
                  <c:v>215.64316560443262</c:v>
                </c:pt>
                <c:pt idx="3576">
                  <c:v>216.12428275834938</c:v>
                </c:pt>
                <c:pt idx="3577">
                  <c:v>215.80412272959964</c:v>
                </c:pt>
                <c:pt idx="3578">
                  <c:v>215.87555605226436</c:v>
                </c:pt>
                <c:pt idx="3579">
                  <c:v>214.66428478352179</c:v>
                </c:pt>
                <c:pt idx="3580">
                  <c:v>214.66428478352179</c:v>
                </c:pt>
                <c:pt idx="3581">
                  <c:v>214.66428478352179</c:v>
                </c:pt>
                <c:pt idx="3582">
                  <c:v>215.23887238131616</c:v>
                </c:pt>
                <c:pt idx="3583">
                  <c:v>215.79901647996746</c:v>
                </c:pt>
                <c:pt idx="3584">
                  <c:v>215.16060961755412</c:v>
                </c:pt>
                <c:pt idx="3585">
                  <c:v>217.07873848141534</c:v>
                </c:pt>
                <c:pt idx="3586">
                  <c:v>217.55734500086962</c:v>
                </c:pt>
                <c:pt idx="3587">
                  <c:v>217.55734500086962</c:v>
                </c:pt>
                <c:pt idx="3588">
                  <c:v>217.55734500086962</c:v>
                </c:pt>
                <c:pt idx="3589">
                  <c:v>217.76200119531191</c:v>
                </c:pt>
                <c:pt idx="3590">
                  <c:v>218.59776957827953</c:v>
                </c:pt>
                <c:pt idx="3591">
                  <c:v>217.90716020278396</c:v>
                </c:pt>
                <c:pt idx="3592">
                  <c:v>219.41299237986408</c:v>
                </c:pt>
                <c:pt idx="3593">
                  <c:v>220.18367612733849</c:v>
                </c:pt>
                <c:pt idx="3594">
                  <c:v>220.18367612733849</c:v>
                </c:pt>
                <c:pt idx="3595">
                  <c:v>220.18367612733849</c:v>
                </c:pt>
                <c:pt idx="3596">
                  <c:v>220.05800189051527</c:v>
                </c:pt>
                <c:pt idx="3597">
                  <c:v>220.03382191726755</c:v>
                </c:pt>
                <c:pt idx="3598">
                  <c:v>221.41651665453384</c:v>
                </c:pt>
                <c:pt idx="3599">
                  <c:v>219.23500156753437</c:v>
                </c:pt>
                <c:pt idx="3600">
                  <c:v>220.47395337014291</c:v>
                </c:pt>
                <c:pt idx="3601">
                  <c:v>220.47395337014291</c:v>
                </c:pt>
                <c:pt idx="3602">
                  <c:v>220.47395337014291</c:v>
                </c:pt>
                <c:pt idx="3603">
                  <c:v>220.95897181542236</c:v>
                </c:pt>
                <c:pt idx="3604">
                  <c:v>221.90825354054607</c:v>
                </c:pt>
                <c:pt idx="3605">
                  <c:v>221.48426231683629</c:v>
                </c:pt>
                <c:pt idx="3606">
                  <c:v>220.41002599227505</c:v>
                </c:pt>
                <c:pt idx="3607">
                  <c:v>220.4673854974393</c:v>
                </c:pt>
                <c:pt idx="3608">
                  <c:v>220.4673854974393</c:v>
                </c:pt>
                <c:pt idx="3609">
                  <c:v>220.4673854974393</c:v>
                </c:pt>
                <c:pt idx="3610">
                  <c:v>218.51989346166923</c:v>
                </c:pt>
                <c:pt idx="3611">
                  <c:v>220.469468950763</c:v>
                </c:pt>
                <c:pt idx="3612">
                  <c:v>221.92730567664239</c:v>
                </c:pt>
                <c:pt idx="3613">
                  <c:v>221.27750918344034</c:v>
                </c:pt>
                <c:pt idx="3614">
                  <c:v>222.8091965275583</c:v>
                </c:pt>
                <c:pt idx="3615">
                  <c:v>222.8091965275583</c:v>
                </c:pt>
                <c:pt idx="3616">
                  <c:v>222.8091965275583</c:v>
                </c:pt>
                <c:pt idx="3617">
                  <c:v>221.72792132154578</c:v>
                </c:pt>
                <c:pt idx="3618">
                  <c:v>220.65391339896925</c:v>
                </c:pt>
                <c:pt idx="3619">
                  <c:v>221.52481453630278</c:v>
                </c:pt>
                <c:pt idx="3620">
                  <c:v>222.87437693518012</c:v>
                </c:pt>
                <c:pt idx="3621">
                  <c:v>223.11064606216908</c:v>
                </c:pt>
                <c:pt idx="3622">
                  <c:v>223.11313151476622</c:v>
                </c:pt>
                <c:pt idx="3623">
                  <c:v>223.11313151476622</c:v>
                </c:pt>
                <c:pt idx="3624">
                  <c:v>223.77387436035326</c:v>
                </c:pt>
                <c:pt idx="3625">
                  <c:v>224.42988761268933</c:v>
                </c:pt>
                <c:pt idx="3626">
                  <c:v>224.37759769317444</c:v>
                </c:pt>
                <c:pt idx="3627">
                  <c:v>224.80511779271512</c:v>
                </c:pt>
                <c:pt idx="3628">
                  <c:v>225.24026856312415</c:v>
                </c:pt>
                <c:pt idx="3629">
                  <c:v>225.24026856312415</c:v>
                </c:pt>
                <c:pt idx="3630">
                  <c:v>225.24026856312415</c:v>
                </c:pt>
                <c:pt idx="3631">
                  <c:v>225.429407321442</c:v>
                </c:pt>
                <c:pt idx="3632">
                  <c:v>225.61796324060791</c:v>
                </c:pt>
                <c:pt idx="3633">
                  <c:v>226.4757131008968</c:v>
                </c:pt>
                <c:pt idx="3634">
                  <c:v>227.12582522389573</c:v>
                </c:pt>
                <c:pt idx="3635">
                  <c:v>227.80165628691546</c:v>
                </c:pt>
                <c:pt idx="3636">
                  <c:v>227.80165628691546</c:v>
                </c:pt>
                <c:pt idx="3637">
                  <c:v>227.80165628691546</c:v>
                </c:pt>
                <c:pt idx="3638">
                  <c:v>227.34605753037476</c:v>
                </c:pt>
                <c:pt idx="3639">
                  <c:v>227.69749361302638</c:v>
                </c:pt>
                <c:pt idx="3640">
                  <c:v>227.17224558870973</c:v>
                </c:pt>
                <c:pt idx="3641">
                  <c:v>226.86818008143413</c:v>
                </c:pt>
                <c:pt idx="3642">
                  <c:v>227.8431755781975</c:v>
                </c:pt>
                <c:pt idx="3643">
                  <c:v>227.8431755781975</c:v>
                </c:pt>
                <c:pt idx="3644">
                  <c:v>227.8431755781975</c:v>
                </c:pt>
                <c:pt idx="3645">
                  <c:v>228.15128562610016</c:v>
                </c:pt>
                <c:pt idx="3646">
                  <c:v>228.74886175492489</c:v>
                </c:pt>
                <c:pt idx="3647">
                  <c:v>228.4372577679537</c:v>
                </c:pt>
                <c:pt idx="3648">
                  <c:v>228.15400242143917</c:v>
                </c:pt>
                <c:pt idx="3649">
                  <c:v>228.88978082692813</c:v>
                </c:pt>
                <c:pt idx="3650">
                  <c:v>228.88978082692813</c:v>
                </c:pt>
                <c:pt idx="3651">
                  <c:v>228.88978082692813</c:v>
                </c:pt>
                <c:pt idx="3652">
                  <c:v>229.18015040288518</c:v>
                </c:pt>
                <c:pt idx="3653">
                  <c:v>229.65035702566527</c:v>
                </c:pt>
                <c:pt idx="3654">
                  <c:v>230.18333876026475</c:v>
                </c:pt>
                <c:pt idx="3655">
                  <c:v>230.20199051620449</c:v>
                </c:pt>
                <c:pt idx="3656">
                  <c:v>229.82905178146871</c:v>
                </c:pt>
                <c:pt idx="3657">
                  <c:v>229.82905178146871</c:v>
                </c:pt>
                <c:pt idx="3658">
                  <c:v>229.82905178146871</c:v>
                </c:pt>
                <c:pt idx="3659">
                  <c:v>231.08984339715047</c:v>
                </c:pt>
                <c:pt idx="3660">
                  <c:v>230.71810534236653</c:v>
                </c:pt>
                <c:pt idx="3661">
                  <c:v>230.00860794636083</c:v>
                </c:pt>
                <c:pt idx="3662">
                  <c:v>227.93570826922408</c:v>
                </c:pt>
                <c:pt idx="3663">
                  <c:v>227.65683804758501</c:v>
                </c:pt>
                <c:pt idx="3664">
                  <c:v>227.65683804758501</c:v>
                </c:pt>
                <c:pt idx="3665">
                  <c:v>227.65683804758501</c:v>
                </c:pt>
                <c:pt idx="3666">
                  <c:v>227.70359648555163</c:v>
                </c:pt>
                <c:pt idx="3667">
                  <c:v>227.6214501360835</c:v>
                </c:pt>
                <c:pt idx="3668">
                  <c:v>227.34254102080277</c:v>
                </c:pt>
                <c:pt idx="3669">
                  <c:v>227.67549326582937</c:v>
                </c:pt>
                <c:pt idx="3670">
                  <c:v>225.71977443920548</c:v>
                </c:pt>
                <c:pt idx="3671">
                  <c:v>225.71977443920548</c:v>
                </c:pt>
                <c:pt idx="3672">
                  <c:v>225.71977443920548</c:v>
                </c:pt>
                <c:pt idx="3673">
                  <c:v>223.87401192806797</c:v>
                </c:pt>
                <c:pt idx="3674">
                  <c:v>225.3188724136505</c:v>
                </c:pt>
                <c:pt idx="3675">
                  <c:v>226.98309563080753</c:v>
                </c:pt>
                <c:pt idx="3676">
                  <c:v>226.47866201806335</c:v>
                </c:pt>
                <c:pt idx="3677">
                  <c:v>226.47114745605759</c:v>
                </c:pt>
                <c:pt idx="3678">
                  <c:v>226.47114745605759</c:v>
                </c:pt>
                <c:pt idx="3679">
                  <c:v>226.47114745605759</c:v>
                </c:pt>
                <c:pt idx="3680">
                  <c:v>225.2285817995793</c:v>
                </c:pt>
                <c:pt idx="3681">
                  <c:v>223.72315621111673</c:v>
                </c:pt>
                <c:pt idx="3682">
                  <c:v>225.15516786385598</c:v>
                </c:pt>
                <c:pt idx="3683">
                  <c:v>223.80630828421721</c:v>
                </c:pt>
                <c:pt idx="3684">
                  <c:v>223.31110773231828</c:v>
                </c:pt>
                <c:pt idx="3685">
                  <c:v>223.31110773231828</c:v>
                </c:pt>
                <c:pt idx="3686">
                  <c:v>223.31110773231828</c:v>
                </c:pt>
                <c:pt idx="3687">
                  <c:v>221.26372003707391</c:v>
                </c:pt>
                <c:pt idx="3688">
                  <c:v>222.5146499667639</c:v>
                </c:pt>
                <c:pt idx="3689">
                  <c:v>222.36321539658252</c:v>
                </c:pt>
                <c:pt idx="3690">
                  <c:v>223.80302166353971</c:v>
                </c:pt>
                <c:pt idx="3691">
                  <c:v>223.52806174718432</c:v>
                </c:pt>
                <c:pt idx="3692">
                  <c:v>223.52806174718432</c:v>
                </c:pt>
                <c:pt idx="3693">
                  <c:v>223.52806174718432</c:v>
                </c:pt>
                <c:pt idx="3694">
                  <c:v>223.73601660886959</c:v>
                </c:pt>
                <c:pt idx="3695">
                  <c:v>223.78063180794157</c:v>
                </c:pt>
                <c:pt idx="3696">
                  <c:v>224.39273897012586</c:v>
                </c:pt>
                <c:pt idx="3697">
                  <c:v>226.63896189754678</c:v>
                </c:pt>
                <c:pt idx="3698">
                  <c:v>226.77548920819387</c:v>
                </c:pt>
                <c:pt idx="3699">
                  <c:v>226.77548920819387</c:v>
                </c:pt>
                <c:pt idx="3700">
                  <c:v>226.77548920819387</c:v>
                </c:pt>
                <c:pt idx="3701">
                  <c:v>226.82741399195788</c:v>
                </c:pt>
                <c:pt idx="3702">
                  <c:v>227.39161089187667</c:v>
                </c:pt>
                <c:pt idx="3703">
                  <c:v>227.71934814673904</c:v>
                </c:pt>
                <c:pt idx="3704">
                  <c:v>227.2451430989648</c:v>
                </c:pt>
                <c:pt idx="3705">
                  <c:v>228.38820434836404</c:v>
                </c:pt>
                <c:pt idx="3706">
                  <c:v>228.38820434836404</c:v>
                </c:pt>
                <c:pt idx="3707">
                  <c:v>228.38820434836404</c:v>
                </c:pt>
                <c:pt idx="3708">
                  <c:v>228.61095136406499</c:v>
                </c:pt>
                <c:pt idx="3709">
                  <c:v>229.110299406801</c:v>
                </c:pt>
                <c:pt idx="3710">
                  <c:v>229.37426654715958</c:v>
                </c:pt>
                <c:pt idx="3711">
                  <c:v>229.70975164315411</c:v>
                </c:pt>
                <c:pt idx="3712">
                  <c:v>230.15616498030238</c:v>
                </c:pt>
                <c:pt idx="3713">
                  <c:v>230.15616498030238</c:v>
                </c:pt>
                <c:pt idx="3714">
                  <c:v>230.16057707398505</c:v>
                </c:pt>
                <c:pt idx="3715">
                  <c:v>231.58997322666266</c:v>
                </c:pt>
                <c:pt idx="3716">
                  <c:v>233.13309658856735</c:v>
                </c:pt>
                <c:pt idx="3717">
                  <c:v>232.9595802874384</c:v>
                </c:pt>
                <c:pt idx="3718">
                  <c:v>235.92126531950666</c:v>
                </c:pt>
                <c:pt idx="3719">
                  <c:v>236.33229914400957</c:v>
                </c:pt>
                <c:pt idx="3720">
                  <c:v>236.33229914400957</c:v>
                </c:pt>
                <c:pt idx="3721">
                  <c:v>236.33229914400957</c:v>
                </c:pt>
                <c:pt idx="3722">
                  <c:v>236.03403596587486</c:v>
                </c:pt>
                <c:pt idx="3723">
                  <c:v>235.81827489325809</c:v>
                </c:pt>
                <c:pt idx="3724">
                  <c:v>235.97765974889293</c:v>
                </c:pt>
                <c:pt idx="3725">
                  <c:v>237.38454203787964</c:v>
                </c:pt>
                <c:pt idx="3726">
                  <c:v>237.9611348474171</c:v>
                </c:pt>
                <c:pt idx="3727">
                  <c:v>237.9611348474171</c:v>
                </c:pt>
                <c:pt idx="3728">
                  <c:v>237.9611348474171</c:v>
                </c:pt>
                <c:pt idx="3729">
                  <c:v>237.42429214758999</c:v>
                </c:pt>
                <c:pt idx="3730">
                  <c:v>237.41019389312225</c:v>
                </c:pt>
                <c:pt idx="3731">
                  <c:v>236.67589128571666</c:v>
                </c:pt>
                <c:pt idx="3732">
                  <c:v>236.62342497413644</c:v>
                </c:pt>
                <c:pt idx="3733">
                  <c:v>236.41409132876456</c:v>
                </c:pt>
                <c:pt idx="3734">
                  <c:v>236.41409132876456</c:v>
                </c:pt>
                <c:pt idx="3735">
                  <c:v>236.41409132876456</c:v>
                </c:pt>
                <c:pt idx="3736">
                  <c:v>236.04497564383203</c:v>
                </c:pt>
                <c:pt idx="3737">
                  <c:v>235.48504863620778</c:v>
                </c:pt>
                <c:pt idx="3738">
                  <c:v>235.8400399921764</c:v>
                </c:pt>
                <c:pt idx="3739">
                  <c:v>236.35952484826717</c:v>
                </c:pt>
                <c:pt idx="3740">
                  <c:v>231.81587461313225</c:v>
                </c:pt>
                <c:pt idx="3741">
                  <c:v>231.81587461313225</c:v>
                </c:pt>
                <c:pt idx="3742">
                  <c:v>231.81587461313225</c:v>
                </c:pt>
                <c:pt idx="3743">
                  <c:v>233.46707590641412</c:v>
                </c:pt>
                <c:pt idx="3744">
                  <c:v>231.92977459037618</c:v>
                </c:pt>
                <c:pt idx="3745">
                  <c:v>232.52336173967629</c:v>
                </c:pt>
                <c:pt idx="3746">
                  <c:v>232.88501695035811</c:v>
                </c:pt>
                <c:pt idx="3747">
                  <c:v>232.89011713222931</c:v>
                </c:pt>
                <c:pt idx="3748">
                  <c:v>232.89011713222931</c:v>
                </c:pt>
                <c:pt idx="3749">
                  <c:v>232.89011713222931</c:v>
                </c:pt>
                <c:pt idx="3750">
                  <c:v>234.93395847128056</c:v>
                </c:pt>
                <c:pt idx="3751">
                  <c:v>238.66481545208583</c:v>
                </c:pt>
                <c:pt idx="3752">
                  <c:v>239.52741692127802</c:v>
                </c:pt>
                <c:pt idx="3753">
                  <c:v>238.73994658540764</c:v>
                </c:pt>
                <c:pt idx="3754">
                  <c:v>239.06441565941239</c:v>
                </c:pt>
                <c:pt idx="3755">
                  <c:v>239.06441565941239</c:v>
                </c:pt>
                <c:pt idx="3756">
                  <c:v>239.06441565941239</c:v>
                </c:pt>
                <c:pt idx="3757">
                  <c:v>237.5524384187095</c:v>
                </c:pt>
                <c:pt idx="3758">
                  <c:v>235.72545824769696</c:v>
                </c:pt>
                <c:pt idx="3759">
                  <c:v>236.5677312398164</c:v>
                </c:pt>
                <c:pt idx="3760">
                  <c:v>236.03010031676885</c:v>
                </c:pt>
                <c:pt idx="3761">
                  <c:v>235.69075040033943</c:v>
                </c:pt>
                <c:pt idx="3762">
                  <c:v>235.69075040033943</c:v>
                </c:pt>
                <c:pt idx="3763">
                  <c:v>235.69075040033943</c:v>
                </c:pt>
                <c:pt idx="3764">
                  <c:v>233.38968039201339</c:v>
                </c:pt>
                <c:pt idx="3765">
                  <c:v>235.51986768119696</c:v>
                </c:pt>
                <c:pt idx="3766">
                  <c:v>236.49683235472267</c:v>
                </c:pt>
                <c:pt idx="3767">
                  <c:v>236.93284500975682</c:v>
                </c:pt>
                <c:pt idx="3768">
                  <c:v>237.06472183128923</c:v>
                </c:pt>
                <c:pt idx="3769">
                  <c:v>237.06472183128923</c:v>
                </c:pt>
                <c:pt idx="3770">
                  <c:v>237.06472183128923</c:v>
                </c:pt>
                <c:pt idx="3771">
                  <c:v>238.36196606626942</c:v>
                </c:pt>
                <c:pt idx="3772">
                  <c:v>238.66462140544274</c:v>
                </c:pt>
                <c:pt idx="3773">
                  <c:v>238.76971975812486</c:v>
                </c:pt>
                <c:pt idx="3774">
                  <c:v>238.03939242860349</c:v>
                </c:pt>
                <c:pt idx="3775">
                  <c:v>237.23898735195624</c:v>
                </c:pt>
                <c:pt idx="3776">
                  <c:v>237.23898735195624</c:v>
                </c:pt>
                <c:pt idx="3777">
                  <c:v>237.23898735195624</c:v>
                </c:pt>
                <c:pt idx="3778">
                  <c:v>238.07631524064533</c:v>
                </c:pt>
                <c:pt idx="3779">
                  <c:v>238.43865548862584</c:v>
                </c:pt>
                <c:pt idx="3780">
                  <c:v>237.02805955591481</c:v>
                </c:pt>
                <c:pt idx="3781">
                  <c:v>234.78672459503468</c:v>
                </c:pt>
                <c:pt idx="3782">
                  <c:v>234.46844771117364</c:v>
                </c:pt>
                <c:pt idx="3783">
                  <c:v>234.46844771117364</c:v>
                </c:pt>
                <c:pt idx="3784">
                  <c:v>234.46844771117364</c:v>
                </c:pt>
                <c:pt idx="3785">
                  <c:v>233.42634097189895</c:v>
                </c:pt>
                <c:pt idx="3786">
                  <c:v>234.32228262234412</c:v>
                </c:pt>
                <c:pt idx="3787">
                  <c:v>235.33044252721263</c:v>
                </c:pt>
                <c:pt idx="3788">
                  <c:v>234.05581754474363</c:v>
                </c:pt>
                <c:pt idx="3789">
                  <c:v>233.89317215713177</c:v>
                </c:pt>
                <c:pt idx="3790">
                  <c:v>233.89317215713177</c:v>
                </c:pt>
                <c:pt idx="3791">
                  <c:v>233.89317215713177</c:v>
                </c:pt>
                <c:pt idx="3792">
                  <c:v>234.54123868068132</c:v>
                </c:pt>
                <c:pt idx="3793">
                  <c:v>232.04247619578791</c:v>
                </c:pt>
                <c:pt idx="3794">
                  <c:v>230.19087005273602</c:v>
                </c:pt>
                <c:pt idx="3795">
                  <c:v>230.36099261524848</c:v>
                </c:pt>
                <c:pt idx="3796">
                  <c:v>228.91815878854183</c:v>
                </c:pt>
                <c:pt idx="3797">
                  <c:v>228.91815878854183</c:v>
                </c:pt>
                <c:pt idx="3798">
                  <c:v>228.91815878854183</c:v>
                </c:pt>
                <c:pt idx="3799">
                  <c:v>226.69636841742218</c:v>
                </c:pt>
                <c:pt idx="3800">
                  <c:v>225.51944475025525</c:v>
                </c:pt>
                <c:pt idx="3801">
                  <c:v>226.48994738398792</c:v>
                </c:pt>
                <c:pt idx="3802">
                  <c:v>226.89433839034359</c:v>
                </c:pt>
                <c:pt idx="3803">
                  <c:v>227.3067233882548</c:v>
                </c:pt>
                <c:pt idx="3804">
                  <c:v>227.3067233882548</c:v>
                </c:pt>
                <c:pt idx="3805">
                  <c:v>227.3067233882548</c:v>
                </c:pt>
                <c:pt idx="3806">
                  <c:v>229.4742816603422</c:v>
                </c:pt>
                <c:pt idx="3807">
                  <c:v>229.8868901872244</c:v>
                </c:pt>
                <c:pt idx="3808">
                  <c:v>231.67900332497462</c:v>
                </c:pt>
                <c:pt idx="3809">
                  <c:v>228.20637832808674</c:v>
                </c:pt>
                <c:pt idx="3810">
                  <c:v>228.48571890960679</c:v>
                </c:pt>
                <c:pt idx="3811">
                  <c:v>228.48571890960679</c:v>
                </c:pt>
                <c:pt idx="3812">
                  <c:v>228.48571890960679</c:v>
                </c:pt>
                <c:pt idx="3813">
                  <c:v>228.47430833280444</c:v>
                </c:pt>
                <c:pt idx="3814">
                  <c:v>228.64071988002175</c:v>
                </c:pt>
                <c:pt idx="3815">
                  <c:v>231.2441854514868</c:v>
                </c:pt>
                <c:pt idx="3816">
                  <c:v>229.45077579610148</c:v>
                </c:pt>
                <c:pt idx="3817">
                  <c:v>227.01359784025823</c:v>
                </c:pt>
                <c:pt idx="3818">
                  <c:v>227.01359784025823</c:v>
                </c:pt>
                <c:pt idx="3819">
                  <c:v>227.01359784025823</c:v>
                </c:pt>
                <c:pt idx="3820">
                  <c:v>225.41180805498519</c:v>
                </c:pt>
                <c:pt idx="3821">
                  <c:v>227.47435540222338</c:v>
                </c:pt>
                <c:pt idx="3822">
                  <c:v>227.22236386079589</c:v>
                </c:pt>
                <c:pt idx="3823">
                  <c:v>223.76907700264138</c:v>
                </c:pt>
                <c:pt idx="3824">
                  <c:v>223.13373393768933</c:v>
                </c:pt>
                <c:pt idx="3825">
                  <c:v>223.13373393768933</c:v>
                </c:pt>
                <c:pt idx="3826">
                  <c:v>223.13373393768933</c:v>
                </c:pt>
                <c:pt idx="3827">
                  <c:v>222.44143921477428</c:v>
                </c:pt>
                <c:pt idx="3828">
                  <c:v>222.12207336725047</c:v>
                </c:pt>
                <c:pt idx="3829">
                  <c:v>221.58866275660415</c:v>
                </c:pt>
                <c:pt idx="3830">
                  <c:v>222.01825669709038</c:v>
                </c:pt>
                <c:pt idx="3831">
                  <c:v>225.75189553649656</c:v>
                </c:pt>
                <c:pt idx="3832">
                  <c:v>225.75189553649656</c:v>
                </c:pt>
                <c:pt idx="3833">
                  <c:v>225.75189553649656</c:v>
                </c:pt>
                <c:pt idx="3834">
                  <c:v>225.99013828441309</c:v>
                </c:pt>
                <c:pt idx="3835">
                  <c:v>224.73500261578977</c:v>
                </c:pt>
                <c:pt idx="3836">
                  <c:v>226.55629777663864</c:v>
                </c:pt>
                <c:pt idx="3837">
                  <c:v>224.51176085742017</c:v>
                </c:pt>
                <c:pt idx="3838">
                  <c:v>221.63975477482705</c:v>
                </c:pt>
                <c:pt idx="3839">
                  <c:v>221.63975477482705</c:v>
                </c:pt>
                <c:pt idx="3840">
                  <c:v>221.63975477482705</c:v>
                </c:pt>
                <c:pt idx="3841">
                  <c:v>219.02421062549988</c:v>
                </c:pt>
                <c:pt idx="3842">
                  <c:v>217.70549213622903</c:v>
                </c:pt>
                <c:pt idx="3843">
                  <c:v>222.10791518176848</c:v>
                </c:pt>
                <c:pt idx="3844">
                  <c:v>221.2884813448926</c:v>
                </c:pt>
                <c:pt idx="3845">
                  <c:v>221.03745390453977</c:v>
                </c:pt>
                <c:pt idx="3846">
                  <c:v>221.03745390453977</c:v>
                </c:pt>
                <c:pt idx="3847">
                  <c:v>221.03745390453977</c:v>
                </c:pt>
                <c:pt idx="3848">
                  <c:v>221.5837744963593</c:v>
                </c:pt>
                <c:pt idx="3849">
                  <c:v>222.61652107334319</c:v>
                </c:pt>
                <c:pt idx="3850">
                  <c:v>225.62931066595013</c:v>
                </c:pt>
                <c:pt idx="3851">
                  <c:v>228.00910197580262</c:v>
                </c:pt>
                <c:pt idx="3852">
                  <c:v>228.95686969007645</c:v>
                </c:pt>
                <c:pt idx="3853">
                  <c:v>228.95686969007645</c:v>
                </c:pt>
                <c:pt idx="3854">
                  <c:v>228.95686969007645</c:v>
                </c:pt>
                <c:pt idx="3855">
                  <c:v>228.6627883283717</c:v>
                </c:pt>
                <c:pt idx="3856">
                  <c:v>229.02422645137079</c:v>
                </c:pt>
                <c:pt idx="3857">
                  <c:v>228.34432681078914</c:v>
                </c:pt>
                <c:pt idx="3858">
                  <c:v>229.82657148908621</c:v>
                </c:pt>
                <c:pt idx="3859">
                  <c:v>229.91707949120433</c:v>
                </c:pt>
                <c:pt idx="3860">
                  <c:v>229.91707949120433</c:v>
                </c:pt>
                <c:pt idx="3861">
                  <c:v>229.91707949120433</c:v>
                </c:pt>
                <c:pt idx="3862">
                  <c:v>230.92150214218202</c:v>
                </c:pt>
                <c:pt idx="3863">
                  <c:v>232.91716271113509</c:v>
                </c:pt>
                <c:pt idx="3864">
                  <c:v>232.97288348397049</c:v>
                </c:pt>
                <c:pt idx="3865">
                  <c:v>231.46826539165062</c:v>
                </c:pt>
                <c:pt idx="3866">
                  <c:v>231.85743530093623</c:v>
                </c:pt>
                <c:pt idx="3867">
                  <c:v>231.85743530093623</c:v>
                </c:pt>
                <c:pt idx="3868">
                  <c:v>231.85743530093623</c:v>
                </c:pt>
                <c:pt idx="3869">
                  <c:v>233.03607561756547</c:v>
                </c:pt>
                <c:pt idx="3870">
                  <c:v>232.58927321942318</c:v>
                </c:pt>
                <c:pt idx="3871">
                  <c:v>231.12127671792786</c:v>
                </c:pt>
                <c:pt idx="3872">
                  <c:v>231.46043101302203</c:v>
                </c:pt>
                <c:pt idx="3873">
                  <c:v>232.89411775415547</c:v>
                </c:pt>
                <c:pt idx="3874">
                  <c:v>232.89411775415547</c:v>
                </c:pt>
                <c:pt idx="3875">
                  <c:v>232.89411775415547</c:v>
                </c:pt>
                <c:pt idx="3876">
                  <c:v>230.19340769644296</c:v>
                </c:pt>
                <c:pt idx="3877">
                  <c:v>228.90636873080322</c:v>
                </c:pt>
                <c:pt idx="3878">
                  <c:v>229.69906004039959</c:v>
                </c:pt>
                <c:pt idx="3879">
                  <c:v>228.98411482505205</c:v>
                </c:pt>
                <c:pt idx="3880">
                  <c:v>228.86354094954979</c:v>
                </c:pt>
                <c:pt idx="3881">
                  <c:v>228.86354094954979</c:v>
                </c:pt>
                <c:pt idx="3882">
                  <c:v>228.86354094954979</c:v>
                </c:pt>
                <c:pt idx="3883">
                  <c:v>228.68716268444621</c:v>
                </c:pt>
                <c:pt idx="3884">
                  <c:v>229.19710990164461</c:v>
                </c:pt>
                <c:pt idx="3885">
                  <c:v>230.09187708293183</c:v>
                </c:pt>
                <c:pt idx="3886">
                  <c:v>229.13898378685568</c:v>
                </c:pt>
                <c:pt idx="3887">
                  <c:v>227.22213765771559</c:v>
                </c:pt>
                <c:pt idx="3888">
                  <c:v>227.22213765771559</c:v>
                </c:pt>
                <c:pt idx="3889">
                  <c:v>227.22213765771559</c:v>
                </c:pt>
                <c:pt idx="3890">
                  <c:v>227.36784158126721</c:v>
                </c:pt>
                <c:pt idx="3891">
                  <c:v>226.29515193618462</c:v>
                </c:pt>
                <c:pt idx="3892">
                  <c:v>228.18287893821801</c:v>
                </c:pt>
                <c:pt idx="3893">
                  <c:v>231.11257596662554</c:v>
                </c:pt>
                <c:pt idx="3894">
                  <c:v>228.16279833678465</c:v>
                </c:pt>
                <c:pt idx="3895">
                  <c:v>228.16579183269883</c:v>
                </c:pt>
                <c:pt idx="3896">
                  <c:v>228.16579183269883</c:v>
                </c:pt>
                <c:pt idx="3897">
                  <c:v>228.07424943535761</c:v>
                </c:pt>
                <c:pt idx="3898">
                  <c:v>228.45125160818927</c:v>
                </c:pt>
                <c:pt idx="3899">
                  <c:v>229.71471724679594</c:v>
                </c:pt>
                <c:pt idx="3900">
                  <c:v>228.83545430362059</c:v>
                </c:pt>
                <c:pt idx="3901">
                  <c:v>226.72654565878565</c:v>
                </c:pt>
                <c:pt idx="3902">
                  <c:v>226.72654565878565</c:v>
                </c:pt>
                <c:pt idx="3903">
                  <c:v>226.72654565878565</c:v>
                </c:pt>
                <c:pt idx="3904">
                  <c:v>222.86423628083369</c:v>
                </c:pt>
                <c:pt idx="3905">
                  <c:v>223.11828368105495</c:v>
                </c:pt>
                <c:pt idx="3906">
                  <c:v>222.878552009971</c:v>
                </c:pt>
                <c:pt idx="3907">
                  <c:v>222.62492959049678</c:v>
                </c:pt>
                <c:pt idx="3908">
                  <c:v>226.24228637893671</c:v>
                </c:pt>
                <c:pt idx="3909">
                  <c:v>226.24228637893671</c:v>
                </c:pt>
                <c:pt idx="3910">
                  <c:v>226.24228637893671</c:v>
                </c:pt>
                <c:pt idx="3911">
                  <c:v>226.17684806002447</c:v>
                </c:pt>
                <c:pt idx="3912">
                  <c:v>226.70454578777029</c:v>
                </c:pt>
                <c:pt idx="3913">
                  <c:v>224.36138201159886</c:v>
                </c:pt>
                <c:pt idx="3914">
                  <c:v>222.29251878470407</c:v>
                </c:pt>
                <c:pt idx="3915">
                  <c:v>223.86454702537242</c:v>
                </c:pt>
                <c:pt idx="3916">
                  <c:v>223.86454702537242</c:v>
                </c:pt>
                <c:pt idx="3917">
                  <c:v>223.86454702537242</c:v>
                </c:pt>
                <c:pt idx="3918">
                  <c:v>225.45600680611221</c:v>
                </c:pt>
                <c:pt idx="3919">
                  <c:v>225.2709570248459</c:v>
                </c:pt>
                <c:pt idx="3920">
                  <c:v>225.17440589266505</c:v>
                </c:pt>
                <c:pt idx="3921">
                  <c:v>226.16447974142264</c:v>
                </c:pt>
                <c:pt idx="3922">
                  <c:v>228.17933159689824</c:v>
                </c:pt>
                <c:pt idx="3923">
                  <c:v>228.17933159689824</c:v>
                </c:pt>
                <c:pt idx="3924">
                  <c:v>228.17933159689824</c:v>
                </c:pt>
                <c:pt idx="3925">
                  <c:v>228.72524380236388</c:v>
                </c:pt>
                <c:pt idx="3926">
                  <c:v>227.98532907492543</c:v>
                </c:pt>
                <c:pt idx="3927">
                  <c:v>227.444283411378</c:v>
                </c:pt>
                <c:pt idx="3928">
                  <c:v>228.32866866522343</c:v>
                </c:pt>
                <c:pt idx="3929">
                  <c:v>227.45510144520378</c:v>
                </c:pt>
                <c:pt idx="3930">
                  <c:v>227.45510144520378</c:v>
                </c:pt>
                <c:pt idx="3931">
                  <c:v>227.45510144520378</c:v>
                </c:pt>
                <c:pt idx="3932">
                  <c:v>228.11262865246158</c:v>
                </c:pt>
                <c:pt idx="3933">
                  <c:v>228.10961756576336</c:v>
                </c:pt>
                <c:pt idx="3934">
                  <c:v>227.48144017652606</c:v>
                </c:pt>
                <c:pt idx="3935">
                  <c:v>224.55375859108298</c:v>
                </c:pt>
                <c:pt idx="3936">
                  <c:v>222.34755833260215</c:v>
                </c:pt>
                <c:pt idx="3937">
                  <c:v>222.34755833260215</c:v>
                </c:pt>
                <c:pt idx="3938">
                  <c:v>222.34755833260215</c:v>
                </c:pt>
                <c:pt idx="3939">
                  <c:v>219.76991866446161</c:v>
                </c:pt>
                <c:pt idx="3940">
                  <c:v>219.13213537200141</c:v>
                </c:pt>
                <c:pt idx="3941">
                  <c:v>220.24288987034586</c:v>
                </c:pt>
                <c:pt idx="3942">
                  <c:v>214.73916321036432</c:v>
                </c:pt>
                <c:pt idx="3943">
                  <c:v>215.89150080276704</c:v>
                </c:pt>
                <c:pt idx="3944">
                  <c:v>215.89150080276704</c:v>
                </c:pt>
                <c:pt idx="3945">
                  <c:v>215.89150080276704</c:v>
                </c:pt>
                <c:pt idx="3946">
                  <c:v>216.0209342342433</c:v>
                </c:pt>
                <c:pt idx="3947">
                  <c:v>217.61150069342875</c:v>
                </c:pt>
                <c:pt idx="3948">
                  <c:v>217.22278779808511</c:v>
                </c:pt>
                <c:pt idx="3949">
                  <c:v>217.50620705823675</c:v>
                </c:pt>
                <c:pt idx="3950">
                  <c:v>222.30477027167964</c:v>
                </c:pt>
                <c:pt idx="3951">
                  <c:v>222.30477027167964</c:v>
                </c:pt>
                <c:pt idx="3952">
                  <c:v>222.30477027167964</c:v>
                </c:pt>
                <c:pt idx="3953">
                  <c:v>222.75421049488102</c:v>
                </c:pt>
                <c:pt idx="3954">
                  <c:v>222.71577202831801</c:v>
                </c:pt>
                <c:pt idx="3955">
                  <c:v>223.39966089516992</c:v>
                </c:pt>
                <c:pt idx="3956">
                  <c:v>221.16569332817411</c:v>
                </c:pt>
                <c:pt idx="3957">
                  <c:v>222.78840813669225</c:v>
                </c:pt>
                <c:pt idx="3958">
                  <c:v>222.78840813669225</c:v>
                </c:pt>
                <c:pt idx="3959">
                  <c:v>222.78840813669225</c:v>
                </c:pt>
                <c:pt idx="3960">
                  <c:v>222.25372041293235</c:v>
                </c:pt>
                <c:pt idx="3961">
                  <c:v>222.35811520794749</c:v>
                </c:pt>
                <c:pt idx="3962">
                  <c:v>223.44050114683213</c:v>
                </c:pt>
                <c:pt idx="3963">
                  <c:v>224.19535019185648</c:v>
                </c:pt>
                <c:pt idx="3964">
                  <c:v>223.86885001946507</c:v>
                </c:pt>
                <c:pt idx="3965">
                  <c:v>223.86885001946507</c:v>
                </c:pt>
                <c:pt idx="3966">
                  <c:v>223.86885001946507</c:v>
                </c:pt>
                <c:pt idx="3967">
                  <c:v>224.4739518502482</c:v>
                </c:pt>
                <c:pt idx="3968">
                  <c:v>223.82158116190197</c:v>
                </c:pt>
                <c:pt idx="3969">
                  <c:v>222.46157632650372</c:v>
                </c:pt>
                <c:pt idx="3970">
                  <c:v>222.60871686231758</c:v>
                </c:pt>
                <c:pt idx="3971">
                  <c:v>224.51402041776785</c:v>
                </c:pt>
                <c:pt idx="3972">
                  <c:v>224.51402041776785</c:v>
                </c:pt>
                <c:pt idx="3973">
                  <c:v>224.51402041776785</c:v>
                </c:pt>
                <c:pt idx="3974">
                  <c:v>222.93013237736582</c:v>
                </c:pt>
                <c:pt idx="3975">
                  <c:v>225.64495323644414</c:v>
                </c:pt>
                <c:pt idx="3976">
                  <c:v>225.96518178472868</c:v>
                </c:pt>
                <c:pt idx="3977">
                  <c:v>227.51736373422978</c:v>
                </c:pt>
                <c:pt idx="3978">
                  <c:v>226.98981239741829</c:v>
                </c:pt>
                <c:pt idx="3979">
                  <c:v>226.98981239741829</c:v>
                </c:pt>
                <c:pt idx="3980">
                  <c:v>226.98981239741829</c:v>
                </c:pt>
                <c:pt idx="3981">
                  <c:v>226.81154821815011</c:v>
                </c:pt>
                <c:pt idx="3982">
                  <c:v>226.57869441028743</c:v>
                </c:pt>
                <c:pt idx="3983">
                  <c:v>228.66738064947836</c:v>
                </c:pt>
                <c:pt idx="3984">
                  <c:v>229.73921783614426</c:v>
                </c:pt>
                <c:pt idx="3985">
                  <c:v>231.13639756594438</c:v>
                </c:pt>
                <c:pt idx="3986">
                  <c:v>231.13639756594438</c:v>
                </c:pt>
                <c:pt idx="3987">
                  <c:v>231.14330392150364</c:v>
                </c:pt>
                <c:pt idx="3988">
                  <c:v>229.40067757031079</c:v>
                </c:pt>
                <c:pt idx="3989">
                  <c:v>229.22178174591437</c:v>
                </c:pt>
                <c:pt idx="3990">
                  <c:v>231.18170362302993</c:v>
                </c:pt>
                <c:pt idx="3991">
                  <c:v>232.11358088761514</c:v>
                </c:pt>
                <c:pt idx="3992">
                  <c:v>231.81226960599332</c:v>
                </c:pt>
                <c:pt idx="3993">
                  <c:v>231.81226960599332</c:v>
                </c:pt>
                <c:pt idx="3994">
                  <c:v>231.81226960599332</c:v>
                </c:pt>
                <c:pt idx="3995">
                  <c:v>232.05036166998295</c:v>
                </c:pt>
                <c:pt idx="3996">
                  <c:v>231.97020451355129</c:v>
                </c:pt>
                <c:pt idx="3997">
                  <c:v>231.89697151998635</c:v>
                </c:pt>
                <c:pt idx="3998">
                  <c:v>231.87991317876134</c:v>
                </c:pt>
                <c:pt idx="3999">
                  <c:v>234.15757449515189</c:v>
                </c:pt>
                <c:pt idx="4000">
                  <c:v>234.15757449515189</c:v>
                </c:pt>
                <c:pt idx="4001">
                  <c:v>234.15757449515189</c:v>
                </c:pt>
                <c:pt idx="4002">
                  <c:v>235.23242098462975</c:v>
                </c:pt>
                <c:pt idx="4003">
                  <c:v>234.97227039329022</c:v>
                </c:pt>
                <c:pt idx="4004">
                  <c:v>234.44666092164746</c:v>
                </c:pt>
                <c:pt idx="4005">
                  <c:v>235.27550020200377</c:v>
                </c:pt>
                <c:pt idx="4006">
                  <c:v>236.17818877189379</c:v>
                </c:pt>
                <c:pt idx="4007">
                  <c:v>236.17818877189379</c:v>
                </c:pt>
                <c:pt idx="4008">
                  <c:v>236.17818877189379</c:v>
                </c:pt>
                <c:pt idx="4009">
                  <c:v>234.24200942746936</c:v>
                </c:pt>
                <c:pt idx="4010">
                  <c:v>232.02733789787612</c:v>
                </c:pt>
                <c:pt idx="4011">
                  <c:v>232.2468148770671</c:v>
                </c:pt>
                <c:pt idx="4012">
                  <c:v>233.77159418065213</c:v>
                </c:pt>
                <c:pt idx="4013">
                  <c:v>230.96909823072752</c:v>
                </c:pt>
                <c:pt idx="4014">
                  <c:v>230.96909823072752</c:v>
                </c:pt>
                <c:pt idx="4015">
                  <c:v>230.96909823072752</c:v>
                </c:pt>
                <c:pt idx="4016">
                  <c:v>230.70806157528912</c:v>
                </c:pt>
                <c:pt idx="4017">
                  <c:v>229.86681923496405</c:v>
                </c:pt>
                <c:pt idx="4018">
                  <c:v>228.39478890327442</c:v>
                </c:pt>
                <c:pt idx="4019">
                  <c:v>227.8346415476976</c:v>
                </c:pt>
                <c:pt idx="4020">
                  <c:v>228.25588045976232</c:v>
                </c:pt>
                <c:pt idx="4021">
                  <c:v>228.25588045976232</c:v>
                </c:pt>
                <c:pt idx="4022">
                  <c:v>228.25588045976232</c:v>
                </c:pt>
                <c:pt idx="4023">
                  <c:v>228.67260722071771</c:v>
                </c:pt>
                <c:pt idx="4024">
                  <c:v>228.00820124716398</c:v>
                </c:pt>
                <c:pt idx="4025">
                  <c:v>229.64449754325022</c:v>
                </c:pt>
                <c:pt idx="4026">
                  <c:v>230.65165630546059</c:v>
                </c:pt>
                <c:pt idx="4027">
                  <c:v>232.04720723238708</c:v>
                </c:pt>
                <c:pt idx="4028">
                  <c:v>232.04720723238708</c:v>
                </c:pt>
                <c:pt idx="4029">
                  <c:v>232.04720723238708</c:v>
                </c:pt>
                <c:pt idx="4030">
                  <c:v>232.82954975062694</c:v>
                </c:pt>
                <c:pt idx="4031">
                  <c:v>230.52237887816955</c:v>
                </c:pt>
                <c:pt idx="4032">
                  <c:v>228.92863013866227</c:v>
                </c:pt>
                <c:pt idx="4033">
                  <c:v>228.59093293777212</c:v>
                </c:pt>
                <c:pt idx="4034">
                  <c:v>228.25120109324001</c:v>
                </c:pt>
                <c:pt idx="4035">
                  <c:v>228.25120109324001</c:v>
                </c:pt>
                <c:pt idx="4036">
                  <c:v>228.25120109324001</c:v>
                </c:pt>
                <c:pt idx="4037">
                  <c:v>228.89537163296535</c:v>
                </c:pt>
                <c:pt idx="4038">
                  <c:v>227.02426870650538</c:v>
                </c:pt>
                <c:pt idx="4039">
                  <c:v>226.87667568893391</c:v>
                </c:pt>
                <c:pt idx="4040">
                  <c:v>225.25742736057416</c:v>
                </c:pt>
                <c:pt idx="4041">
                  <c:v>225.98693254937845</c:v>
                </c:pt>
                <c:pt idx="4042">
                  <c:v>225.98693254937845</c:v>
                </c:pt>
                <c:pt idx="4043">
                  <c:v>225.98693254937845</c:v>
                </c:pt>
                <c:pt idx="4044">
                  <c:v>225.23243675728381</c:v>
                </c:pt>
                <c:pt idx="4045">
                  <c:v>224.18517349609348</c:v>
                </c:pt>
                <c:pt idx="4046">
                  <c:v>226.88566998454792</c:v>
                </c:pt>
                <c:pt idx="4047">
                  <c:v>222.04420885645175</c:v>
                </c:pt>
                <c:pt idx="4048">
                  <c:v>220.4216252411174</c:v>
                </c:pt>
                <c:pt idx="4049">
                  <c:v>220.4216252411174</c:v>
                </c:pt>
                <c:pt idx="4050">
                  <c:v>220.4216252411174</c:v>
                </c:pt>
                <c:pt idx="4051">
                  <c:v>221.50717529483484</c:v>
                </c:pt>
                <c:pt idx="4052">
                  <c:v>225.41441124215652</c:v>
                </c:pt>
                <c:pt idx="4053">
                  <c:v>226.30939211226413</c:v>
                </c:pt>
                <c:pt idx="4054">
                  <c:v>225.31634876276945</c:v>
                </c:pt>
                <c:pt idx="4055">
                  <c:v>223.18665187477328</c:v>
                </c:pt>
                <c:pt idx="4056">
                  <c:v>223.18665187477328</c:v>
                </c:pt>
                <c:pt idx="4057">
                  <c:v>223.18665187477328</c:v>
                </c:pt>
                <c:pt idx="4058">
                  <c:v>222.40348544961165</c:v>
                </c:pt>
                <c:pt idx="4059">
                  <c:v>220.5001497490293</c:v>
                </c:pt>
                <c:pt idx="4060">
                  <c:v>219.16319560105902</c:v>
                </c:pt>
                <c:pt idx="4061">
                  <c:v>219.26423421749499</c:v>
                </c:pt>
                <c:pt idx="4062">
                  <c:v>218.07434203445519</c:v>
                </c:pt>
                <c:pt idx="4063">
                  <c:v>218.07434203445519</c:v>
                </c:pt>
                <c:pt idx="4064">
                  <c:v>218.07434203445519</c:v>
                </c:pt>
                <c:pt idx="4065">
                  <c:v>219.45375601979018</c:v>
                </c:pt>
                <c:pt idx="4066">
                  <c:v>222.1579661501938</c:v>
                </c:pt>
                <c:pt idx="4067">
                  <c:v>221.32843941248728</c:v>
                </c:pt>
                <c:pt idx="4068">
                  <c:v>220.03621995883066</c:v>
                </c:pt>
                <c:pt idx="4069">
                  <c:v>222.82934653281484</c:v>
                </c:pt>
                <c:pt idx="4070">
                  <c:v>222.82934653281484</c:v>
                </c:pt>
                <c:pt idx="4071">
                  <c:v>222.82934653281484</c:v>
                </c:pt>
                <c:pt idx="4072">
                  <c:v>223.49690983062519</c:v>
                </c:pt>
                <c:pt idx="4073">
                  <c:v>224.92429966488766</c:v>
                </c:pt>
                <c:pt idx="4074">
                  <c:v>223.85042108856763</c:v>
                </c:pt>
                <c:pt idx="4075">
                  <c:v>223.92732713923681</c:v>
                </c:pt>
                <c:pt idx="4076">
                  <c:v>225.18255848933561</c:v>
                </c:pt>
                <c:pt idx="4077">
                  <c:v>225.18255848933561</c:v>
                </c:pt>
                <c:pt idx="4078">
                  <c:v>225.18255848933561</c:v>
                </c:pt>
                <c:pt idx="4079">
                  <c:v>225.83018352755096</c:v>
                </c:pt>
                <c:pt idx="4080">
                  <c:v>226.59605723706076</c:v>
                </c:pt>
                <c:pt idx="4081">
                  <c:v>225.14142158166689</c:v>
                </c:pt>
                <c:pt idx="4082">
                  <c:v>226.35950646626441</c:v>
                </c:pt>
                <c:pt idx="4083">
                  <c:v>228.48762762990205</c:v>
                </c:pt>
                <c:pt idx="4084">
                  <c:v>228.48762762990205</c:v>
                </c:pt>
                <c:pt idx="4085">
                  <c:v>228.48762762990205</c:v>
                </c:pt>
                <c:pt idx="4086">
                  <c:v>227.51188035561367</c:v>
                </c:pt>
                <c:pt idx="4087">
                  <c:v>228.02918776869106</c:v>
                </c:pt>
                <c:pt idx="4088">
                  <c:v>229.25095219471254</c:v>
                </c:pt>
                <c:pt idx="4089">
                  <c:v>232.79679501238437</c:v>
                </c:pt>
                <c:pt idx="4090">
                  <c:v>232.88204054278202</c:v>
                </c:pt>
                <c:pt idx="4091">
                  <c:v>232.88204054278202</c:v>
                </c:pt>
                <c:pt idx="4092">
                  <c:v>232.88204054278202</c:v>
                </c:pt>
                <c:pt idx="4093">
                  <c:v>232.95341190174716</c:v>
                </c:pt>
                <c:pt idx="4094">
                  <c:v>231.81288131521268</c:v>
                </c:pt>
                <c:pt idx="4095">
                  <c:v>231.61782932061644</c:v>
                </c:pt>
                <c:pt idx="4096">
                  <c:v>231.53007858980004</c:v>
                </c:pt>
                <c:pt idx="4097">
                  <c:v>230.93499303590619</c:v>
                </c:pt>
                <c:pt idx="4098">
                  <c:v>230.93499303590619</c:v>
                </c:pt>
                <c:pt idx="4099">
                  <c:v>230.93499303590619</c:v>
                </c:pt>
                <c:pt idx="4100">
                  <c:v>232.22179976670117</c:v>
                </c:pt>
                <c:pt idx="4101">
                  <c:v>232.69999554121677</c:v>
                </c:pt>
                <c:pt idx="4102">
                  <c:v>232.16483209147108</c:v>
                </c:pt>
                <c:pt idx="4103">
                  <c:v>231.98779479875972</c:v>
                </c:pt>
                <c:pt idx="4104">
                  <c:v>232.33448663881882</c:v>
                </c:pt>
                <c:pt idx="4105">
                  <c:v>232.33448663881882</c:v>
                </c:pt>
                <c:pt idx="4106">
                  <c:v>232.33448663881882</c:v>
                </c:pt>
                <c:pt idx="4107">
                  <c:v>231.37162282584157</c:v>
                </c:pt>
                <c:pt idx="4108">
                  <c:v>231.42736950464524</c:v>
                </c:pt>
                <c:pt idx="4109">
                  <c:v>235.04623862424219</c:v>
                </c:pt>
                <c:pt idx="4110">
                  <c:v>232.98623932830444</c:v>
                </c:pt>
                <c:pt idx="4111">
                  <c:v>233.08931943017049</c:v>
                </c:pt>
                <c:pt idx="4112">
                  <c:v>233.08931943017049</c:v>
                </c:pt>
                <c:pt idx="4113">
                  <c:v>233.08931943017049</c:v>
                </c:pt>
                <c:pt idx="4114">
                  <c:v>232.38115212166414</c:v>
                </c:pt>
                <c:pt idx="4115">
                  <c:v>231.11358729880914</c:v>
                </c:pt>
                <c:pt idx="4116">
                  <c:v>231.14092341391483</c:v>
                </c:pt>
                <c:pt idx="4117">
                  <c:v>231.33238899782472</c:v>
                </c:pt>
                <c:pt idx="4118">
                  <c:v>230.32356464267244</c:v>
                </c:pt>
                <c:pt idx="4119">
                  <c:v>230.32356464267244</c:v>
                </c:pt>
                <c:pt idx="4120">
                  <c:v>230.32356464267244</c:v>
                </c:pt>
                <c:pt idx="4121">
                  <c:v>231.0836692577636</c:v>
                </c:pt>
                <c:pt idx="4122">
                  <c:v>231.5202487015822</c:v>
                </c:pt>
                <c:pt idx="4123">
                  <c:v>231.09742790178348</c:v>
                </c:pt>
                <c:pt idx="4124">
                  <c:v>229.68912479809856</c:v>
                </c:pt>
                <c:pt idx="4125">
                  <c:v>228.15859590878893</c:v>
                </c:pt>
                <c:pt idx="4126">
                  <c:v>228.15859590878893</c:v>
                </c:pt>
                <c:pt idx="4127">
                  <c:v>228.15859590878893</c:v>
                </c:pt>
                <c:pt idx="4128">
                  <c:v>227.27506771723384</c:v>
                </c:pt>
                <c:pt idx="4129">
                  <c:v>227.25503342001457</c:v>
                </c:pt>
                <c:pt idx="4130">
                  <c:v>229.55037061641573</c:v>
                </c:pt>
                <c:pt idx="4131">
                  <c:v>228.95450146886594</c:v>
                </c:pt>
                <c:pt idx="4132">
                  <c:v>228.74151883341955</c:v>
                </c:pt>
                <c:pt idx="4133">
                  <c:v>228.74151883341955</c:v>
                </c:pt>
                <c:pt idx="4134">
                  <c:v>228.74151883341955</c:v>
                </c:pt>
                <c:pt idx="4135">
                  <c:v>228.76499228808225</c:v>
                </c:pt>
                <c:pt idx="4136">
                  <c:v>228.93457348921547</c:v>
                </c:pt>
                <c:pt idx="4137">
                  <c:v>228.08195245716959</c:v>
                </c:pt>
                <c:pt idx="4138">
                  <c:v>229.34845732687137</c:v>
                </c:pt>
                <c:pt idx="4139">
                  <c:v>228.60188222858093</c:v>
                </c:pt>
                <c:pt idx="4140">
                  <c:v>228.60567473380709</c:v>
                </c:pt>
                <c:pt idx="4141">
                  <c:v>228.60567473380709</c:v>
                </c:pt>
                <c:pt idx="4142">
                  <c:v>228.8504976951065</c:v>
                </c:pt>
                <c:pt idx="4143">
                  <c:v>229.83082457208303</c:v>
                </c:pt>
                <c:pt idx="4144">
                  <c:v>231.12347127195679</c:v>
                </c:pt>
                <c:pt idx="4145">
                  <c:v>231.2668371611868</c:v>
                </c:pt>
                <c:pt idx="4146">
                  <c:v>232.74607535571064</c:v>
                </c:pt>
                <c:pt idx="4147">
                  <c:v>232.74607535571064</c:v>
                </c:pt>
                <c:pt idx="4148">
                  <c:v>232.74607535571064</c:v>
                </c:pt>
                <c:pt idx="4149">
                  <c:v>232.29985225257792</c:v>
                </c:pt>
                <c:pt idx="4150">
                  <c:v>232.89765269236469</c:v>
                </c:pt>
                <c:pt idx="4151">
                  <c:v>234.85714175124494</c:v>
                </c:pt>
                <c:pt idx="4152">
                  <c:v>235.67326797025908</c:v>
                </c:pt>
                <c:pt idx="4153">
                  <c:v>235.90972367347896</c:v>
                </c:pt>
                <c:pt idx="4154">
                  <c:v>235.90972367347896</c:v>
                </c:pt>
                <c:pt idx="4155">
                  <c:v>235.90972367347896</c:v>
                </c:pt>
                <c:pt idx="4156">
                  <c:v>236.17328437586423</c:v>
                </c:pt>
                <c:pt idx="4157">
                  <c:v>235.31195804601259</c:v>
                </c:pt>
                <c:pt idx="4158">
                  <c:v>233.85367336713153</c:v>
                </c:pt>
                <c:pt idx="4159">
                  <c:v>232.5506500532768</c:v>
                </c:pt>
                <c:pt idx="4160">
                  <c:v>233.80682587618909</c:v>
                </c:pt>
                <c:pt idx="4161">
                  <c:v>233.80682587618909</c:v>
                </c:pt>
                <c:pt idx="4162">
                  <c:v>233.80682587618909</c:v>
                </c:pt>
                <c:pt idx="4163">
                  <c:v>234.66986064606806</c:v>
                </c:pt>
                <c:pt idx="4164">
                  <c:v>235.30869771430764</c:v>
                </c:pt>
                <c:pt idx="4165">
                  <c:v>234.92783646853516</c:v>
                </c:pt>
                <c:pt idx="4166">
                  <c:v>235.66213866059306</c:v>
                </c:pt>
                <c:pt idx="4167">
                  <c:v>235.54560373302542</c:v>
                </c:pt>
                <c:pt idx="4168">
                  <c:v>235.54560373302542</c:v>
                </c:pt>
                <c:pt idx="4169">
                  <c:v>235.54560373302542</c:v>
                </c:pt>
                <c:pt idx="4170">
                  <c:v>235.07495064038233</c:v>
                </c:pt>
                <c:pt idx="4171">
                  <c:v>236.65748931259043</c:v>
                </c:pt>
                <c:pt idx="4172">
                  <c:v>237.32367067870581</c:v>
                </c:pt>
                <c:pt idx="4173">
                  <c:v>240.30711163430527</c:v>
                </c:pt>
                <c:pt idx="4174">
                  <c:v>242.11006380076398</c:v>
                </c:pt>
                <c:pt idx="4175">
                  <c:v>242.11006380076398</c:v>
                </c:pt>
                <c:pt idx="4176">
                  <c:v>242.11006380076398</c:v>
                </c:pt>
                <c:pt idx="4177">
                  <c:v>240.78163009169558</c:v>
                </c:pt>
                <c:pt idx="4178">
                  <c:v>241.61155862211194</c:v>
                </c:pt>
                <c:pt idx="4179">
                  <c:v>240.2327104504426</c:v>
                </c:pt>
                <c:pt idx="4180">
                  <c:v>238.92952246838919</c:v>
                </c:pt>
                <c:pt idx="4181">
                  <c:v>238.81788503831106</c:v>
                </c:pt>
                <c:pt idx="4182">
                  <c:v>238.81788503831106</c:v>
                </c:pt>
                <c:pt idx="4183">
                  <c:v>238.81788503831106</c:v>
                </c:pt>
                <c:pt idx="4184">
                  <c:v>239.64460807548471</c:v>
                </c:pt>
                <c:pt idx="4185">
                  <c:v>239.47858229101001</c:v>
                </c:pt>
                <c:pt idx="4186">
                  <c:v>241.50203741379133</c:v>
                </c:pt>
                <c:pt idx="4187">
                  <c:v>240.92472196331292</c:v>
                </c:pt>
                <c:pt idx="4188">
                  <c:v>239.72045733133209</c:v>
                </c:pt>
                <c:pt idx="4189">
                  <c:v>239.72045733133209</c:v>
                </c:pt>
                <c:pt idx="4190">
                  <c:v>239.72045733133209</c:v>
                </c:pt>
                <c:pt idx="4191">
                  <c:v>239.74225511251723</c:v>
                </c:pt>
                <c:pt idx="4192">
                  <c:v>236.50983186363811</c:v>
                </c:pt>
                <c:pt idx="4193">
                  <c:v>237.10151087510968</c:v>
                </c:pt>
                <c:pt idx="4194">
                  <c:v>237.56365254300169</c:v>
                </c:pt>
                <c:pt idx="4195">
                  <c:v>237.14404623915152</c:v>
                </c:pt>
                <c:pt idx="4196">
                  <c:v>237.14404623915152</c:v>
                </c:pt>
                <c:pt idx="4197">
                  <c:v>237.14404623915152</c:v>
                </c:pt>
                <c:pt idx="4198">
                  <c:v>237.20841187618177</c:v>
                </c:pt>
                <c:pt idx="4199">
                  <c:v>235.72584032528266</c:v>
                </c:pt>
                <c:pt idx="4200">
                  <c:v>236.83936912158646</c:v>
                </c:pt>
                <c:pt idx="4201">
                  <c:v>238.44899105237272</c:v>
                </c:pt>
                <c:pt idx="4202">
                  <c:v>239.71002854155319</c:v>
                </c:pt>
                <c:pt idx="4203">
                  <c:v>239.71002854155319</c:v>
                </c:pt>
                <c:pt idx="4204">
                  <c:v>239.71002854155319</c:v>
                </c:pt>
                <c:pt idx="4205">
                  <c:v>239.55525257032448</c:v>
                </c:pt>
                <c:pt idx="4206">
                  <c:v>239.72049299244247</c:v>
                </c:pt>
                <c:pt idx="4207">
                  <c:v>240.22544263608665</c:v>
                </c:pt>
                <c:pt idx="4208">
                  <c:v>238.34181332008725</c:v>
                </c:pt>
                <c:pt idx="4209">
                  <c:v>234.57552883574883</c:v>
                </c:pt>
                <c:pt idx="4210">
                  <c:v>234.57552883574883</c:v>
                </c:pt>
                <c:pt idx="4211">
                  <c:v>234.57552883574883</c:v>
                </c:pt>
                <c:pt idx="4212">
                  <c:v>233.35094136199353</c:v>
                </c:pt>
                <c:pt idx="4213">
                  <c:v>234.81378107724123</c:v>
                </c:pt>
                <c:pt idx="4214">
                  <c:v>232.83919677009555</c:v>
                </c:pt>
                <c:pt idx="4215">
                  <c:v>234.23875825600109</c:v>
                </c:pt>
                <c:pt idx="4216">
                  <c:v>233.10826344896805</c:v>
                </c:pt>
                <c:pt idx="4217">
                  <c:v>233.10826344896805</c:v>
                </c:pt>
                <c:pt idx="4218">
                  <c:v>233.10826344896805</c:v>
                </c:pt>
                <c:pt idx="4219">
                  <c:v>232.96659423293957</c:v>
                </c:pt>
                <c:pt idx="4220">
                  <c:v>235.51009322311759</c:v>
                </c:pt>
                <c:pt idx="4221">
                  <c:v>234.91520650314067</c:v>
                </c:pt>
                <c:pt idx="4222">
                  <c:v>235.13505189914665</c:v>
                </c:pt>
                <c:pt idx="4223">
                  <c:v>235.36492697993481</c:v>
                </c:pt>
                <c:pt idx="4224">
                  <c:v>235.36492697993481</c:v>
                </c:pt>
                <c:pt idx="4225">
                  <c:v>235.36492697993481</c:v>
                </c:pt>
                <c:pt idx="4226">
                  <c:v>235.08109570719117</c:v>
                </c:pt>
                <c:pt idx="4227">
                  <c:v>234.57588997683973</c:v>
                </c:pt>
                <c:pt idx="4228">
                  <c:v>236.61081471055874</c:v>
                </c:pt>
                <c:pt idx="4229">
                  <c:v>237.26454673052254</c:v>
                </c:pt>
                <c:pt idx="4230">
                  <c:v>238.64079736118745</c:v>
                </c:pt>
                <c:pt idx="4231">
                  <c:v>238.64079736118745</c:v>
                </c:pt>
                <c:pt idx="4232">
                  <c:v>238.64079736118745</c:v>
                </c:pt>
                <c:pt idx="4233">
                  <c:v>238.97238636271285</c:v>
                </c:pt>
                <c:pt idx="4234">
                  <c:v>236.99251686976484</c:v>
                </c:pt>
                <c:pt idx="4235">
                  <c:v>237.71771871123664</c:v>
                </c:pt>
                <c:pt idx="4236">
                  <c:v>238.58672673528898</c:v>
                </c:pt>
                <c:pt idx="4237">
                  <c:v>238.55830389853301</c:v>
                </c:pt>
                <c:pt idx="4238">
                  <c:v>238.55830389853301</c:v>
                </c:pt>
                <c:pt idx="4239">
                  <c:v>238.55830389853301</c:v>
                </c:pt>
                <c:pt idx="4240">
                  <c:v>238.94814395084876</c:v>
                </c:pt>
                <c:pt idx="4241">
                  <c:v>238.79062455539349</c:v>
                </c:pt>
                <c:pt idx="4242">
                  <c:v>239.22779765501699</c:v>
                </c:pt>
                <c:pt idx="4243">
                  <c:v>239.75945512024751</c:v>
                </c:pt>
                <c:pt idx="4244">
                  <c:v>239.77525287074536</c:v>
                </c:pt>
                <c:pt idx="4245">
                  <c:v>239.77525287074536</c:v>
                </c:pt>
                <c:pt idx="4246">
                  <c:v>239.77525287074536</c:v>
                </c:pt>
                <c:pt idx="4247">
                  <c:v>240.6313632178628</c:v>
                </c:pt>
                <c:pt idx="4248">
                  <c:v>240.4734946057101</c:v>
                </c:pt>
                <c:pt idx="4249">
                  <c:v>240.13249116668447</c:v>
                </c:pt>
                <c:pt idx="4250">
                  <c:v>240.3450540465403</c:v>
                </c:pt>
                <c:pt idx="4251">
                  <c:v>241.4492569076431</c:v>
                </c:pt>
                <c:pt idx="4252">
                  <c:v>241.4492569076431</c:v>
                </c:pt>
                <c:pt idx="4253">
                  <c:v>241.4492569076431</c:v>
                </c:pt>
                <c:pt idx="4254">
                  <c:v>241.11144283781104</c:v>
                </c:pt>
                <c:pt idx="4255">
                  <c:v>240.79683821608182</c:v>
                </c:pt>
                <c:pt idx="4256">
                  <c:v>239.52643503311629</c:v>
                </c:pt>
                <c:pt idx="4257">
                  <c:v>240.74254667274468</c:v>
                </c:pt>
                <c:pt idx="4258">
                  <c:v>240.92196246307799</c:v>
                </c:pt>
                <c:pt idx="4259">
                  <c:v>240.92196246307799</c:v>
                </c:pt>
                <c:pt idx="4260">
                  <c:v>240.92996107223178</c:v>
                </c:pt>
                <c:pt idx="4261">
                  <c:v>241.29495309815891</c:v>
                </c:pt>
                <c:pt idx="4262">
                  <c:v>240.481002484671</c:v>
                </c:pt>
                <c:pt idx="4263">
                  <c:v>240.11679641121799</c:v>
                </c:pt>
                <c:pt idx="4264">
                  <c:v>238.40004535775651</c:v>
                </c:pt>
                <c:pt idx="4265">
                  <c:v>238.93667670785544</c:v>
                </c:pt>
                <c:pt idx="4266">
                  <c:v>238.93667670785544</c:v>
                </c:pt>
                <c:pt idx="4267">
                  <c:v>238.93667670785544</c:v>
                </c:pt>
                <c:pt idx="4268">
                  <c:v>238.86394199409878</c:v>
                </c:pt>
                <c:pt idx="4269">
                  <c:v>238.61158223938202</c:v>
                </c:pt>
                <c:pt idx="4270">
                  <c:v>239.27447862046452</c:v>
                </c:pt>
                <c:pt idx="4271">
                  <c:v>240.28472657488234</c:v>
                </c:pt>
                <c:pt idx="4272">
                  <c:v>240.47097847499234</c:v>
                </c:pt>
                <c:pt idx="4273">
                  <c:v>240.47097847499234</c:v>
                </c:pt>
                <c:pt idx="4274">
                  <c:v>240.47097847499234</c:v>
                </c:pt>
                <c:pt idx="4275">
                  <c:v>240.62681809730284</c:v>
                </c:pt>
                <c:pt idx="4276">
                  <c:v>240.2196678960095</c:v>
                </c:pt>
                <c:pt idx="4277">
                  <c:v>240.54591022697906</c:v>
                </c:pt>
                <c:pt idx="4278">
                  <c:v>242.20380074944546</c:v>
                </c:pt>
                <c:pt idx="4279">
                  <c:v>242.2561313026354</c:v>
                </c:pt>
                <c:pt idx="4280">
                  <c:v>242.2561313026354</c:v>
                </c:pt>
                <c:pt idx="4281">
                  <c:v>242.2561313026354</c:v>
                </c:pt>
                <c:pt idx="4282">
                  <c:v>242.54777376886537</c:v>
                </c:pt>
                <c:pt idx="4283">
                  <c:v>240.85463022642801</c:v>
                </c:pt>
                <c:pt idx="4284">
                  <c:v>239.35027388295046</c:v>
                </c:pt>
                <c:pt idx="4285">
                  <c:v>239.67999324624063</c:v>
                </c:pt>
                <c:pt idx="4286">
                  <c:v>241.14109207226946</c:v>
                </c:pt>
                <c:pt idx="4287">
                  <c:v>241.14109207226946</c:v>
                </c:pt>
                <c:pt idx="4288">
                  <c:v>241.14109207226946</c:v>
                </c:pt>
                <c:pt idx="4289">
                  <c:v>240.95010591593731</c:v>
                </c:pt>
                <c:pt idx="4290">
                  <c:v>240.02683330008861</c:v>
                </c:pt>
                <c:pt idx="4291">
                  <c:v>238.61542031411241</c:v>
                </c:pt>
                <c:pt idx="4292">
                  <c:v>239.23202880790029</c:v>
                </c:pt>
                <c:pt idx="4293">
                  <c:v>242.1275521376941</c:v>
                </c:pt>
                <c:pt idx="4294">
                  <c:v>242.1275521376941</c:v>
                </c:pt>
                <c:pt idx="4295">
                  <c:v>242.1275521376941</c:v>
                </c:pt>
                <c:pt idx="4296">
                  <c:v>242.62300321998035</c:v>
                </c:pt>
                <c:pt idx="4297">
                  <c:v>243.40709040571642</c:v>
                </c:pt>
                <c:pt idx="4298">
                  <c:v>242.02170730775055</c:v>
                </c:pt>
                <c:pt idx="4299">
                  <c:v>241.46470644946712</c:v>
                </c:pt>
                <c:pt idx="4300">
                  <c:v>240.88332221716047</c:v>
                </c:pt>
                <c:pt idx="4301">
                  <c:v>240.88332221716047</c:v>
                </c:pt>
                <c:pt idx="4302">
                  <c:v>240.88332221716047</c:v>
                </c:pt>
                <c:pt idx="4303">
                  <c:v>242.13657069532613</c:v>
                </c:pt>
                <c:pt idx="4304">
                  <c:v>242.35989809720982</c:v>
                </c:pt>
                <c:pt idx="4305">
                  <c:v>242.31022158889684</c:v>
                </c:pt>
                <c:pt idx="4306">
                  <c:v>243.23543470798973</c:v>
                </c:pt>
                <c:pt idx="4307">
                  <c:v>242.69786250609593</c:v>
                </c:pt>
                <c:pt idx="4308">
                  <c:v>242.69786250609593</c:v>
                </c:pt>
                <c:pt idx="4309">
                  <c:v>242.69786250609593</c:v>
                </c:pt>
                <c:pt idx="4310">
                  <c:v>241.64047888570801</c:v>
                </c:pt>
                <c:pt idx="4311">
                  <c:v>241.96168190867164</c:v>
                </c:pt>
                <c:pt idx="4312">
                  <c:v>240.92404133389039</c:v>
                </c:pt>
                <c:pt idx="4313">
                  <c:v>240.52435075855786</c:v>
                </c:pt>
                <c:pt idx="4314">
                  <c:v>239.5357980821837</c:v>
                </c:pt>
                <c:pt idx="4315">
                  <c:v>239.5357980821837</c:v>
                </c:pt>
                <c:pt idx="4316">
                  <c:v>239.5357980821837</c:v>
                </c:pt>
                <c:pt idx="4317">
                  <c:v>238.77526234184083</c:v>
                </c:pt>
                <c:pt idx="4318">
                  <c:v>239.21394264156785</c:v>
                </c:pt>
                <c:pt idx="4319">
                  <c:v>241.1670575033323</c:v>
                </c:pt>
                <c:pt idx="4320">
                  <c:v>241.17599274281281</c:v>
                </c:pt>
                <c:pt idx="4321">
                  <c:v>241.92482249443989</c:v>
                </c:pt>
                <c:pt idx="4322">
                  <c:v>241.92482249443989</c:v>
                </c:pt>
                <c:pt idx="4323">
                  <c:v>241.92482249443989</c:v>
                </c:pt>
                <c:pt idx="4324">
                  <c:v>241.90543463916518</c:v>
                </c:pt>
                <c:pt idx="4325">
                  <c:v>241.54688482299736</c:v>
                </c:pt>
                <c:pt idx="4326">
                  <c:v>240.32773247763677</c:v>
                </c:pt>
                <c:pt idx="4327">
                  <c:v>238.01287412891625</c:v>
                </c:pt>
                <c:pt idx="4328">
                  <c:v>236.05088640489677</c:v>
                </c:pt>
                <c:pt idx="4329">
                  <c:v>236.05088640489677</c:v>
                </c:pt>
                <c:pt idx="4330">
                  <c:v>236.05088640489677</c:v>
                </c:pt>
                <c:pt idx="4331">
                  <c:v>236.45167012339707</c:v>
                </c:pt>
                <c:pt idx="4332">
                  <c:v>236.2304364827628</c:v>
                </c:pt>
                <c:pt idx="4333">
                  <c:v>238.10075789135396</c:v>
                </c:pt>
                <c:pt idx="4334">
                  <c:v>239.12116249937316</c:v>
                </c:pt>
                <c:pt idx="4335">
                  <c:v>239.43043463731496</c:v>
                </c:pt>
                <c:pt idx="4336">
                  <c:v>239.43043463731496</c:v>
                </c:pt>
                <c:pt idx="4337">
                  <c:v>239.43043463731496</c:v>
                </c:pt>
                <c:pt idx="4338">
                  <c:v>239.71511263549004</c:v>
                </c:pt>
                <c:pt idx="4339">
                  <c:v>241.06384574522235</c:v>
                </c:pt>
                <c:pt idx="4340">
                  <c:v>243.69768280681163</c:v>
                </c:pt>
                <c:pt idx="4341">
                  <c:v>243.17064026518216</c:v>
                </c:pt>
                <c:pt idx="4342">
                  <c:v>243.21394895621341</c:v>
                </c:pt>
                <c:pt idx="4343">
                  <c:v>243.21394895621341</c:v>
                </c:pt>
                <c:pt idx="4344">
                  <c:v>243.21394895621341</c:v>
                </c:pt>
                <c:pt idx="4345">
                  <c:v>243.68432716563424</c:v>
                </c:pt>
                <c:pt idx="4346">
                  <c:v>243.71480232758958</c:v>
                </c:pt>
                <c:pt idx="4347">
                  <c:v>242.84919071557059</c:v>
                </c:pt>
                <c:pt idx="4348">
                  <c:v>243.55599842816443</c:v>
                </c:pt>
                <c:pt idx="4349">
                  <c:v>243.69346874035725</c:v>
                </c:pt>
                <c:pt idx="4350">
                  <c:v>243.69346874035725</c:v>
                </c:pt>
                <c:pt idx="4351">
                  <c:v>243.69346874035725</c:v>
                </c:pt>
                <c:pt idx="4352">
                  <c:v>243.66373326330157</c:v>
                </c:pt>
                <c:pt idx="4353">
                  <c:v>243.7302485892078</c:v>
                </c:pt>
                <c:pt idx="4354">
                  <c:v>242.29755831655569</c:v>
                </c:pt>
                <c:pt idx="4355">
                  <c:v>240.95874315807757</c:v>
                </c:pt>
                <c:pt idx="4356">
                  <c:v>240.75529687205434</c:v>
                </c:pt>
                <c:pt idx="4357">
                  <c:v>240.75529687205434</c:v>
                </c:pt>
                <c:pt idx="4358">
                  <c:v>240.75529687205434</c:v>
                </c:pt>
                <c:pt idx="4359">
                  <c:v>240.93973709743506</c:v>
                </c:pt>
                <c:pt idx="4360">
                  <c:v>241.20203132343141</c:v>
                </c:pt>
                <c:pt idx="4361">
                  <c:v>241.15487150226704</c:v>
                </c:pt>
                <c:pt idx="4362">
                  <c:v>241.84690640237093</c:v>
                </c:pt>
                <c:pt idx="4363">
                  <c:v>240.17059052155511</c:v>
                </c:pt>
                <c:pt idx="4364">
                  <c:v>240.17059052155511</c:v>
                </c:pt>
                <c:pt idx="4365">
                  <c:v>240.17059052155511</c:v>
                </c:pt>
                <c:pt idx="4366">
                  <c:v>240.66625218456758</c:v>
                </c:pt>
                <c:pt idx="4367">
                  <c:v>238.09491137300211</c:v>
                </c:pt>
                <c:pt idx="4368">
                  <c:v>237.02489141274981</c:v>
                </c:pt>
                <c:pt idx="4369">
                  <c:v>235.57272049152698</c:v>
                </c:pt>
                <c:pt idx="4370">
                  <c:v>235.33404763403379</c:v>
                </c:pt>
                <c:pt idx="4371">
                  <c:v>235.33404763403379</c:v>
                </c:pt>
                <c:pt idx="4372">
                  <c:v>235.33404763403379</c:v>
                </c:pt>
                <c:pt idx="4373">
                  <c:v>235.69531363723775</c:v>
                </c:pt>
                <c:pt idx="4374">
                  <c:v>236.05898443532061</c:v>
                </c:pt>
                <c:pt idx="4375">
                  <c:v>238.7919620488002</c:v>
                </c:pt>
                <c:pt idx="4376">
                  <c:v>238.33514347372235</c:v>
                </c:pt>
                <c:pt idx="4377">
                  <c:v>239.3425670583743</c:v>
                </c:pt>
                <c:pt idx="4378">
                  <c:v>239.3425670583743</c:v>
                </c:pt>
                <c:pt idx="4379">
                  <c:v>239.3425670583743</c:v>
                </c:pt>
                <c:pt idx="4380">
                  <c:v>240.03074634801158</c:v>
                </c:pt>
                <c:pt idx="4381">
                  <c:v>242.32997446389709</c:v>
                </c:pt>
                <c:pt idx="4382">
                  <c:v>241.79193649149411</c:v>
                </c:pt>
                <c:pt idx="4383">
                  <c:v>241.91559372365461</c:v>
                </c:pt>
                <c:pt idx="4384">
                  <c:v>242.48079322105087</c:v>
                </c:pt>
                <c:pt idx="4385">
                  <c:v>242.48079322105087</c:v>
                </c:pt>
                <c:pt idx="4386">
                  <c:v>242.48079322105087</c:v>
                </c:pt>
                <c:pt idx="4387">
                  <c:v>242.35472503184732</c:v>
                </c:pt>
                <c:pt idx="4388">
                  <c:v>241.81767180827126</c:v>
                </c:pt>
                <c:pt idx="4389">
                  <c:v>242.15996230453916</c:v>
                </c:pt>
                <c:pt idx="4390">
                  <c:v>242.6188796491025</c:v>
                </c:pt>
                <c:pt idx="4391">
                  <c:v>242.85332227250743</c:v>
                </c:pt>
                <c:pt idx="4392">
                  <c:v>242.85332227250743</c:v>
                </c:pt>
                <c:pt idx="4393">
                  <c:v>242.85332227250743</c:v>
                </c:pt>
                <c:pt idx="4394">
                  <c:v>242.77783374581225</c:v>
                </c:pt>
                <c:pt idx="4395">
                  <c:v>242.65624332333732</c:v>
                </c:pt>
                <c:pt idx="4396">
                  <c:v>242.84344776193643</c:v>
                </c:pt>
                <c:pt idx="4397">
                  <c:v>245.45453936722441</c:v>
                </c:pt>
                <c:pt idx="4398">
                  <c:v>245.24169591795751</c:v>
                </c:pt>
                <c:pt idx="4399">
                  <c:v>245.24169591795751</c:v>
                </c:pt>
                <c:pt idx="4400">
                  <c:v>245.24169591795751</c:v>
                </c:pt>
                <c:pt idx="4401">
                  <c:v>244.36486611562333</c:v>
                </c:pt>
                <c:pt idx="4402">
                  <c:v>243.97355976821507</c:v>
                </c:pt>
                <c:pt idx="4403">
                  <c:v>243.92338416591315</c:v>
                </c:pt>
                <c:pt idx="4404">
                  <c:v>242.23740280919526</c:v>
                </c:pt>
                <c:pt idx="4405">
                  <c:v>242.33594498465803</c:v>
                </c:pt>
                <c:pt idx="4406">
                  <c:v>242.33594498465803</c:v>
                </c:pt>
                <c:pt idx="4407">
                  <c:v>242.33594498465803</c:v>
                </c:pt>
                <c:pt idx="4408">
                  <c:v>242.25382460298107</c:v>
                </c:pt>
                <c:pt idx="4409">
                  <c:v>241.13683097834866</c:v>
                </c:pt>
                <c:pt idx="4410">
                  <c:v>241.08991298514519</c:v>
                </c:pt>
                <c:pt idx="4411">
                  <c:v>240.8459034733138</c:v>
                </c:pt>
                <c:pt idx="4412">
                  <c:v>241.18598752285425</c:v>
                </c:pt>
                <c:pt idx="4413">
                  <c:v>241.1902589266933</c:v>
                </c:pt>
                <c:pt idx="4414">
                  <c:v>241.1902589266933</c:v>
                </c:pt>
                <c:pt idx="4415">
                  <c:v>240.33666730513102</c:v>
                </c:pt>
                <c:pt idx="4416">
                  <c:v>239.21653981328868</c:v>
                </c:pt>
                <c:pt idx="4417">
                  <c:v>239.29037399830204</c:v>
                </c:pt>
                <c:pt idx="4418">
                  <c:v>239.77325240141568</c:v>
                </c:pt>
                <c:pt idx="4419">
                  <c:v>240.7776817375854</c:v>
                </c:pt>
                <c:pt idx="4420">
                  <c:v>240.7776817375854</c:v>
                </c:pt>
                <c:pt idx="4421">
                  <c:v>240.7776817375854</c:v>
                </c:pt>
                <c:pt idx="4422">
                  <c:v>241.23457183534336</c:v>
                </c:pt>
                <c:pt idx="4423">
                  <c:v>243.2700464315013</c:v>
                </c:pt>
                <c:pt idx="4424">
                  <c:v>243.7612500111544</c:v>
                </c:pt>
                <c:pt idx="4425">
                  <c:v>244.46615148109916</c:v>
                </c:pt>
                <c:pt idx="4426">
                  <c:v>244.04751786465687</c:v>
                </c:pt>
                <c:pt idx="4427">
                  <c:v>244.04751786465687</c:v>
                </c:pt>
                <c:pt idx="4428">
                  <c:v>244.04751786465687</c:v>
                </c:pt>
                <c:pt idx="4429">
                  <c:v>244.14550294307952</c:v>
                </c:pt>
                <c:pt idx="4430">
                  <c:v>244.19193209337419</c:v>
                </c:pt>
                <c:pt idx="4431">
                  <c:v>241.89090174958102</c:v>
                </c:pt>
                <c:pt idx="4432">
                  <c:v>239.80570542013893</c:v>
                </c:pt>
                <c:pt idx="4433">
                  <c:v>237.90520683577148</c:v>
                </c:pt>
                <c:pt idx="4434">
                  <c:v>237.90520683577148</c:v>
                </c:pt>
                <c:pt idx="4435">
                  <c:v>237.90520683577148</c:v>
                </c:pt>
                <c:pt idx="4436">
                  <c:v>237.20907716815344</c:v>
                </c:pt>
                <c:pt idx="4437">
                  <c:v>238.38631023677743</c:v>
                </c:pt>
                <c:pt idx="4438">
                  <c:v>238.10284269141178</c:v>
                </c:pt>
                <c:pt idx="4439">
                  <c:v>236.43618469931099</c:v>
                </c:pt>
                <c:pt idx="4440">
                  <c:v>234.87658778726447</c:v>
                </c:pt>
                <c:pt idx="4441">
                  <c:v>234.87658778726447</c:v>
                </c:pt>
                <c:pt idx="4442">
                  <c:v>234.87658778726447</c:v>
                </c:pt>
                <c:pt idx="4443">
                  <c:v>236.38437334503303</c:v>
                </c:pt>
                <c:pt idx="4444">
                  <c:v>236.81198794872674</c:v>
                </c:pt>
                <c:pt idx="4445">
                  <c:v>238.7368384129318</c:v>
                </c:pt>
                <c:pt idx="4446">
                  <c:v>241.38040962257236</c:v>
                </c:pt>
                <c:pt idx="4447">
                  <c:v>240.55877243245399</c:v>
                </c:pt>
                <c:pt idx="4448">
                  <c:v>240.55877243245399</c:v>
                </c:pt>
                <c:pt idx="4449">
                  <c:v>240.55877243245399</c:v>
                </c:pt>
                <c:pt idx="4450">
                  <c:v>240.87513849084309</c:v>
                </c:pt>
                <c:pt idx="4451">
                  <c:v>241.90302015182232</c:v>
                </c:pt>
                <c:pt idx="4452">
                  <c:v>242.59483618012433</c:v>
                </c:pt>
                <c:pt idx="4453">
                  <c:v>242.92871702721069</c:v>
                </c:pt>
                <c:pt idx="4454">
                  <c:v>243.54554219118882</c:v>
                </c:pt>
                <c:pt idx="4455">
                  <c:v>243.54554219118882</c:v>
                </c:pt>
                <c:pt idx="4456">
                  <c:v>243.54554219118882</c:v>
                </c:pt>
                <c:pt idx="4457">
                  <c:v>243.27011166661396</c:v>
                </c:pt>
                <c:pt idx="4458">
                  <c:v>243.84819686566846</c:v>
                </c:pt>
                <c:pt idx="4459">
                  <c:v>244.48599401698047</c:v>
                </c:pt>
                <c:pt idx="4460">
                  <c:v>244.74212487889247</c:v>
                </c:pt>
                <c:pt idx="4461">
                  <c:v>245.49757039575618</c:v>
                </c:pt>
                <c:pt idx="4462">
                  <c:v>245.49757039575618</c:v>
                </c:pt>
                <c:pt idx="4463">
                  <c:v>245.49757039575618</c:v>
                </c:pt>
                <c:pt idx="4464">
                  <c:v>245.47646005967786</c:v>
                </c:pt>
                <c:pt idx="4465">
                  <c:v>245.10092771631398</c:v>
                </c:pt>
                <c:pt idx="4466">
                  <c:v>245.92365309836077</c:v>
                </c:pt>
                <c:pt idx="4467">
                  <c:v>245.50636492531041</c:v>
                </c:pt>
                <c:pt idx="4468">
                  <c:v>244.69709983954345</c:v>
                </c:pt>
                <c:pt idx="4469">
                  <c:v>244.69709983954345</c:v>
                </c:pt>
                <c:pt idx="4470">
                  <c:v>244.69709983954345</c:v>
                </c:pt>
                <c:pt idx="4471">
                  <c:v>244.37276606856113</c:v>
                </c:pt>
                <c:pt idx="4472">
                  <c:v>243.73203778202299</c:v>
                </c:pt>
                <c:pt idx="4473">
                  <c:v>243.54836375567083</c:v>
                </c:pt>
                <c:pt idx="4474">
                  <c:v>244.10824978265782</c:v>
                </c:pt>
                <c:pt idx="4475">
                  <c:v>245.27991811888214</c:v>
                </c:pt>
                <c:pt idx="4476">
                  <c:v>245.27991811888214</c:v>
                </c:pt>
                <c:pt idx="4477">
                  <c:v>245.27991811888214</c:v>
                </c:pt>
                <c:pt idx="4478">
                  <c:v>244.74144039784068</c:v>
                </c:pt>
                <c:pt idx="4479">
                  <c:v>244.7826842253765</c:v>
                </c:pt>
                <c:pt idx="4480">
                  <c:v>245.36654722727141</c:v>
                </c:pt>
                <c:pt idx="4481">
                  <c:v>246.06825874735935</c:v>
                </c:pt>
                <c:pt idx="4482">
                  <c:v>246.66737836170967</c:v>
                </c:pt>
                <c:pt idx="4483">
                  <c:v>246.66737836170967</c:v>
                </c:pt>
                <c:pt idx="4484">
                  <c:v>246.66737836170967</c:v>
                </c:pt>
                <c:pt idx="4485">
                  <c:v>246.76894118807635</c:v>
                </c:pt>
                <c:pt idx="4486">
                  <c:v>247.50784142867579</c:v>
                </c:pt>
                <c:pt idx="4487">
                  <c:v>249.14580129676091</c:v>
                </c:pt>
                <c:pt idx="4488">
                  <c:v>248.1675377823432</c:v>
                </c:pt>
                <c:pt idx="4489">
                  <c:v>248.54014396859574</c:v>
                </c:pt>
                <c:pt idx="4490">
                  <c:v>248.54014396859574</c:v>
                </c:pt>
                <c:pt idx="4491">
                  <c:v>248.54014396859574</c:v>
                </c:pt>
                <c:pt idx="4492">
                  <c:v>249.40570738857932</c:v>
                </c:pt>
                <c:pt idx="4493">
                  <c:v>249.26383544598841</c:v>
                </c:pt>
                <c:pt idx="4494">
                  <c:v>250.09305646208986</c:v>
                </c:pt>
                <c:pt idx="4495">
                  <c:v>251.03571971515959</c:v>
                </c:pt>
                <c:pt idx="4496">
                  <c:v>250.90796010632496</c:v>
                </c:pt>
                <c:pt idx="4497">
                  <c:v>250.90796010632496</c:v>
                </c:pt>
                <c:pt idx="4498">
                  <c:v>250.90796010632496</c:v>
                </c:pt>
                <c:pt idx="4499">
                  <c:v>250.87862394762934</c:v>
                </c:pt>
                <c:pt idx="4500">
                  <c:v>251.26599057814943</c:v>
                </c:pt>
                <c:pt idx="4501">
                  <c:v>251.45131432216021</c:v>
                </c:pt>
                <c:pt idx="4502">
                  <c:v>251.96135565361814</c:v>
                </c:pt>
                <c:pt idx="4503">
                  <c:v>251.95793149879481</c:v>
                </c:pt>
                <c:pt idx="4504">
                  <c:v>251.95793149879481</c:v>
                </c:pt>
                <c:pt idx="4505">
                  <c:v>251.96569936182291</c:v>
                </c:pt>
                <c:pt idx="4506">
                  <c:v>251.96101028015778</c:v>
                </c:pt>
                <c:pt idx="4507">
                  <c:v>251.39601039109544</c:v>
                </c:pt>
                <c:pt idx="4508">
                  <c:v>250.02498705298615</c:v>
                </c:pt>
                <c:pt idx="4509">
                  <c:v>249.3194265405221</c:v>
                </c:pt>
                <c:pt idx="4510">
                  <c:v>248.33077777971261</c:v>
                </c:pt>
                <c:pt idx="4511">
                  <c:v>248.33077777971261</c:v>
                </c:pt>
                <c:pt idx="4512">
                  <c:v>248.33077777971261</c:v>
                </c:pt>
                <c:pt idx="4513">
                  <c:v>249.52923949643196</c:v>
                </c:pt>
                <c:pt idx="4514">
                  <c:v>250.14156179252467</c:v>
                </c:pt>
                <c:pt idx="4515">
                  <c:v>250.53789358727562</c:v>
                </c:pt>
                <c:pt idx="4516">
                  <c:v>250.63133169468901</c:v>
                </c:pt>
                <c:pt idx="4517">
                  <c:v>251.64638357542586</c:v>
                </c:pt>
                <c:pt idx="4518">
                  <c:v>251.64638357542586</c:v>
                </c:pt>
                <c:pt idx="4519">
                  <c:v>251.64638357542586</c:v>
                </c:pt>
                <c:pt idx="4520">
                  <c:v>251.39190868649905</c:v>
                </c:pt>
                <c:pt idx="4521">
                  <c:v>251.18616200667276</c:v>
                </c:pt>
                <c:pt idx="4522">
                  <c:v>248.65020660994634</c:v>
                </c:pt>
                <c:pt idx="4523">
                  <c:v>249.4452681320837</c:v>
                </c:pt>
                <c:pt idx="4524">
                  <c:v>250.87931900076433</c:v>
                </c:pt>
                <c:pt idx="4525">
                  <c:v>250.87931900076433</c:v>
                </c:pt>
                <c:pt idx="4526">
                  <c:v>250.87931900076433</c:v>
                </c:pt>
                <c:pt idx="4527">
                  <c:v>251.40493626200282</c:v>
                </c:pt>
                <c:pt idx="4528">
                  <c:v>251.48133319403411</c:v>
                </c:pt>
                <c:pt idx="4529">
                  <c:v>251.77450007301837</c:v>
                </c:pt>
                <c:pt idx="4530">
                  <c:v>252.69620875161067</c:v>
                </c:pt>
                <c:pt idx="4531">
                  <c:v>253.68713924549547</c:v>
                </c:pt>
                <c:pt idx="4532">
                  <c:v>253.68713924549547</c:v>
                </c:pt>
                <c:pt idx="4533">
                  <c:v>253.68713924549547</c:v>
                </c:pt>
                <c:pt idx="4534">
                  <c:v>255.01916162317485</c:v>
                </c:pt>
                <c:pt idx="4535">
                  <c:v>255.65819883913667</c:v>
                </c:pt>
                <c:pt idx="4536">
                  <c:v>253.55820194121608</c:v>
                </c:pt>
                <c:pt idx="4537">
                  <c:v>254.86651155159237</c:v>
                </c:pt>
                <c:pt idx="4538">
                  <c:v>255.22830985673053</c:v>
                </c:pt>
                <c:pt idx="4539">
                  <c:v>255.22830985673053</c:v>
                </c:pt>
                <c:pt idx="4540">
                  <c:v>255.22830985673053</c:v>
                </c:pt>
                <c:pt idx="4541">
                  <c:v>256.23252606012659</c:v>
                </c:pt>
                <c:pt idx="4542">
                  <c:v>256.57883200607262</c:v>
                </c:pt>
                <c:pt idx="4543">
                  <c:v>256.60144943011397</c:v>
                </c:pt>
                <c:pt idx="4544">
                  <c:v>255.77480529476037</c:v>
                </c:pt>
                <c:pt idx="4545">
                  <c:v>256.23997270215779</c:v>
                </c:pt>
                <c:pt idx="4546">
                  <c:v>256.23997270215779</c:v>
                </c:pt>
                <c:pt idx="4547">
                  <c:v>256.23997270215779</c:v>
                </c:pt>
                <c:pt idx="4548">
                  <c:v>256.3399421651078</c:v>
                </c:pt>
                <c:pt idx="4549">
                  <c:v>254.510392729887</c:v>
                </c:pt>
                <c:pt idx="4550">
                  <c:v>257.04375863787317</c:v>
                </c:pt>
                <c:pt idx="4551">
                  <c:v>257.22473029614213</c:v>
                </c:pt>
                <c:pt idx="4552">
                  <c:v>258.56887098554114</c:v>
                </c:pt>
                <c:pt idx="4553">
                  <c:v>258.56887098554114</c:v>
                </c:pt>
                <c:pt idx="4554">
                  <c:v>258.56887098554114</c:v>
                </c:pt>
                <c:pt idx="4555">
                  <c:v>258.82734677173312</c:v>
                </c:pt>
                <c:pt idx="4556">
                  <c:v>257.7857116442911</c:v>
                </c:pt>
                <c:pt idx="4557">
                  <c:v>258.25363911235354</c:v>
                </c:pt>
                <c:pt idx="4558">
                  <c:v>261.0141690766261</c:v>
                </c:pt>
                <c:pt idx="4559">
                  <c:v>261.02327847112684</c:v>
                </c:pt>
                <c:pt idx="4560">
                  <c:v>261.02327847112684</c:v>
                </c:pt>
                <c:pt idx="4561">
                  <c:v>261.02327847112684</c:v>
                </c:pt>
                <c:pt idx="4562">
                  <c:v>260.67714855271021</c:v>
                </c:pt>
                <c:pt idx="4563">
                  <c:v>260.53333557662518</c:v>
                </c:pt>
                <c:pt idx="4564">
                  <c:v>259.89096197909407</c:v>
                </c:pt>
                <c:pt idx="4565">
                  <c:v>260.64058107418805</c:v>
                </c:pt>
                <c:pt idx="4566">
                  <c:v>261.99385564158916</c:v>
                </c:pt>
                <c:pt idx="4567">
                  <c:v>261.99385564158916</c:v>
                </c:pt>
                <c:pt idx="4568">
                  <c:v>261.99385564158916</c:v>
                </c:pt>
                <c:pt idx="4569">
                  <c:v>261.6029319896478</c:v>
                </c:pt>
                <c:pt idx="4570">
                  <c:v>260.12206319238743</c:v>
                </c:pt>
                <c:pt idx="4571">
                  <c:v>260.94198354289358</c:v>
                </c:pt>
                <c:pt idx="4572">
                  <c:v>262.50753367677737</c:v>
                </c:pt>
                <c:pt idx="4573">
                  <c:v>261.06276833860517</c:v>
                </c:pt>
                <c:pt idx="4574">
                  <c:v>261.06276833860517</c:v>
                </c:pt>
                <c:pt idx="4575">
                  <c:v>261.06276833860517</c:v>
                </c:pt>
                <c:pt idx="4576">
                  <c:v>261.30709437286561</c:v>
                </c:pt>
                <c:pt idx="4577">
                  <c:v>263.7923103683886</c:v>
                </c:pt>
                <c:pt idx="4578">
                  <c:v>263.83727376769087</c:v>
                </c:pt>
                <c:pt idx="4579">
                  <c:v>263.96325870428768</c:v>
                </c:pt>
                <c:pt idx="4580">
                  <c:v>262.01772806453806</c:v>
                </c:pt>
                <c:pt idx="4581">
                  <c:v>262.01772806453806</c:v>
                </c:pt>
                <c:pt idx="4582">
                  <c:v>262.01772806453806</c:v>
                </c:pt>
                <c:pt idx="4583">
                  <c:v>262.86604190127434</c:v>
                </c:pt>
                <c:pt idx="4584">
                  <c:v>263.57833001501422</c:v>
                </c:pt>
                <c:pt idx="4585">
                  <c:v>264.46293315572751</c:v>
                </c:pt>
                <c:pt idx="4586">
                  <c:v>266.57958604290337</c:v>
                </c:pt>
                <c:pt idx="4587">
                  <c:v>267.96659962908461</c:v>
                </c:pt>
                <c:pt idx="4588">
                  <c:v>267.96659962908461</c:v>
                </c:pt>
                <c:pt idx="4589">
                  <c:v>267.96659962908461</c:v>
                </c:pt>
                <c:pt idx="4590">
                  <c:v>266.25680658415928</c:v>
                </c:pt>
                <c:pt idx="4591">
                  <c:v>266.45945996478662</c:v>
                </c:pt>
                <c:pt idx="4592">
                  <c:v>267.49398881809992</c:v>
                </c:pt>
                <c:pt idx="4593">
                  <c:v>267.58592917699661</c:v>
                </c:pt>
                <c:pt idx="4594">
                  <c:v>267.71887121833032</c:v>
                </c:pt>
                <c:pt idx="4595">
                  <c:v>267.71887121833032</c:v>
                </c:pt>
                <c:pt idx="4596">
                  <c:v>267.72972721855825</c:v>
                </c:pt>
                <c:pt idx="4597">
                  <c:v>268.03450538542933</c:v>
                </c:pt>
                <c:pt idx="4598">
                  <c:v>266.62501645506444</c:v>
                </c:pt>
                <c:pt idx="4599">
                  <c:v>266.04416319171645</c:v>
                </c:pt>
                <c:pt idx="4600">
                  <c:v>265.38569856693368</c:v>
                </c:pt>
                <c:pt idx="4601">
                  <c:v>265.85751187727391</c:v>
                </c:pt>
                <c:pt idx="4602">
                  <c:v>265.85751187727391</c:v>
                </c:pt>
                <c:pt idx="4603">
                  <c:v>265.85751187727391</c:v>
                </c:pt>
                <c:pt idx="4604">
                  <c:v>265.64954749718299</c:v>
                </c:pt>
                <c:pt idx="4605">
                  <c:v>264.98767368010732</c:v>
                </c:pt>
                <c:pt idx="4606">
                  <c:v>264.89332746877028</c:v>
                </c:pt>
                <c:pt idx="4607">
                  <c:v>265.6240569040591</c:v>
                </c:pt>
                <c:pt idx="4608">
                  <c:v>265.7971162896132</c:v>
                </c:pt>
                <c:pt idx="4609">
                  <c:v>265.7971162896132</c:v>
                </c:pt>
                <c:pt idx="4610">
                  <c:v>265.7971162896132</c:v>
                </c:pt>
                <c:pt idx="4611">
                  <c:v>263.96143900741112</c:v>
                </c:pt>
                <c:pt idx="4612">
                  <c:v>262.2029120630574</c:v>
                </c:pt>
                <c:pt idx="4613">
                  <c:v>261.7766015923923</c:v>
                </c:pt>
                <c:pt idx="4614">
                  <c:v>261.74651298980524</c:v>
                </c:pt>
                <c:pt idx="4615">
                  <c:v>260.93487108007054</c:v>
                </c:pt>
                <c:pt idx="4616">
                  <c:v>260.93487108007054</c:v>
                </c:pt>
                <c:pt idx="4617">
                  <c:v>260.93487108007054</c:v>
                </c:pt>
                <c:pt idx="4618">
                  <c:v>264.1162725274375</c:v>
                </c:pt>
                <c:pt idx="4619">
                  <c:v>264.63050162772299</c:v>
                </c:pt>
                <c:pt idx="4620">
                  <c:v>264.56483356874406</c:v>
                </c:pt>
                <c:pt idx="4621">
                  <c:v>263.32637118938038</c:v>
                </c:pt>
                <c:pt idx="4622">
                  <c:v>266.08311126998859</c:v>
                </c:pt>
                <c:pt idx="4623">
                  <c:v>266.08311126998859</c:v>
                </c:pt>
                <c:pt idx="4624">
                  <c:v>266.08311126998859</c:v>
                </c:pt>
                <c:pt idx="4625">
                  <c:v>265.56034044210759</c:v>
                </c:pt>
                <c:pt idx="4626">
                  <c:v>264.41330300803259</c:v>
                </c:pt>
                <c:pt idx="4627">
                  <c:v>264.51137390211829</c:v>
                </c:pt>
                <c:pt idx="4628">
                  <c:v>266.00235045361984</c:v>
                </c:pt>
                <c:pt idx="4629">
                  <c:v>267.94667069404903</c:v>
                </c:pt>
                <c:pt idx="4630">
                  <c:v>267.94667069404903</c:v>
                </c:pt>
                <c:pt idx="4631">
                  <c:v>267.94667069404903</c:v>
                </c:pt>
                <c:pt idx="4632">
                  <c:v>268.71889031952253</c:v>
                </c:pt>
                <c:pt idx="4633">
                  <c:v>270.89536822290989</c:v>
                </c:pt>
                <c:pt idx="4634">
                  <c:v>271.87772151460399</c:v>
                </c:pt>
                <c:pt idx="4635">
                  <c:v>272.52880340697834</c:v>
                </c:pt>
                <c:pt idx="4636">
                  <c:v>272.88330614916208</c:v>
                </c:pt>
                <c:pt idx="4637">
                  <c:v>272.88330614916208</c:v>
                </c:pt>
                <c:pt idx="4638">
                  <c:v>272.88330614916208</c:v>
                </c:pt>
                <c:pt idx="4639">
                  <c:v>271.80942301680716</c:v>
                </c:pt>
                <c:pt idx="4640">
                  <c:v>272.33934538601494</c:v>
                </c:pt>
                <c:pt idx="4641">
                  <c:v>273.74534900104584</c:v>
                </c:pt>
                <c:pt idx="4642">
                  <c:v>273.68080532265839</c:v>
                </c:pt>
                <c:pt idx="4643">
                  <c:v>273.03167550455385</c:v>
                </c:pt>
                <c:pt idx="4644">
                  <c:v>273.03167550455385</c:v>
                </c:pt>
                <c:pt idx="4645">
                  <c:v>273.03167550455385</c:v>
                </c:pt>
                <c:pt idx="4646">
                  <c:v>273.38368432251485</c:v>
                </c:pt>
                <c:pt idx="4647">
                  <c:v>273.23512489461717</c:v>
                </c:pt>
                <c:pt idx="4648">
                  <c:v>272.70048845808714</c:v>
                </c:pt>
                <c:pt idx="4649">
                  <c:v>271.79348390647067</c:v>
                </c:pt>
                <c:pt idx="4650">
                  <c:v>271.36763244001634</c:v>
                </c:pt>
                <c:pt idx="4651">
                  <c:v>271.36763244001634</c:v>
                </c:pt>
                <c:pt idx="4652">
                  <c:v>271.36763244001634</c:v>
                </c:pt>
                <c:pt idx="4653">
                  <c:v>271.21039117907532</c:v>
                </c:pt>
                <c:pt idx="4654">
                  <c:v>269.74201201546532</c:v>
                </c:pt>
                <c:pt idx="4655">
                  <c:v>267.93579252880858</c:v>
                </c:pt>
                <c:pt idx="4656">
                  <c:v>267.1988136965947</c:v>
                </c:pt>
                <c:pt idx="4657">
                  <c:v>268.59463625145247</c:v>
                </c:pt>
                <c:pt idx="4658">
                  <c:v>268.59463625145247</c:v>
                </c:pt>
                <c:pt idx="4659">
                  <c:v>268.59463625145247</c:v>
                </c:pt>
                <c:pt idx="4660">
                  <c:v>269.00554575572176</c:v>
                </c:pt>
                <c:pt idx="4661">
                  <c:v>269.43564258249785</c:v>
                </c:pt>
                <c:pt idx="4662">
                  <c:v>271.66395078863508</c:v>
                </c:pt>
                <c:pt idx="4663">
                  <c:v>272.28355921095425</c:v>
                </c:pt>
                <c:pt idx="4664">
                  <c:v>271.56802796853941</c:v>
                </c:pt>
                <c:pt idx="4665">
                  <c:v>271.56802796853941</c:v>
                </c:pt>
                <c:pt idx="4666">
                  <c:v>271.56802796853941</c:v>
                </c:pt>
                <c:pt idx="4667">
                  <c:v>270.79803212907825</c:v>
                </c:pt>
                <c:pt idx="4668">
                  <c:v>270.41882552074696</c:v>
                </c:pt>
                <c:pt idx="4669">
                  <c:v>271.85941420900235</c:v>
                </c:pt>
                <c:pt idx="4670">
                  <c:v>271.84462777546355</c:v>
                </c:pt>
                <c:pt idx="4671">
                  <c:v>272.06008095365331</c:v>
                </c:pt>
                <c:pt idx="4672">
                  <c:v>272.06008095365331</c:v>
                </c:pt>
                <c:pt idx="4673">
                  <c:v>272.06008095365331</c:v>
                </c:pt>
                <c:pt idx="4674">
                  <c:v>271.87605951489627</c:v>
                </c:pt>
                <c:pt idx="4675">
                  <c:v>273.40843726790069</c:v>
                </c:pt>
                <c:pt idx="4676">
                  <c:v>273.38171159315777</c:v>
                </c:pt>
                <c:pt idx="4677">
                  <c:v>274.30878725060978</c:v>
                </c:pt>
                <c:pt idx="4678">
                  <c:v>274.14378777199067</c:v>
                </c:pt>
                <c:pt idx="4679">
                  <c:v>274.14378777199067</c:v>
                </c:pt>
                <c:pt idx="4680">
                  <c:v>274.14378777199067</c:v>
                </c:pt>
                <c:pt idx="4681">
                  <c:v>273.94627813865247</c:v>
                </c:pt>
                <c:pt idx="4682">
                  <c:v>274.42025998908792</c:v>
                </c:pt>
                <c:pt idx="4683">
                  <c:v>274.449120767831</c:v>
                </c:pt>
                <c:pt idx="4684">
                  <c:v>273.83165964694513</c:v>
                </c:pt>
                <c:pt idx="4685">
                  <c:v>273.18646022880159</c:v>
                </c:pt>
                <c:pt idx="4686">
                  <c:v>273.18646022880159</c:v>
                </c:pt>
                <c:pt idx="4687">
                  <c:v>273.1966746705495</c:v>
                </c:pt>
                <c:pt idx="4688">
                  <c:v>272.4189520369311</c:v>
                </c:pt>
                <c:pt idx="4689">
                  <c:v>272.03019929561628</c:v>
                </c:pt>
                <c:pt idx="4690">
                  <c:v>272.74760005750068</c:v>
                </c:pt>
                <c:pt idx="4691">
                  <c:v>273.8546225616621</c:v>
                </c:pt>
                <c:pt idx="4692">
                  <c:v>274.1208393788005</c:v>
                </c:pt>
                <c:pt idx="4693">
                  <c:v>274.1208393788005</c:v>
                </c:pt>
                <c:pt idx="4694">
                  <c:v>274.1208393788005</c:v>
                </c:pt>
                <c:pt idx="4695">
                  <c:v>273.85715980219362</c:v>
                </c:pt>
                <c:pt idx="4696">
                  <c:v>273.71256596038967</c:v>
                </c:pt>
                <c:pt idx="4697">
                  <c:v>275.03674082336983</c:v>
                </c:pt>
                <c:pt idx="4698">
                  <c:v>274.65998174395293</c:v>
                </c:pt>
                <c:pt idx="4699">
                  <c:v>274.51281892573451</c:v>
                </c:pt>
                <c:pt idx="4700">
                  <c:v>274.51281892573451</c:v>
                </c:pt>
                <c:pt idx="4701">
                  <c:v>274.51281892573451</c:v>
                </c:pt>
                <c:pt idx="4702">
                  <c:v>274.05977669502039</c:v>
                </c:pt>
                <c:pt idx="4703">
                  <c:v>274.46146885032005</c:v>
                </c:pt>
                <c:pt idx="4704">
                  <c:v>272.5784079248408</c:v>
                </c:pt>
                <c:pt idx="4705">
                  <c:v>271.88036187998608</c:v>
                </c:pt>
                <c:pt idx="4706">
                  <c:v>270.81129567143057</c:v>
                </c:pt>
                <c:pt idx="4707">
                  <c:v>270.81129567143057</c:v>
                </c:pt>
                <c:pt idx="4708">
                  <c:v>270.81129567143057</c:v>
                </c:pt>
                <c:pt idx="4709">
                  <c:v>272.47176159027515</c:v>
                </c:pt>
                <c:pt idx="4710">
                  <c:v>273.01133741975241</c:v>
                </c:pt>
                <c:pt idx="4711">
                  <c:v>270.96116697173892</c:v>
                </c:pt>
                <c:pt idx="4712">
                  <c:v>269.42854558066671</c:v>
                </c:pt>
                <c:pt idx="4713">
                  <c:v>271.93142360912191</c:v>
                </c:pt>
                <c:pt idx="4714">
                  <c:v>271.93142360912191</c:v>
                </c:pt>
                <c:pt idx="4715">
                  <c:v>271.93142360912191</c:v>
                </c:pt>
                <c:pt idx="4716">
                  <c:v>271.95846175057136</c:v>
                </c:pt>
                <c:pt idx="4717">
                  <c:v>271.24726589683206</c:v>
                </c:pt>
                <c:pt idx="4718">
                  <c:v>273.54173295669011</c:v>
                </c:pt>
                <c:pt idx="4719">
                  <c:v>273.06116663397978</c:v>
                </c:pt>
                <c:pt idx="4720">
                  <c:v>270.00082268648276</c:v>
                </c:pt>
                <c:pt idx="4721">
                  <c:v>270.00082268648276</c:v>
                </c:pt>
                <c:pt idx="4722">
                  <c:v>270.00082268648276</c:v>
                </c:pt>
                <c:pt idx="4723">
                  <c:v>265.33078045696828</c:v>
                </c:pt>
                <c:pt idx="4724">
                  <c:v>267.20769855822726</c:v>
                </c:pt>
                <c:pt idx="4725">
                  <c:v>268.4268016179754</c:v>
                </c:pt>
                <c:pt idx="4726">
                  <c:v>269.92170000313405</c:v>
                </c:pt>
                <c:pt idx="4727">
                  <c:v>270.6657688605797</c:v>
                </c:pt>
                <c:pt idx="4728">
                  <c:v>270.6657688605797</c:v>
                </c:pt>
                <c:pt idx="4729">
                  <c:v>270.6657688605797</c:v>
                </c:pt>
                <c:pt idx="4730">
                  <c:v>270.65532928187474</c:v>
                </c:pt>
                <c:pt idx="4731">
                  <c:v>272.52530319120297</c:v>
                </c:pt>
                <c:pt idx="4732">
                  <c:v>273.72671191355016</c:v>
                </c:pt>
                <c:pt idx="4733">
                  <c:v>275.56942097728233</c:v>
                </c:pt>
                <c:pt idx="4734">
                  <c:v>275.48317050421065</c:v>
                </c:pt>
                <c:pt idx="4735">
                  <c:v>275.48317050421065</c:v>
                </c:pt>
                <c:pt idx="4736">
                  <c:v>275.48317050421065</c:v>
                </c:pt>
                <c:pt idx="4737">
                  <c:v>275.5816006410318</c:v>
                </c:pt>
                <c:pt idx="4738">
                  <c:v>274.99561219287671</c:v>
                </c:pt>
                <c:pt idx="4739">
                  <c:v>275.30905769156635</c:v>
                </c:pt>
                <c:pt idx="4740">
                  <c:v>274.29568084038124</c:v>
                </c:pt>
                <c:pt idx="4741">
                  <c:v>274.76410106046598</c:v>
                </c:pt>
                <c:pt idx="4742">
                  <c:v>274.76410106046598</c:v>
                </c:pt>
                <c:pt idx="4743">
                  <c:v>274.76410106046598</c:v>
                </c:pt>
                <c:pt idx="4744">
                  <c:v>274.37709857176333</c:v>
                </c:pt>
                <c:pt idx="4745">
                  <c:v>274.5748887908108</c:v>
                </c:pt>
                <c:pt idx="4746">
                  <c:v>274.64874394439772</c:v>
                </c:pt>
                <c:pt idx="4747">
                  <c:v>275.91195513783327</c:v>
                </c:pt>
                <c:pt idx="4748">
                  <c:v>276.80347632903556</c:v>
                </c:pt>
                <c:pt idx="4749">
                  <c:v>276.80752873192904</c:v>
                </c:pt>
              </c:numCache>
            </c:numRef>
          </c:val>
          <c:smooth val="0"/>
          <c:extLst>
            <c:ext xmlns:c16="http://schemas.microsoft.com/office/drawing/2014/chart" uri="{C3380CC4-5D6E-409C-BE32-E72D297353CC}">
              <c16:uniqueId val="{00000000-DDC9-4014-8542-8A2F1BA93B78}"/>
            </c:ext>
          </c:extLst>
        </c:ser>
        <c:ser>
          <c:idx val="1"/>
          <c:order val="1"/>
          <c:tx>
            <c:strRef>
              <c:f>Data!$D$8</c:f>
              <c:strCache>
                <c:ptCount val="1"/>
                <c:pt idx="0">
                  <c:v>Smoothed Balanced Portfolio</c:v>
                </c:pt>
              </c:strCache>
            </c:strRef>
          </c:tx>
          <c:spPr>
            <a:ln w="28575" cap="rnd">
              <a:solidFill>
                <a:srgbClr val="FF6120"/>
              </a:solidFill>
              <a:round/>
            </a:ln>
            <a:effectLst/>
          </c:spPr>
          <c:marker>
            <c:symbol val="none"/>
          </c:marker>
          <c:cat>
            <c:numRef>
              <c:f>Data!$B$9:$B$4758</c:f>
              <c:numCache>
                <c:formatCode>m/d/yyyy</c:formatCode>
                <c:ptCount val="4750"/>
                <c:pt idx="0">
                  <c:v>40786</c:v>
                </c:pt>
                <c:pt idx="1">
                  <c:v>40787</c:v>
                </c:pt>
                <c:pt idx="2">
                  <c:v>40788</c:v>
                </c:pt>
                <c:pt idx="3">
                  <c:v>40789</c:v>
                </c:pt>
                <c:pt idx="4">
                  <c:v>40790</c:v>
                </c:pt>
                <c:pt idx="5">
                  <c:v>40791</c:v>
                </c:pt>
                <c:pt idx="6">
                  <c:v>40792</c:v>
                </c:pt>
                <c:pt idx="7">
                  <c:v>40793</c:v>
                </c:pt>
                <c:pt idx="8">
                  <c:v>40794</c:v>
                </c:pt>
                <c:pt idx="9">
                  <c:v>40795</c:v>
                </c:pt>
                <c:pt idx="10">
                  <c:v>40796</c:v>
                </c:pt>
                <c:pt idx="11">
                  <c:v>40797</c:v>
                </c:pt>
                <c:pt idx="12">
                  <c:v>40798</c:v>
                </c:pt>
                <c:pt idx="13">
                  <c:v>40799</c:v>
                </c:pt>
                <c:pt idx="14">
                  <c:v>40800</c:v>
                </c:pt>
                <c:pt idx="15">
                  <c:v>40801</c:v>
                </c:pt>
                <c:pt idx="16">
                  <c:v>40802</c:v>
                </c:pt>
                <c:pt idx="17">
                  <c:v>40803</c:v>
                </c:pt>
                <c:pt idx="18">
                  <c:v>40804</c:v>
                </c:pt>
                <c:pt idx="19">
                  <c:v>40805</c:v>
                </c:pt>
                <c:pt idx="20">
                  <c:v>40806</c:v>
                </c:pt>
                <c:pt idx="21">
                  <c:v>40807</c:v>
                </c:pt>
                <c:pt idx="22">
                  <c:v>40808</c:v>
                </c:pt>
                <c:pt idx="23">
                  <c:v>40809</c:v>
                </c:pt>
                <c:pt idx="24">
                  <c:v>40810</c:v>
                </c:pt>
                <c:pt idx="25">
                  <c:v>40811</c:v>
                </c:pt>
                <c:pt idx="26">
                  <c:v>40812</c:v>
                </c:pt>
                <c:pt idx="27">
                  <c:v>40813</c:v>
                </c:pt>
                <c:pt idx="28">
                  <c:v>40814</c:v>
                </c:pt>
                <c:pt idx="29">
                  <c:v>40815</c:v>
                </c:pt>
                <c:pt idx="30">
                  <c:v>40816</c:v>
                </c:pt>
                <c:pt idx="31">
                  <c:v>40817</c:v>
                </c:pt>
                <c:pt idx="32">
                  <c:v>40818</c:v>
                </c:pt>
                <c:pt idx="33">
                  <c:v>40819</c:v>
                </c:pt>
                <c:pt idx="34">
                  <c:v>40820</c:v>
                </c:pt>
                <c:pt idx="35">
                  <c:v>40821</c:v>
                </c:pt>
                <c:pt idx="36">
                  <c:v>40822</c:v>
                </c:pt>
                <c:pt idx="37">
                  <c:v>40823</c:v>
                </c:pt>
                <c:pt idx="38">
                  <c:v>40824</c:v>
                </c:pt>
                <c:pt idx="39">
                  <c:v>40825</c:v>
                </c:pt>
                <c:pt idx="40">
                  <c:v>40826</c:v>
                </c:pt>
                <c:pt idx="41">
                  <c:v>40827</c:v>
                </c:pt>
                <c:pt idx="42">
                  <c:v>40828</c:v>
                </c:pt>
                <c:pt idx="43">
                  <c:v>40829</c:v>
                </c:pt>
                <c:pt idx="44">
                  <c:v>40830</c:v>
                </c:pt>
                <c:pt idx="45">
                  <c:v>40831</c:v>
                </c:pt>
                <c:pt idx="46">
                  <c:v>40832</c:v>
                </c:pt>
                <c:pt idx="47">
                  <c:v>40833</c:v>
                </c:pt>
                <c:pt idx="48">
                  <c:v>40834</c:v>
                </c:pt>
                <c:pt idx="49">
                  <c:v>40835</c:v>
                </c:pt>
                <c:pt idx="50">
                  <c:v>40836</c:v>
                </c:pt>
                <c:pt idx="51">
                  <c:v>40837</c:v>
                </c:pt>
                <c:pt idx="52">
                  <c:v>40838</c:v>
                </c:pt>
                <c:pt idx="53">
                  <c:v>40839</c:v>
                </c:pt>
                <c:pt idx="54">
                  <c:v>40840</c:v>
                </c:pt>
                <c:pt idx="55">
                  <c:v>40841</c:v>
                </c:pt>
                <c:pt idx="56">
                  <c:v>40842</c:v>
                </c:pt>
                <c:pt idx="57">
                  <c:v>40843</c:v>
                </c:pt>
                <c:pt idx="58">
                  <c:v>40844</c:v>
                </c:pt>
                <c:pt idx="59">
                  <c:v>40845</c:v>
                </c:pt>
                <c:pt idx="60">
                  <c:v>40846</c:v>
                </c:pt>
                <c:pt idx="61">
                  <c:v>40847</c:v>
                </c:pt>
                <c:pt idx="62">
                  <c:v>40848</c:v>
                </c:pt>
                <c:pt idx="63">
                  <c:v>40849</c:v>
                </c:pt>
                <c:pt idx="64">
                  <c:v>40850</c:v>
                </c:pt>
                <c:pt idx="65">
                  <c:v>40851</c:v>
                </c:pt>
                <c:pt idx="66">
                  <c:v>40852</c:v>
                </c:pt>
                <c:pt idx="67">
                  <c:v>40853</c:v>
                </c:pt>
                <c:pt idx="68">
                  <c:v>40854</c:v>
                </c:pt>
                <c:pt idx="69">
                  <c:v>40855</c:v>
                </c:pt>
                <c:pt idx="70">
                  <c:v>40856</c:v>
                </c:pt>
                <c:pt idx="71">
                  <c:v>40857</c:v>
                </c:pt>
                <c:pt idx="72">
                  <c:v>40858</c:v>
                </c:pt>
                <c:pt idx="73">
                  <c:v>40859</c:v>
                </c:pt>
                <c:pt idx="74">
                  <c:v>40860</c:v>
                </c:pt>
                <c:pt idx="75">
                  <c:v>40861</c:v>
                </c:pt>
                <c:pt idx="76">
                  <c:v>40862</c:v>
                </c:pt>
                <c:pt idx="77">
                  <c:v>40863</c:v>
                </c:pt>
                <c:pt idx="78">
                  <c:v>40864</c:v>
                </c:pt>
                <c:pt idx="79">
                  <c:v>40865</c:v>
                </c:pt>
                <c:pt idx="80">
                  <c:v>40866</c:v>
                </c:pt>
                <c:pt idx="81">
                  <c:v>40867</c:v>
                </c:pt>
                <c:pt idx="82">
                  <c:v>40868</c:v>
                </c:pt>
                <c:pt idx="83">
                  <c:v>40869</c:v>
                </c:pt>
                <c:pt idx="84">
                  <c:v>40870</c:v>
                </c:pt>
                <c:pt idx="85">
                  <c:v>40871</c:v>
                </c:pt>
                <c:pt idx="86">
                  <c:v>40872</c:v>
                </c:pt>
                <c:pt idx="87">
                  <c:v>40873</c:v>
                </c:pt>
                <c:pt idx="88">
                  <c:v>40874</c:v>
                </c:pt>
                <c:pt idx="89">
                  <c:v>40875</c:v>
                </c:pt>
                <c:pt idx="90">
                  <c:v>40876</c:v>
                </c:pt>
                <c:pt idx="91">
                  <c:v>40877</c:v>
                </c:pt>
                <c:pt idx="92">
                  <c:v>40878</c:v>
                </c:pt>
                <c:pt idx="93">
                  <c:v>40879</c:v>
                </c:pt>
                <c:pt idx="94">
                  <c:v>40880</c:v>
                </c:pt>
                <c:pt idx="95">
                  <c:v>40881</c:v>
                </c:pt>
                <c:pt idx="96">
                  <c:v>40882</c:v>
                </c:pt>
                <c:pt idx="97">
                  <c:v>40883</c:v>
                </c:pt>
                <c:pt idx="98">
                  <c:v>40884</c:v>
                </c:pt>
                <c:pt idx="99">
                  <c:v>40885</c:v>
                </c:pt>
                <c:pt idx="100">
                  <c:v>40886</c:v>
                </c:pt>
                <c:pt idx="101">
                  <c:v>40887</c:v>
                </c:pt>
                <c:pt idx="102">
                  <c:v>40888</c:v>
                </c:pt>
                <c:pt idx="103">
                  <c:v>40889</c:v>
                </c:pt>
                <c:pt idx="104">
                  <c:v>40890</c:v>
                </c:pt>
                <c:pt idx="105">
                  <c:v>40891</c:v>
                </c:pt>
                <c:pt idx="106">
                  <c:v>40892</c:v>
                </c:pt>
                <c:pt idx="107">
                  <c:v>40893</c:v>
                </c:pt>
                <c:pt idx="108">
                  <c:v>40894</c:v>
                </c:pt>
                <c:pt idx="109">
                  <c:v>40895</c:v>
                </c:pt>
                <c:pt idx="110">
                  <c:v>40896</c:v>
                </c:pt>
                <c:pt idx="111">
                  <c:v>40897</c:v>
                </c:pt>
                <c:pt idx="112">
                  <c:v>40898</c:v>
                </c:pt>
                <c:pt idx="113">
                  <c:v>40899</c:v>
                </c:pt>
                <c:pt idx="114">
                  <c:v>40900</c:v>
                </c:pt>
                <c:pt idx="115">
                  <c:v>40901</c:v>
                </c:pt>
                <c:pt idx="116">
                  <c:v>40902</c:v>
                </c:pt>
                <c:pt idx="117">
                  <c:v>40903</c:v>
                </c:pt>
                <c:pt idx="118">
                  <c:v>40904</c:v>
                </c:pt>
                <c:pt idx="119">
                  <c:v>40905</c:v>
                </c:pt>
                <c:pt idx="120">
                  <c:v>40906</c:v>
                </c:pt>
                <c:pt idx="121">
                  <c:v>40907</c:v>
                </c:pt>
                <c:pt idx="122">
                  <c:v>40908</c:v>
                </c:pt>
                <c:pt idx="123">
                  <c:v>40909</c:v>
                </c:pt>
                <c:pt idx="124">
                  <c:v>40910</c:v>
                </c:pt>
                <c:pt idx="125">
                  <c:v>40911</c:v>
                </c:pt>
                <c:pt idx="126">
                  <c:v>40912</c:v>
                </c:pt>
                <c:pt idx="127">
                  <c:v>40913</c:v>
                </c:pt>
                <c:pt idx="128">
                  <c:v>40914</c:v>
                </c:pt>
                <c:pt idx="129">
                  <c:v>40915</c:v>
                </c:pt>
                <c:pt idx="130">
                  <c:v>40916</c:v>
                </c:pt>
                <c:pt idx="131">
                  <c:v>40917</c:v>
                </c:pt>
                <c:pt idx="132">
                  <c:v>40918</c:v>
                </c:pt>
                <c:pt idx="133">
                  <c:v>40919</c:v>
                </c:pt>
                <c:pt idx="134">
                  <c:v>40920</c:v>
                </c:pt>
                <c:pt idx="135">
                  <c:v>40921</c:v>
                </c:pt>
                <c:pt idx="136">
                  <c:v>40922</c:v>
                </c:pt>
                <c:pt idx="137">
                  <c:v>40923</c:v>
                </c:pt>
                <c:pt idx="138">
                  <c:v>40924</c:v>
                </c:pt>
                <c:pt idx="139">
                  <c:v>40925</c:v>
                </c:pt>
                <c:pt idx="140">
                  <c:v>40926</c:v>
                </c:pt>
                <c:pt idx="141">
                  <c:v>40927</c:v>
                </c:pt>
                <c:pt idx="142">
                  <c:v>40928</c:v>
                </c:pt>
                <c:pt idx="143">
                  <c:v>40929</c:v>
                </c:pt>
                <c:pt idx="144">
                  <c:v>40930</c:v>
                </c:pt>
                <c:pt idx="145">
                  <c:v>40931</c:v>
                </c:pt>
                <c:pt idx="146">
                  <c:v>40932</c:v>
                </c:pt>
                <c:pt idx="147">
                  <c:v>40933</c:v>
                </c:pt>
                <c:pt idx="148">
                  <c:v>40934</c:v>
                </c:pt>
                <c:pt idx="149">
                  <c:v>40935</c:v>
                </c:pt>
                <c:pt idx="150">
                  <c:v>40936</c:v>
                </c:pt>
                <c:pt idx="151">
                  <c:v>40937</c:v>
                </c:pt>
                <c:pt idx="152">
                  <c:v>40938</c:v>
                </c:pt>
                <c:pt idx="153">
                  <c:v>40939</c:v>
                </c:pt>
                <c:pt idx="154">
                  <c:v>40940</c:v>
                </c:pt>
                <c:pt idx="155">
                  <c:v>40941</c:v>
                </c:pt>
                <c:pt idx="156">
                  <c:v>40942</c:v>
                </c:pt>
                <c:pt idx="157">
                  <c:v>40943</c:v>
                </c:pt>
                <c:pt idx="158">
                  <c:v>40944</c:v>
                </c:pt>
                <c:pt idx="159">
                  <c:v>40945</c:v>
                </c:pt>
                <c:pt idx="160">
                  <c:v>40946</c:v>
                </c:pt>
                <c:pt idx="161">
                  <c:v>40947</c:v>
                </c:pt>
                <c:pt idx="162">
                  <c:v>40948</c:v>
                </c:pt>
                <c:pt idx="163">
                  <c:v>40949</c:v>
                </c:pt>
                <c:pt idx="164">
                  <c:v>40950</c:v>
                </c:pt>
                <c:pt idx="165">
                  <c:v>40951</c:v>
                </c:pt>
                <c:pt idx="166">
                  <c:v>40952</c:v>
                </c:pt>
                <c:pt idx="167">
                  <c:v>40953</c:v>
                </c:pt>
                <c:pt idx="168">
                  <c:v>40954</c:v>
                </c:pt>
                <c:pt idx="169">
                  <c:v>40955</c:v>
                </c:pt>
                <c:pt idx="170">
                  <c:v>40956</c:v>
                </c:pt>
                <c:pt idx="171">
                  <c:v>40957</c:v>
                </c:pt>
                <c:pt idx="172">
                  <c:v>40958</c:v>
                </c:pt>
                <c:pt idx="173">
                  <c:v>40959</c:v>
                </c:pt>
                <c:pt idx="174">
                  <c:v>40960</c:v>
                </c:pt>
                <c:pt idx="175">
                  <c:v>40961</c:v>
                </c:pt>
                <c:pt idx="176">
                  <c:v>40962</c:v>
                </c:pt>
                <c:pt idx="177">
                  <c:v>40963</c:v>
                </c:pt>
                <c:pt idx="178">
                  <c:v>40964</c:v>
                </c:pt>
                <c:pt idx="179">
                  <c:v>40965</c:v>
                </c:pt>
                <c:pt idx="180">
                  <c:v>40966</c:v>
                </c:pt>
                <c:pt idx="181">
                  <c:v>40967</c:v>
                </c:pt>
                <c:pt idx="182">
                  <c:v>40968</c:v>
                </c:pt>
                <c:pt idx="183">
                  <c:v>40969</c:v>
                </c:pt>
                <c:pt idx="184">
                  <c:v>40970</c:v>
                </c:pt>
                <c:pt idx="185">
                  <c:v>40971</c:v>
                </c:pt>
                <c:pt idx="186">
                  <c:v>40972</c:v>
                </c:pt>
                <c:pt idx="187">
                  <c:v>40973</c:v>
                </c:pt>
                <c:pt idx="188">
                  <c:v>40974</c:v>
                </c:pt>
                <c:pt idx="189">
                  <c:v>40975</c:v>
                </c:pt>
                <c:pt idx="190">
                  <c:v>40976</c:v>
                </c:pt>
                <c:pt idx="191">
                  <c:v>40977</c:v>
                </c:pt>
                <c:pt idx="192">
                  <c:v>40978</c:v>
                </c:pt>
                <c:pt idx="193">
                  <c:v>40979</c:v>
                </c:pt>
                <c:pt idx="194">
                  <c:v>40980</c:v>
                </c:pt>
                <c:pt idx="195">
                  <c:v>40981</c:v>
                </c:pt>
                <c:pt idx="196">
                  <c:v>40982</c:v>
                </c:pt>
                <c:pt idx="197">
                  <c:v>40983</c:v>
                </c:pt>
                <c:pt idx="198">
                  <c:v>40984</c:v>
                </c:pt>
                <c:pt idx="199">
                  <c:v>40985</c:v>
                </c:pt>
                <c:pt idx="200">
                  <c:v>40986</c:v>
                </c:pt>
                <c:pt idx="201">
                  <c:v>40987</c:v>
                </c:pt>
                <c:pt idx="202">
                  <c:v>40988</c:v>
                </c:pt>
                <c:pt idx="203">
                  <c:v>40989</c:v>
                </c:pt>
                <c:pt idx="204">
                  <c:v>40990</c:v>
                </c:pt>
                <c:pt idx="205">
                  <c:v>40991</c:v>
                </c:pt>
                <c:pt idx="206">
                  <c:v>40992</c:v>
                </c:pt>
                <c:pt idx="207">
                  <c:v>40993</c:v>
                </c:pt>
                <c:pt idx="208">
                  <c:v>40994</c:v>
                </c:pt>
                <c:pt idx="209">
                  <c:v>40995</c:v>
                </c:pt>
                <c:pt idx="210">
                  <c:v>40996</c:v>
                </c:pt>
                <c:pt idx="211">
                  <c:v>40997</c:v>
                </c:pt>
                <c:pt idx="212">
                  <c:v>40998</c:v>
                </c:pt>
                <c:pt idx="213">
                  <c:v>40999</c:v>
                </c:pt>
                <c:pt idx="214">
                  <c:v>41000</c:v>
                </c:pt>
                <c:pt idx="215">
                  <c:v>41001</c:v>
                </c:pt>
                <c:pt idx="216">
                  <c:v>41002</c:v>
                </c:pt>
                <c:pt idx="217">
                  <c:v>41003</c:v>
                </c:pt>
                <c:pt idx="218">
                  <c:v>41004</c:v>
                </c:pt>
                <c:pt idx="219">
                  <c:v>41005</c:v>
                </c:pt>
                <c:pt idx="220">
                  <c:v>41006</c:v>
                </c:pt>
                <c:pt idx="221">
                  <c:v>41007</c:v>
                </c:pt>
                <c:pt idx="222">
                  <c:v>41008</c:v>
                </c:pt>
                <c:pt idx="223">
                  <c:v>41009</c:v>
                </c:pt>
                <c:pt idx="224">
                  <c:v>41010</c:v>
                </c:pt>
                <c:pt idx="225">
                  <c:v>41011</c:v>
                </c:pt>
                <c:pt idx="226">
                  <c:v>41012</c:v>
                </c:pt>
                <c:pt idx="227">
                  <c:v>41013</c:v>
                </c:pt>
                <c:pt idx="228">
                  <c:v>41014</c:v>
                </c:pt>
                <c:pt idx="229">
                  <c:v>41015</c:v>
                </c:pt>
                <c:pt idx="230">
                  <c:v>41016</c:v>
                </c:pt>
                <c:pt idx="231">
                  <c:v>41017</c:v>
                </c:pt>
                <c:pt idx="232">
                  <c:v>41018</c:v>
                </c:pt>
                <c:pt idx="233">
                  <c:v>41019</c:v>
                </c:pt>
                <c:pt idx="234">
                  <c:v>41020</c:v>
                </c:pt>
                <c:pt idx="235">
                  <c:v>41021</c:v>
                </c:pt>
                <c:pt idx="236">
                  <c:v>41022</c:v>
                </c:pt>
                <c:pt idx="237">
                  <c:v>41023</c:v>
                </c:pt>
                <c:pt idx="238">
                  <c:v>41024</c:v>
                </c:pt>
                <c:pt idx="239">
                  <c:v>41025</c:v>
                </c:pt>
                <c:pt idx="240">
                  <c:v>41026</c:v>
                </c:pt>
                <c:pt idx="241">
                  <c:v>41027</c:v>
                </c:pt>
                <c:pt idx="242">
                  <c:v>41028</c:v>
                </c:pt>
                <c:pt idx="243">
                  <c:v>41029</c:v>
                </c:pt>
                <c:pt idx="244">
                  <c:v>41030</c:v>
                </c:pt>
                <c:pt idx="245">
                  <c:v>41031</c:v>
                </c:pt>
                <c:pt idx="246">
                  <c:v>41032</c:v>
                </c:pt>
                <c:pt idx="247">
                  <c:v>41033</c:v>
                </c:pt>
                <c:pt idx="248">
                  <c:v>41034</c:v>
                </c:pt>
                <c:pt idx="249">
                  <c:v>41035</c:v>
                </c:pt>
                <c:pt idx="250">
                  <c:v>41036</c:v>
                </c:pt>
                <c:pt idx="251">
                  <c:v>41037</c:v>
                </c:pt>
                <c:pt idx="252">
                  <c:v>41038</c:v>
                </c:pt>
                <c:pt idx="253">
                  <c:v>41039</c:v>
                </c:pt>
                <c:pt idx="254">
                  <c:v>41040</c:v>
                </c:pt>
                <c:pt idx="255">
                  <c:v>41041</c:v>
                </c:pt>
                <c:pt idx="256">
                  <c:v>41042</c:v>
                </c:pt>
                <c:pt idx="257">
                  <c:v>41043</c:v>
                </c:pt>
                <c:pt idx="258">
                  <c:v>41044</c:v>
                </c:pt>
                <c:pt idx="259">
                  <c:v>41045</c:v>
                </c:pt>
                <c:pt idx="260">
                  <c:v>41046</c:v>
                </c:pt>
                <c:pt idx="261">
                  <c:v>41047</c:v>
                </c:pt>
                <c:pt idx="262">
                  <c:v>41048</c:v>
                </c:pt>
                <c:pt idx="263">
                  <c:v>41049</c:v>
                </c:pt>
                <c:pt idx="264">
                  <c:v>41050</c:v>
                </c:pt>
                <c:pt idx="265">
                  <c:v>41051</c:v>
                </c:pt>
                <c:pt idx="266">
                  <c:v>41052</c:v>
                </c:pt>
                <c:pt idx="267">
                  <c:v>41053</c:v>
                </c:pt>
                <c:pt idx="268">
                  <c:v>41054</c:v>
                </c:pt>
                <c:pt idx="269">
                  <c:v>41055</c:v>
                </c:pt>
                <c:pt idx="270">
                  <c:v>41056</c:v>
                </c:pt>
                <c:pt idx="271">
                  <c:v>41057</c:v>
                </c:pt>
                <c:pt idx="272">
                  <c:v>41058</c:v>
                </c:pt>
                <c:pt idx="273">
                  <c:v>41059</c:v>
                </c:pt>
                <c:pt idx="274">
                  <c:v>41060</c:v>
                </c:pt>
                <c:pt idx="275">
                  <c:v>41061</c:v>
                </c:pt>
                <c:pt idx="276">
                  <c:v>41062</c:v>
                </c:pt>
                <c:pt idx="277">
                  <c:v>41063</c:v>
                </c:pt>
                <c:pt idx="278">
                  <c:v>41064</c:v>
                </c:pt>
                <c:pt idx="279">
                  <c:v>41065</c:v>
                </c:pt>
                <c:pt idx="280">
                  <c:v>41066</c:v>
                </c:pt>
                <c:pt idx="281">
                  <c:v>41067</c:v>
                </c:pt>
                <c:pt idx="282">
                  <c:v>41068</c:v>
                </c:pt>
                <c:pt idx="283">
                  <c:v>41069</c:v>
                </c:pt>
                <c:pt idx="284">
                  <c:v>41070</c:v>
                </c:pt>
                <c:pt idx="285">
                  <c:v>41071</c:v>
                </c:pt>
                <c:pt idx="286">
                  <c:v>41072</c:v>
                </c:pt>
                <c:pt idx="287">
                  <c:v>41073</c:v>
                </c:pt>
                <c:pt idx="288">
                  <c:v>41074</c:v>
                </c:pt>
                <c:pt idx="289">
                  <c:v>41075</c:v>
                </c:pt>
                <c:pt idx="290">
                  <c:v>41076</c:v>
                </c:pt>
                <c:pt idx="291">
                  <c:v>41077</c:v>
                </c:pt>
                <c:pt idx="292">
                  <c:v>41078</c:v>
                </c:pt>
                <c:pt idx="293">
                  <c:v>41079</c:v>
                </c:pt>
                <c:pt idx="294">
                  <c:v>41080</c:v>
                </c:pt>
                <c:pt idx="295">
                  <c:v>41081</c:v>
                </c:pt>
                <c:pt idx="296">
                  <c:v>41082</c:v>
                </c:pt>
                <c:pt idx="297">
                  <c:v>41083</c:v>
                </c:pt>
                <c:pt idx="298">
                  <c:v>41084</c:v>
                </c:pt>
                <c:pt idx="299">
                  <c:v>41085</c:v>
                </c:pt>
                <c:pt idx="300">
                  <c:v>41086</c:v>
                </c:pt>
                <c:pt idx="301">
                  <c:v>41087</c:v>
                </c:pt>
                <c:pt idx="302">
                  <c:v>41088</c:v>
                </c:pt>
                <c:pt idx="303">
                  <c:v>41089</c:v>
                </c:pt>
                <c:pt idx="304">
                  <c:v>41090</c:v>
                </c:pt>
                <c:pt idx="305">
                  <c:v>41091</c:v>
                </c:pt>
                <c:pt idx="306">
                  <c:v>41092</c:v>
                </c:pt>
                <c:pt idx="307">
                  <c:v>41093</c:v>
                </c:pt>
                <c:pt idx="308">
                  <c:v>41094</c:v>
                </c:pt>
                <c:pt idx="309">
                  <c:v>41095</c:v>
                </c:pt>
                <c:pt idx="310">
                  <c:v>41096</c:v>
                </c:pt>
                <c:pt idx="311">
                  <c:v>41097</c:v>
                </c:pt>
                <c:pt idx="312">
                  <c:v>41098</c:v>
                </c:pt>
                <c:pt idx="313">
                  <c:v>41099</c:v>
                </c:pt>
                <c:pt idx="314">
                  <c:v>41100</c:v>
                </c:pt>
                <c:pt idx="315">
                  <c:v>41101</c:v>
                </c:pt>
                <c:pt idx="316">
                  <c:v>41102</c:v>
                </c:pt>
                <c:pt idx="317">
                  <c:v>41103</c:v>
                </c:pt>
                <c:pt idx="318">
                  <c:v>41104</c:v>
                </c:pt>
                <c:pt idx="319">
                  <c:v>41105</c:v>
                </c:pt>
                <c:pt idx="320">
                  <c:v>41106</c:v>
                </c:pt>
                <c:pt idx="321">
                  <c:v>41107</c:v>
                </c:pt>
                <c:pt idx="322">
                  <c:v>41108</c:v>
                </c:pt>
                <c:pt idx="323">
                  <c:v>41109</c:v>
                </c:pt>
                <c:pt idx="324">
                  <c:v>41110</c:v>
                </c:pt>
                <c:pt idx="325">
                  <c:v>41111</c:v>
                </c:pt>
                <c:pt idx="326">
                  <c:v>41112</c:v>
                </c:pt>
                <c:pt idx="327">
                  <c:v>41113</c:v>
                </c:pt>
                <c:pt idx="328">
                  <c:v>41114</c:v>
                </c:pt>
                <c:pt idx="329">
                  <c:v>41115</c:v>
                </c:pt>
                <c:pt idx="330">
                  <c:v>41116</c:v>
                </c:pt>
                <c:pt idx="331">
                  <c:v>41117</c:v>
                </c:pt>
                <c:pt idx="332">
                  <c:v>41118</c:v>
                </c:pt>
                <c:pt idx="333">
                  <c:v>41119</c:v>
                </c:pt>
                <c:pt idx="334">
                  <c:v>41120</c:v>
                </c:pt>
                <c:pt idx="335">
                  <c:v>41121</c:v>
                </c:pt>
                <c:pt idx="336">
                  <c:v>41122</c:v>
                </c:pt>
                <c:pt idx="337">
                  <c:v>41123</c:v>
                </c:pt>
                <c:pt idx="338">
                  <c:v>41124</c:v>
                </c:pt>
                <c:pt idx="339">
                  <c:v>41125</c:v>
                </c:pt>
                <c:pt idx="340">
                  <c:v>41126</c:v>
                </c:pt>
                <c:pt idx="341">
                  <c:v>41127</c:v>
                </c:pt>
                <c:pt idx="342">
                  <c:v>41128</c:v>
                </c:pt>
                <c:pt idx="343">
                  <c:v>41129</c:v>
                </c:pt>
                <c:pt idx="344">
                  <c:v>41130</c:v>
                </c:pt>
                <c:pt idx="345">
                  <c:v>41131</c:v>
                </c:pt>
                <c:pt idx="346">
                  <c:v>41132</c:v>
                </c:pt>
                <c:pt idx="347">
                  <c:v>41133</c:v>
                </c:pt>
                <c:pt idx="348">
                  <c:v>41134</c:v>
                </c:pt>
                <c:pt idx="349">
                  <c:v>41135</c:v>
                </c:pt>
                <c:pt idx="350">
                  <c:v>41136</c:v>
                </c:pt>
                <c:pt idx="351">
                  <c:v>41137</c:v>
                </c:pt>
                <c:pt idx="352">
                  <c:v>41138</c:v>
                </c:pt>
                <c:pt idx="353">
                  <c:v>41139</c:v>
                </c:pt>
                <c:pt idx="354">
                  <c:v>41140</c:v>
                </c:pt>
                <c:pt idx="355">
                  <c:v>41141</c:v>
                </c:pt>
                <c:pt idx="356">
                  <c:v>41142</c:v>
                </c:pt>
                <c:pt idx="357">
                  <c:v>41143</c:v>
                </c:pt>
                <c:pt idx="358">
                  <c:v>41144</c:v>
                </c:pt>
                <c:pt idx="359">
                  <c:v>41145</c:v>
                </c:pt>
                <c:pt idx="360">
                  <c:v>41146</c:v>
                </c:pt>
                <c:pt idx="361">
                  <c:v>41147</c:v>
                </c:pt>
                <c:pt idx="362">
                  <c:v>41148</c:v>
                </c:pt>
                <c:pt idx="363">
                  <c:v>41149</c:v>
                </c:pt>
                <c:pt idx="364">
                  <c:v>41150</c:v>
                </c:pt>
                <c:pt idx="365">
                  <c:v>41151</c:v>
                </c:pt>
                <c:pt idx="366">
                  <c:v>41152</c:v>
                </c:pt>
                <c:pt idx="367">
                  <c:v>41153</c:v>
                </c:pt>
                <c:pt idx="368">
                  <c:v>41154</c:v>
                </c:pt>
                <c:pt idx="369">
                  <c:v>41155</c:v>
                </c:pt>
                <c:pt idx="370">
                  <c:v>41156</c:v>
                </c:pt>
                <c:pt idx="371">
                  <c:v>41157</c:v>
                </c:pt>
                <c:pt idx="372">
                  <c:v>41158</c:v>
                </c:pt>
                <c:pt idx="373">
                  <c:v>41159</c:v>
                </c:pt>
                <c:pt idx="374">
                  <c:v>41160</c:v>
                </c:pt>
                <c:pt idx="375">
                  <c:v>41161</c:v>
                </c:pt>
                <c:pt idx="376">
                  <c:v>41162</c:v>
                </c:pt>
                <c:pt idx="377">
                  <c:v>41163</c:v>
                </c:pt>
                <c:pt idx="378">
                  <c:v>41164</c:v>
                </c:pt>
                <c:pt idx="379">
                  <c:v>41165</c:v>
                </c:pt>
                <c:pt idx="380">
                  <c:v>41166</c:v>
                </c:pt>
                <c:pt idx="381">
                  <c:v>41167</c:v>
                </c:pt>
                <c:pt idx="382">
                  <c:v>41168</c:v>
                </c:pt>
                <c:pt idx="383">
                  <c:v>41169</c:v>
                </c:pt>
                <c:pt idx="384">
                  <c:v>41170</c:v>
                </c:pt>
                <c:pt idx="385">
                  <c:v>41171</c:v>
                </c:pt>
                <c:pt idx="386">
                  <c:v>41172</c:v>
                </c:pt>
                <c:pt idx="387">
                  <c:v>41173</c:v>
                </c:pt>
                <c:pt idx="388">
                  <c:v>41174</c:v>
                </c:pt>
                <c:pt idx="389">
                  <c:v>41175</c:v>
                </c:pt>
                <c:pt idx="390">
                  <c:v>41176</c:v>
                </c:pt>
                <c:pt idx="391">
                  <c:v>41177</c:v>
                </c:pt>
                <c:pt idx="392">
                  <c:v>41178</c:v>
                </c:pt>
                <c:pt idx="393">
                  <c:v>41179</c:v>
                </c:pt>
                <c:pt idx="394">
                  <c:v>41180</c:v>
                </c:pt>
                <c:pt idx="395">
                  <c:v>41181</c:v>
                </c:pt>
                <c:pt idx="396">
                  <c:v>41182</c:v>
                </c:pt>
                <c:pt idx="397">
                  <c:v>41183</c:v>
                </c:pt>
                <c:pt idx="398">
                  <c:v>41184</c:v>
                </c:pt>
                <c:pt idx="399">
                  <c:v>41185</c:v>
                </c:pt>
                <c:pt idx="400">
                  <c:v>41186</c:v>
                </c:pt>
                <c:pt idx="401">
                  <c:v>41187</c:v>
                </c:pt>
                <c:pt idx="402">
                  <c:v>41188</c:v>
                </c:pt>
                <c:pt idx="403">
                  <c:v>41189</c:v>
                </c:pt>
                <c:pt idx="404">
                  <c:v>41190</c:v>
                </c:pt>
                <c:pt idx="405">
                  <c:v>41191</c:v>
                </c:pt>
                <c:pt idx="406">
                  <c:v>41192</c:v>
                </c:pt>
                <c:pt idx="407">
                  <c:v>41193</c:v>
                </c:pt>
                <c:pt idx="408">
                  <c:v>41194</c:v>
                </c:pt>
                <c:pt idx="409">
                  <c:v>41195</c:v>
                </c:pt>
                <c:pt idx="410">
                  <c:v>41196</c:v>
                </c:pt>
                <c:pt idx="411">
                  <c:v>41197</c:v>
                </c:pt>
                <c:pt idx="412">
                  <c:v>41198</c:v>
                </c:pt>
                <c:pt idx="413">
                  <c:v>41199</c:v>
                </c:pt>
                <c:pt idx="414">
                  <c:v>41200</c:v>
                </c:pt>
                <c:pt idx="415">
                  <c:v>41201</c:v>
                </c:pt>
                <c:pt idx="416">
                  <c:v>41202</c:v>
                </c:pt>
                <c:pt idx="417">
                  <c:v>41203</c:v>
                </c:pt>
                <c:pt idx="418">
                  <c:v>41204</c:v>
                </c:pt>
                <c:pt idx="419">
                  <c:v>41205</c:v>
                </c:pt>
                <c:pt idx="420">
                  <c:v>41206</c:v>
                </c:pt>
                <c:pt idx="421">
                  <c:v>41207</c:v>
                </c:pt>
                <c:pt idx="422">
                  <c:v>41208</c:v>
                </c:pt>
                <c:pt idx="423">
                  <c:v>41209</c:v>
                </c:pt>
                <c:pt idx="424">
                  <c:v>41210</c:v>
                </c:pt>
                <c:pt idx="425">
                  <c:v>41211</c:v>
                </c:pt>
                <c:pt idx="426">
                  <c:v>41212</c:v>
                </c:pt>
                <c:pt idx="427">
                  <c:v>41213</c:v>
                </c:pt>
                <c:pt idx="428">
                  <c:v>41214</c:v>
                </c:pt>
                <c:pt idx="429">
                  <c:v>41215</c:v>
                </c:pt>
                <c:pt idx="430">
                  <c:v>41216</c:v>
                </c:pt>
                <c:pt idx="431">
                  <c:v>41217</c:v>
                </c:pt>
                <c:pt idx="432">
                  <c:v>41218</c:v>
                </c:pt>
                <c:pt idx="433">
                  <c:v>41219</c:v>
                </c:pt>
                <c:pt idx="434">
                  <c:v>41220</c:v>
                </c:pt>
                <c:pt idx="435">
                  <c:v>41221</c:v>
                </c:pt>
                <c:pt idx="436">
                  <c:v>41222</c:v>
                </c:pt>
                <c:pt idx="437">
                  <c:v>41223</c:v>
                </c:pt>
                <c:pt idx="438">
                  <c:v>41224</c:v>
                </c:pt>
                <c:pt idx="439">
                  <c:v>41225</c:v>
                </c:pt>
                <c:pt idx="440">
                  <c:v>41226</c:v>
                </c:pt>
                <c:pt idx="441">
                  <c:v>41227</c:v>
                </c:pt>
                <c:pt idx="442">
                  <c:v>41228</c:v>
                </c:pt>
                <c:pt idx="443">
                  <c:v>41229</c:v>
                </c:pt>
                <c:pt idx="444">
                  <c:v>41230</c:v>
                </c:pt>
                <c:pt idx="445">
                  <c:v>41231</c:v>
                </c:pt>
                <c:pt idx="446">
                  <c:v>41232</c:v>
                </c:pt>
                <c:pt idx="447">
                  <c:v>41233</c:v>
                </c:pt>
                <c:pt idx="448">
                  <c:v>41234</c:v>
                </c:pt>
                <c:pt idx="449">
                  <c:v>41235</c:v>
                </c:pt>
                <c:pt idx="450">
                  <c:v>41236</c:v>
                </c:pt>
                <c:pt idx="451">
                  <c:v>41237</c:v>
                </c:pt>
                <c:pt idx="452">
                  <c:v>41238</c:v>
                </c:pt>
                <c:pt idx="453">
                  <c:v>41239</c:v>
                </c:pt>
                <c:pt idx="454">
                  <c:v>41240</c:v>
                </c:pt>
                <c:pt idx="455">
                  <c:v>41241</c:v>
                </c:pt>
                <c:pt idx="456">
                  <c:v>41242</c:v>
                </c:pt>
                <c:pt idx="457">
                  <c:v>41243</c:v>
                </c:pt>
                <c:pt idx="458">
                  <c:v>41244</c:v>
                </c:pt>
                <c:pt idx="459">
                  <c:v>41245</c:v>
                </c:pt>
                <c:pt idx="460">
                  <c:v>41246</c:v>
                </c:pt>
                <c:pt idx="461">
                  <c:v>41247</c:v>
                </c:pt>
                <c:pt idx="462">
                  <c:v>41248</c:v>
                </c:pt>
                <c:pt idx="463">
                  <c:v>41249</c:v>
                </c:pt>
                <c:pt idx="464">
                  <c:v>41250</c:v>
                </c:pt>
                <c:pt idx="465">
                  <c:v>41251</c:v>
                </c:pt>
                <c:pt idx="466">
                  <c:v>41252</c:v>
                </c:pt>
                <c:pt idx="467">
                  <c:v>41253</c:v>
                </c:pt>
                <c:pt idx="468">
                  <c:v>41254</c:v>
                </c:pt>
                <c:pt idx="469">
                  <c:v>41255</c:v>
                </c:pt>
                <c:pt idx="470">
                  <c:v>41256</c:v>
                </c:pt>
                <c:pt idx="471">
                  <c:v>41257</c:v>
                </c:pt>
                <c:pt idx="472">
                  <c:v>41258</c:v>
                </c:pt>
                <c:pt idx="473">
                  <c:v>41259</c:v>
                </c:pt>
                <c:pt idx="474">
                  <c:v>41260</c:v>
                </c:pt>
                <c:pt idx="475">
                  <c:v>41261</c:v>
                </c:pt>
                <c:pt idx="476">
                  <c:v>41262</c:v>
                </c:pt>
                <c:pt idx="477">
                  <c:v>41263</c:v>
                </c:pt>
                <c:pt idx="478">
                  <c:v>41264</c:v>
                </c:pt>
                <c:pt idx="479">
                  <c:v>41265</c:v>
                </c:pt>
                <c:pt idx="480">
                  <c:v>41266</c:v>
                </c:pt>
                <c:pt idx="481">
                  <c:v>41267</c:v>
                </c:pt>
                <c:pt idx="482">
                  <c:v>41268</c:v>
                </c:pt>
                <c:pt idx="483">
                  <c:v>41269</c:v>
                </c:pt>
                <c:pt idx="484">
                  <c:v>41270</c:v>
                </c:pt>
                <c:pt idx="485">
                  <c:v>41271</c:v>
                </c:pt>
                <c:pt idx="486">
                  <c:v>41272</c:v>
                </c:pt>
                <c:pt idx="487">
                  <c:v>41273</c:v>
                </c:pt>
                <c:pt idx="488">
                  <c:v>41274</c:v>
                </c:pt>
                <c:pt idx="489">
                  <c:v>41275</c:v>
                </c:pt>
                <c:pt idx="490">
                  <c:v>41276</c:v>
                </c:pt>
                <c:pt idx="491">
                  <c:v>41277</c:v>
                </c:pt>
                <c:pt idx="492">
                  <c:v>41278</c:v>
                </c:pt>
                <c:pt idx="493">
                  <c:v>41279</c:v>
                </c:pt>
                <c:pt idx="494">
                  <c:v>41280</c:v>
                </c:pt>
                <c:pt idx="495">
                  <c:v>41281</c:v>
                </c:pt>
                <c:pt idx="496">
                  <c:v>41282</c:v>
                </c:pt>
                <c:pt idx="497">
                  <c:v>41283</c:v>
                </c:pt>
                <c:pt idx="498">
                  <c:v>41284</c:v>
                </c:pt>
                <c:pt idx="499">
                  <c:v>41285</c:v>
                </c:pt>
                <c:pt idx="500">
                  <c:v>41286</c:v>
                </c:pt>
                <c:pt idx="501">
                  <c:v>41287</c:v>
                </c:pt>
                <c:pt idx="502">
                  <c:v>41288</c:v>
                </c:pt>
                <c:pt idx="503">
                  <c:v>41289</c:v>
                </c:pt>
                <c:pt idx="504">
                  <c:v>41290</c:v>
                </c:pt>
                <c:pt idx="505">
                  <c:v>41291</c:v>
                </c:pt>
                <c:pt idx="506">
                  <c:v>41292</c:v>
                </c:pt>
                <c:pt idx="507">
                  <c:v>41293</c:v>
                </c:pt>
                <c:pt idx="508">
                  <c:v>41294</c:v>
                </c:pt>
                <c:pt idx="509">
                  <c:v>41295</c:v>
                </c:pt>
                <c:pt idx="510">
                  <c:v>41296</c:v>
                </c:pt>
                <c:pt idx="511">
                  <c:v>41297</c:v>
                </c:pt>
                <c:pt idx="512">
                  <c:v>41298</c:v>
                </c:pt>
                <c:pt idx="513">
                  <c:v>41299</c:v>
                </c:pt>
                <c:pt idx="514">
                  <c:v>41300</c:v>
                </c:pt>
                <c:pt idx="515">
                  <c:v>41301</c:v>
                </c:pt>
                <c:pt idx="516">
                  <c:v>41302</c:v>
                </c:pt>
                <c:pt idx="517">
                  <c:v>41303</c:v>
                </c:pt>
                <c:pt idx="518">
                  <c:v>41304</c:v>
                </c:pt>
                <c:pt idx="519">
                  <c:v>41305</c:v>
                </c:pt>
                <c:pt idx="520">
                  <c:v>41306</c:v>
                </c:pt>
                <c:pt idx="521">
                  <c:v>41307</c:v>
                </c:pt>
                <c:pt idx="522">
                  <c:v>41308</c:v>
                </c:pt>
                <c:pt idx="523">
                  <c:v>41309</c:v>
                </c:pt>
                <c:pt idx="524">
                  <c:v>41310</c:v>
                </c:pt>
                <c:pt idx="525">
                  <c:v>41311</c:v>
                </c:pt>
                <c:pt idx="526">
                  <c:v>41312</c:v>
                </c:pt>
                <c:pt idx="527">
                  <c:v>41313</c:v>
                </c:pt>
                <c:pt idx="528">
                  <c:v>41314</c:v>
                </c:pt>
                <c:pt idx="529">
                  <c:v>41315</c:v>
                </c:pt>
                <c:pt idx="530">
                  <c:v>41316</c:v>
                </c:pt>
                <c:pt idx="531">
                  <c:v>41317</c:v>
                </c:pt>
                <c:pt idx="532">
                  <c:v>41318</c:v>
                </c:pt>
                <c:pt idx="533">
                  <c:v>41319</c:v>
                </c:pt>
                <c:pt idx="534">
                  <c:v>41320</c:v>
                </c:pt>
                <c:pt idx="535">
                  <c:v>41321</c:v>
                </c:pt>
                <c:pt idx="536">
                  <c:v>41322</c:v>
                </c:pt>
                <c:pt idx="537">
                  <c:v>41323</c:v>
                </c:pt>
                <c:pt idx="538">
                  <c:v>41324</c:v>
                </c:pt>
                <c:pt idx="539">
                  <c:v>41325</c:v>
                </c:pt>
                <c:pt idx="540">
                  <c:v>41326</c:v>
                </c:pt>
                <c:pt idx="541">
                  <c:v>41327</c:v>
                </c:pt>
                <c:pt idx="542">
                  <c:v>41328</c:v>
                </c:pt>
                <c:pt idx="543">
                  <c:v>41329</c:v>
                </c:pt>
                <c:pt idx="544">
                  <c:v>41330</c:v>
                </c:pt>
                <c:pt idx="545">
                  <c:v>41331</c:v>
                </c:pt>
                <c:pt idx="546">
                  <c:v>41332</c:v>
                </c:pt>
                <c:pt idx="547">
                  <c:v>41333</c:v>
                </c:pt>
                <c:pt idx="548">
                  <c:v>41334</c:v>
                </c:pt>
                <c:pt idx="549">
                  <c:v>41335</c:v>
                </c:pt>
                <c:pt idx="550">
                  <c:v>41336</c:v>
                </c:pt>
                <c:pt idx="551">
                  <c:v>41337</c:v>
                </c:pt>
                <c:pt idx="552">
                  <c:v>41338</c:v>
                </c:pt>
                <c:pt idx="553">
                  <c:v>41339</c:v>
                </c:pt>
                <c:pt idx="554">
                  <c:v>41340</c:v>
                </c:pt>
                <c:pt idx="555">
                  <c:v>41341</c:v>
                </c:pt>
                <c:pt idx="556">
                  <c:v>41342</c:v>
                </c:pt>
                <c:pt idx="557">
                  <c:v>41343</c:v>
                </c:pt>
                <c:pt idx="558">
                  <c:v>41344</c:v>
                </c:pt>
                <c:pt idx="559">
                  <c:v>41345</c:v>
                </c:pt>
                <c:pt idx="560">
                  <c:v>41346</c:v>
                </c:pt>
                <c:pt idx="561">
                  <c:v>41347</c:v>
                </c:pt>
                <c:pt idx="562">
                  <c:v>41348</c:v>
                </c:pt>
                <c:pt idx="563">
                  <c:v>41349</c:v>
                </c:pt>
                <c:pt idx="564">
                  <c:v>41350</c:v>
                </c:pt>
                <c:pt idx="565">
                  <c:v>41351</c:v>
                </c:pt>
                <c:pt idx="566">
                  <c:v>41352</c:v>
                </c:pt>
                <c:pt idx="567">
                  <c:v>41353</c:v>
                </c:pt>
                <c:pt idx="568">
                  <c:v>41354</c:v>
                </c:pt>
                <c:pt idx="569">
                  <c:v>41355</c:v>
                </c:pt>
                <c:pt idx="570">
                  <c:v>41356</c:v>
                </c:pt>
                <c:pt idx="571">
                  <c:v>41357</c:v>
                </c:pt>
                <c:pt idx="572">
                  <c:v>41358</c:v>
                </c:pt>
                <c:pt idx="573">
                  <c:v>41359</c:v>
                </c:pt>
                <c:pt idx="574">
                  <c:v>41360</c:v>
                </c:pt>
                <c:pt idx="575">
                  <c:v>41361</c:v>
                </c:pt>
                <c:pt idx="576">
                  <c:v>41362</c:v>
                </c:pt>
                <c:pt idx="577">
                  <c:v>41363</c:v>
                </c:pt>
                <c:pt idx="578">
                  <c:v>41364</c:v>
                </c:pt>
                <c:pt idx="579">
                  <c:v>41365</c:v>
                </c:pt>
                <c:pt idx="580">
                  <c:v>41366</c:v>
                </c:pt>
                <c:pt idx="581">
                  <c:v>41367</c:v>
                </c:pt>
                <c:pt idx="582">
                  <c:v>41368</c:v>
                </c:pt>
                <c:pt idx="583">
                  <c:v>41369</c:v>
                </c:pt>
                <c:pt idx="584">
                  <c:v>41370</c:v>
                </c:pt>
                <c:pt idx="585">
                  <c:v>41371</c:v>
                </c:pt>
                <c:pt idx="586">
                  <c:v>41372</c:v>
                </c:pt>
                <c:pt idx="587">
                  <c:v>41373</c:v>
                </c:pt>
                <c:pt idx="588">
                  <c:v>41374</c:v>
                </c:pt>
                <c:pt idx="589">
                  <c:v>41375</c:v>
                </c:pt>
                <c:pt idx="590">
                  <c:v>41376</c:v>
                </c:pt>
                <c:pt idx="591">
                  <c:v>41377</c:v>
                </c:pt>
                <c:pt idx="592">
                  <c:v>41378</c:v>
                </c:pt>
                <c:pt idx="593">
                  <c:v>41379</c:v>
                </c:pt>
                <c:pt idx="594">
                  <c:v>41380</c:v>
                </c:pt>
                <c:pt idx="595">
                  <c:v>41381</c:v>
                </c:pt>
                <c:pt idx="596">
                  <c:v>41382</c:v>
                </c:pt>
                <c:pt idx="597">
                  <c:v>41383</c:v>
                </c:pt>
                <c:pt idx="598">
                  <c:v>41384</c:v>
                </c:pt>
                <c:pt idx="599">
                  <c:v>41385</c:v>
                </c:pt>
                <c:pt idx="600">
                  <c:v>41386</c:v>
                </c:pt>
                <c:pt idx="601">
                  <c:v>41387</c:v>
                </c:pt>
                <c:pt idx="602">
                  <c:v>41388</c:v>
                </c:pt>
                <c:pt idx="603">
                  <c:v>41389</c:v>
                </c:pt>
                <c:pt idx="604">
                  <c:v>41390</c:v>
                </c:pt>
                <c:pt idx="605">
                  <c:v>41391</c:v>
                </c:pt>
                <c:pt idx="606">
                  <c:v>41392</c:v>
                </c:pt>
                <c:pt idx="607">
                  <c:v>41393</c:v>
                </c:pt>
                <c:pt idx="608">
                  <c:v>41394</c:v>
                </c:pt>
                <c:pt idx="609">
                  <c:v>41395</c:v>
                </c:pt>
                <c:pt idx="610">
                  <c:v>41396</c:v>
                </c:pt>
                <c:pt idx="611">
                  <c:v>41397</c:v>
                </c:pt>
                <c:pt idx="612">
                  <c:v>41398</c:v>
                </c:pt>
                <c:pt idx="613">
                  <c:v>41399</c:v>
                </c:pt>
                <c:pt idx="614">
                  <c:v>41400</c:v>
                </c:pt>
                <c:pt idx="615">
                  <c:v>41401</c:v>
                </c:pt>
                <c:pt idx="616">
                  <c:v>41402</c:v>
                </c:pt>
                <c:pt idx="617">
                  <c:v>41403</c:v>
                </c:pt>
                <c:pt idx="618">
                  <c:v>41404</c:v>
                </c:pt>
                <c:pt idx="619">
                  <c:v>41405</c:v>
                </c:pt>
                <c:pt idx="620">
                  <c:v>41406</c:v>
                </c:pt>
                <c:pt idx="621">
                  <c:v>41407</c:v>
                </c:pt>
                <c:pt idx="622">
                  <c:v>41408</c:v>
                </c:pt>
                <c:pt idx="623">
                  <c:v>41409</c:v>
                </c:pt>
                <c:pt idx="624">
                  <c:v>41410</c:v>
                </c:pt>
                <c:pt idx="625">
                  <c:v>41411</c:v>
                </c:pt>
                <c:pt idx="626">
                  <c:v>41412</c:v>
                </c:pt>
                <c:pt idx="627">
                  <c:v>41413</c:v>
                </c:pt>
                <c:pt idx="628">
                  <c:v>41414</c:v>
                </c:pt>
                <c:pt idx="629">
                  <c:v>41415</c:v>
                </c:pt>
                <c:pt idx="630">
                  <c:v>41416</c:v>
                </c:pt>
                <c:pt idx="631">
                  <c:v>41417</c:v>
                </c:pt>
                <c:pt idx="632">
                  <c:v>41418</c:v>
                </c:pt>
                <c:pt idx="633">
                  <c:v>41419</c:v>
                </c:pt>
                <c:pt idx="634">
                  <c:v>41420</c:v>
                </c:pt>
                <c:pt idx="635">
                  <c:v>41421</c:v>
                </c:pt>
                <c:pt idx="636">
                  <c:v>41422</c:v>
                </c:pt>
                <c:pt idx="637">
                  <c:v>41423</c:v>
                </c:pt>
                <c:pt idx="638">
                  <c:v>41424</c:v>
                </c:pt>
                <c:pt idx="639">
                  <c:v>41425</c:v>
                </c:pt>
                <c:pt idx="640">
                  <c:v>41426</c:v>
                </c:pt>
                <c:pt idx="641">
                  <c:v>41427</c:v>
                </c:pt>
                <c:pt idx="642">
                  <c:v>41428</c:v>
                </c:pt>
                <c:pt idx="643">
                  <c:v>41429</c:v>
                </c:pt>
                <c:pt idx="644">
                  <c:v>41430</c:v>
                </c:pt>
                <c:pt idx="645">
                  <c:v>41431</c:v>
                </c:pt>
                <c:pt idx="646">
                  <c:v>41432</c:v>
                </c:pt>
                <c:pt idx="647">
                  <c:v>41433</c:v>
                </c:pt>
                <c:pt idx="648">
                  <c:v>41434</c:v>
                </c:pt>
                <c:pt idx="649">
                  <c:v>41435</c:v>
                </c:pt>
                <c:pt idx="650">
                  <c:v>41436</c:v>
                </c:pt>
                <c:pt idx="651">
                  <c:v>41437</c:v>
                </c:pt>
                <c:pt idx="652">
                  <c:v>41438</c:v>
                </c:pt>
                <c:pt idx="653">
                  <c:v>41439</c:v>
                </c:pt>
                <c:pt idx="654">
                  <c:v>41440</c:v>
                </c:pt>
                <c:pt idx="655">
                  <c:v>41441</c:v>
                </c:pt>
                <c:pt idx="656">
                  <c:v>41442</c:v>
                </c:pt>
                <c:pt idx="657">
                  <c:v>41443</c:v>
                </c:pt>
                <c:pt idx="658">
                  <c:v>41444</c:v>
                </c:pt>
                <c:pt idx="659">
                  <c:v>41445</c:v>
                </c:pt>
                <c:pt idx="660">
                  <c:v>41446</c:v>
                </c:pt>
                <c:pt idx="661">
                  <c:v>41447</c:v>
                </c:pt>
                <c:pt idx="662">
                  <c:v>41448</c:v>
                </c:pt>
                <c:pt idx="663">
                  <c:v>41449</c:v>
                </c:pt>
                <c:pt idx="664">
                  <c:v>41450</c:v>
                </c:pt>
                <c:pt idx="665">
                  <c:v>41451</c:v>
                </c:pt>
                <c:pt idx="666">
                  <c:v>41452</c:v>
                </c:pt>
                <c:pt idx="667">
                  <c:v>41453</c:v>
                </c:pt>
                <c:pt idx="668">
                  <c:v>41454</c:v>
                </c:pt>
                <c:pt idx="669">
                  <c:v>41455</c:v>
                </c:pt>
                <c:pt idx="670">
                  <c:v>41456</c:v>
                </c:pt>
                <c:pt idx="671">
                  <c:v>41457</c:v>
                </c:pt>
                <c:pt idx="672">
                  <c:v>41458</c:v>
                </c:pt>
                <c:pt idx="673">
                  <c:v>41459</c:v>
                </c:pt>
                <c:pt idx="674">
                  <c:v>41460</c:v>
                </c:pt>
                <c:pt idx="675">
                  <c:v>41461</c:v>
                </c:pt>
                <c:pt idx="676">
                  <c:v>41462</c:v>
                </c:pt>
                <c:pt idx="677">
                  <c:v>41463</c:v>
                </c:pt>
                <c:pt idx="678">
                  <c:v>41464</c:v>
                </c:pt>
                <c:pt idx="679">
                  <c:v>41465</c:v>
                </c:pt>
                <c:pt idx="680">
                  <c:v>41466</c:v>
                </c:pt>
                <c:pt idx="681">
                  <c:v>41467</c:v>
                </c:pt>
                <c:pt idx="682">
                  <c:v>41468</c:v>
                </c:pt>
                <c:pt idx="683">
                  <c:v>41469</c:v>
                </c:pt>
                <c:pt idx="684">
                  <c:v>41470</c:v>
                </c:pt>
                <c:pt idx="685">
                  <c:v>41471</c:v>
                </c:pt>
                <c:pt idx="686">
                  <c:v>41472</c:v>
                </c:pt>
                <c:pt idx="687">
                  <c:v>41473</c:v>
                </c:pt>
                <c:pt idx="688">
                  <c:v>41474</c:v>
                </c:pt>
                <c:pt idx="689">
                  <c:v>41475</c:v>
                </c:pt>
                <c:pt idx="690">
                  <c:v>41476</c:v>
                </c:pt>
                <c:pt idx="691">
                  <c:v>41477</c:v>
                </c:pt>
                <c:pt idx="692">
                  <c:v>41478</c:v>
                </c:pt>
                <c:pt idx="693">
                  <c:v>41479</c:v>
                </c:pt>
                <c:pt idx="694">
                  <c:v>41480</c:v>
                </c:pt>
                <c:pt idx="695">
                  <c:v>41481</c:v>
                </c:pt>
                <c:pt idx="696">
                  <c:v>41482</c:v>
                </c:pt>
                <c:pt idx="697">
                  <c:v>41483</c:v>
                </c:pt>
                <c:pt idx="698">
                  <c:v>41484</c:v>
                </c:pt>
                <c:pt idx="699">
                  <c:v>41485</c:v>
                </c:pt>
                <c:pt idx="700">
                  <c:v>41486</c:v>
                </c:pt>
                <c:pt idx="701">
                  <c:v>41487</c:v>
                </c:pt>
                <c:pt idx="702">
                  <c:v>41488</c:v>
                </c:pt>
                <c:pt idx="703">
                  <c:v>41489</c:v>
                </c:pt>
                <c:pt idx="704">
                  <c:v>41490</c:v>
                </c:pt>
                <c:pt idx="705">
                  <c:v>41491</c:v>
                </c:pt>
                <c:pt idx="706">
                  <c:v>41492</c:v>
                </c:pt>
                <c:pt idx="707">
                  <c:v>41493</c:v>
                </c:pt>
                <c:pt idx="708">
                  <c:v>41494</c:v>
                </c:pt>
                <c:pt idx="709">
                  <c:v>41495</c:v>
                </c:pt>
                <c:pt idx="710">
                  <c:v>41496</c:v>
                </c:pt>
                <c:pt idx="711">
                  <c:v>41497</c:v>
                </c:pt>
                <c:pt idx="712">
                  <c:v>41498</c:v>
                </c:pt>
                <c:pt idx="713">
                  <c:v>41499</c:v>
                </c:pt>
                <c:pt idx="714">
                  <c:v>41500</c:v>
                </c:pt>
                <c:pt idx="715">
                  <c:v>41501</c:v>
                </c:pt>
                <c:pt idx="716">
                  <c:v>41502</c:v>
                </c:pt>
                <c:pt idx="717">
                  <c:v>41503</c:v>
                </c:pt>
                <c:pt idx="718">
                  <c:v>41504</c:v>
                </c:pt>
                <c:pt idx="719">
                  <c:v>41505</c:v>
                </c:pt>
                <c:pt idx="720">
                  <c:v>41506</c:v>
                </c:pt>
                <c:pt idx="721">
                  <c:v>41507</c:v>
                </c:pt>
                <c:pt idx="722">
                  <c:v>41508</c:v>
                </c:pt>
                <c:pt idx="723">
                  <c:v>41509</c:v>
                </c:pt>
                <c:pt idx="724">
                  <c:v>41510</c:v>
                </c:pt>
                <c:pt idx="725">
                  <c:v>41511</c:v>
                </c:pt>
                <c:pt idx="726">
                  <c:v>41512</c:v>
                </c:pt>
                <c:pt idx="727">
                  <c:v>41513</c:v>
                </c:pt>
                <c:pt idx="728">
                  <c:v>41514</c:v>
                </c:pt>
                <c:pt idx="729">
                  <c:v>41515</c:v>
                </c:pt>
                <c:pt idx="730">
                  <c:v>41516</c:v>
                </c:pt>
                <c:pt idx="731">
                  <c:v>41517</c:v>
                </c:pt>
                <c:pt idx="732">
                  <c:v>41518</c:v>
                </c:pt>
                <c:pt idx="733">
                  <c:v>41519</c:v>
                </c:pt>
                <c:pt idx="734">
                  <c:v>41520</c:v>
                </c:pt>
                <c:pt idx="735">
                  <c:v>41521</c:v>
                </c:pt>
                <c:pt idx="736">
                  <c:v>41522</c:v>
                </c:pt>
                <c:pt idx="737">
                  <c:v>41523</c:v>
                </c:pt>
                <c:pt idx="738">
                  <c:v>41524</c:v>
                </c:pt>
                <c:pt idx="739">
                  <c:v>41525</c:v>
                </c:pt>
                <c:pt idx="740">
                  <c:v>41526</c:v>
                </c:pt>
                <c:pt idx="741">
                  <c:v>41527</c:v>
                </c:pt>
                <c:pt idx="742">
                  <c:v>41528</c:v>
                </c:pt>
                <c:pt idx="743">
                  <c:v>41529</c:v>
                </c:pt>
                <c:pt idx="744">
                  <c:v>41530</c:v>
                </c:pt>
                <c:pt idx="745">
                  <c:v>41531</c:v>
                </c:pt>
                <c:pt idx="746">
                  <c:v>41532</c:v>
                </c:pt>
                <c:pt idx="747">
                  <c:v>41533</c:v>
                </c:pt>
                <c:pt idx="748">
                  <c:v>41534</c:v>
                </c:pt>
                <c:pt idx="749">
                  <c:v>41535</c:v>
                </c:pt>
                <c:pt idx="750">
                  <c:v>41536</c:v>
                </c:pt>
                <c:pt idx="751">
                  <c:v>41537</c:v>
                </c:pt>
                <c:pt idx="752">
                  <c:v>41538</c:v>
                </c:pt>
                <c:pt idx="753">
                  <c:v>41539</c:v>
                </c:pt>
                <c:pt idx="754">
                  <c:v>41540</c:v>
                </c:pt>
                <c:pt idx="755">
                  <c:v>41541</c:v>
                </c:pt>
                <c:pt idx="756">
                  <c:v>41542</c:v>
                </c:pt>
                <c:pt idx="757">
                  <c:v>41543</c:v>
                </c:pt>
                <c:pt idx="758">
                  <c:v>41544</c:v>
                </c:pt>
                <c:pt idx="759">
                  <c:v>41545</c:v>
                </c:pt>
                <c:pt idx="760">
                  <c:v>41546</c:v>
                </c:pt>
                <c:pt idx="761">
                  <c:v>41547</c:v>
                </c:pt>
                <c:pt idx="762">
                  <c:v>41548</c:v>
                </c:pt>
                <c:pt idx="763">
                  <c:v>41549</c:v>
                </c:pt>
                <c:pt idx="764">
                  <c:v>41550</c:v>
                </c:pt>
                <c:pt idx="765">
                  <c:v>41551</c:v>
                </c:pt>
                <c:pt idx="766">
                  <c:v>41552</c:v>
                </c:pt>
                <c:pt idx="767">
                  <c:v>41553</c:v>
                </c:pt>
                <c:pt idx="768">
                  <c:v>41554</c:v>
                </c:pt>
                <c:pt idx="769">
                  <c:v>41555</c:v>
                </c:pt>
                <c:pt idx="770">
                  <c:v>41556</c:v>
                </c:pt>
                <c:pt idx="771">
                  <c:v>41557</c:v>
                </c:pt>
                <c:pt idx="772">
                  <c:v>41558</c:v>
                </c:pt>
                <c:pt idx="773">
                  <c:v>41559</c:v>
                </c:pt>
                <c:pt idx="774">
                  <c:v>41560</c:v>
                </c:pt>
                <c:pt idx="775">
                  <c:v>41561</c:v>
                </c:pt>
                <c:pt idx="776">
                  <c:v>41562</c:v>
                </c:pt>
                <c:pt idx="777">
                  <c:v>41563</c:v>
                </c:pt>
                <c:pt idx="778">
                  <c:v>41564</c:v>
                </c:pt>
                <c:pt idx="779">
                  <c:v>41565</c:v>
                </c:pt>
                <c:pt idx="780">
                  <c:v>41566</c:v>
                </c:pt>
                <c:pt idx="781">
                  <c:v>41567</c:v>
                </c:pt>
                <c:pt idx="782">
                  <c:v>41568</c:v>
                </c:pt>
                <c:pt idx="783">
                  <c:v>41569</c:v>
                </c:pt>
                <c:pt idx="784">
                  <c:v>41570</c:v>
                </c:pt>
                <c:pt idx="785">
                  <c:v>41571</c:v>
                </c:pt>
                <c:pt idx="786">
                  <c:v>41572</c:v>
                </c:pt>
                <c:pt idx="787">
                  <c:v>41573</c:v>
                </c:pt>
                <c:pt idx="788">
                  <c:v>41574</c:v>
                </c:pt>
                <c:pt idx="789">
                  <c:v>41575</c:v>
                </c:pt>
                <c:pt idx="790">
                  <c:v>41576</c:v>
                </c:pt>
                <c:pt idx="791">
                  <c:v>41577</c:v>
                </c:pt>
                <c:pt idx="792">
                  <c:v>41578</c:v>
                </c:pt>
                <c:pt idx="793">
                  <c:v>41579</c:v>
                </c:pt>
                <c:pt idx="794">
                  <c:v>41580</c:v>
                </c:pt>
                <c:pt idx="795">
                  <c:v>41581</c:v>
                </c:pt>
                <c:pt idx="796">
                  <c:v>41582</c:v>
                </c:pt>
                <c:pt idx="797">
                  <c:v>41583</c:v>
                </c:pt>
                <c:pt idx="798">
                  <c:v>41584</c:v>
                </c:pt>
                <c:pt idx="799">
                  <c:v>41585</c:v>
                </c:pt>
                <c:pt idx="800">
                  <c:v>41586</c:v>
                </c:pt>
                <c:pt idx="801">
                  <c:v>41587</c:v>
                </c:pt>
                <c:pt idx="802">
                  <c:v>41588</c:v>
                </c:pt>
                <c:pt idx="803">
                  <c:v>41589</c:v>
                </c:pt>
                <c:pt idx="804">
                  <c:v>41590</c:v>
                </c:pt>
                <c:pt idx="805">
                  <c:v>41591</c:v>
                </c:pt>
                <c:pt idx="806">
                  <c:v>41592</c:v>
                </c:pt>
                <c:pt idx="807">
                  <c:v>41593</c:v>
                </c:pt>
                <c:pt idx="808">
                  <c:v>41594</c:v>
                </c:pt>
                <c:pt idx="809">
                  <c:v>41595</c:v>
                </c:pt>
                <c:pt idx="810">
                  <c:v>41596</c:v>
                </c:pt>
                <c:pt idx="811">
                  <c:v>41597</c:v>
                </c:pt>
                <c:pt idx="812">
                  <c:v>41598</c:v>
                </c:pt>
                <c:pt idx="813">
                  <c:v>41599</c:v>
                </c:pt>
                <c:pt idx="814">
                  <c:v>41600</c:v>
                </c:pt>
                <c:pt idx="815">
                  <c:v>41601</c:v>
                </c:pt>
                <c:pt idx="816">
                  <c:v>41602</c:v>
                </c:pt>
                <c:pt idx="817">
                  <c:v>41603</c:v>
                </c:pt>
                <c:pt idx="818">
                  <c:v>41604</c:v>
                </c:pt>
                <c:pt idx="819">
                  <c:v>41605</c:v>
                </c:pt>
                <c:pt idx="820">
                  <c:v>41606</c:v>
                </c:pt>
                <c:pt idx="821">
                  <c:v>41607</c:v>
                </c:pt>
                <c:pt idx="822">
                  <c:v>41608</c:v>
                </c:pt>
                <c:pt idx="823">
                  <c:v>41609</c:v>
                </c:pt>
                <c:pt idx="824">
                  <c:v>41610</c:v>
                </c:pt>
                <c:pt idx="825">
                  <c:v>41611</c:v>
                </c:pt>
                <c:pt idx="826">
                  <c:v>41612</c:v>
                </c:pt>
                <c:pt idx="827">
                  <c:v>41613</c:v>
                </c:pt>
                <c:pt idx="828">
                  <c:v>41614</c:v>
                </c:pt>
                <c:pt idx="829">
                  <c:v>41615</c:v>
                </c:pt>
                <c:pt idx="830">
                  <c:v>41616</c:v>
                </c:pt>
                <c:pt idx="831">
                  <c:v>41617</c:v>
                </c:pt>
                <c:pt idx="832">
                  <c:v>41618</c:v>
                </c:pt>
                <c:pt idx="833">
                  <c:v>41619</c:v>
                </c:pt>
                <c:pt idx="834">
                  <c:v>41620</c:v>
                </c:pt>
                <c:pt idx="835">
                  <c:v>41621</c:v>
                </c:pt>
                <c:pt idx="836">
                  <c:v>41622</c:v>
                </c:pt>
                <c:pt idx="837">
                  <c:v>41623</c:v>
                </c:pt>
                <c:pt idx="838">
                  <c:v>41624</c:v>
                </c:pt>
                <c:pt idx="839">
                  <c:v>41625</c:v>
                </c:pt>
                <c:pt idx="840">
                  <c:v>41626</c:v>
                </c:pt>
                <c:pt idx="841">
                  <c:v>41627</c:v>
                </c:pt>
                <c:pt idx="842">
                  <c:v>41628</c:v>
                </c:pt>
                <c:pt idx="843">
                  <c:v>41629</c:v>
                </c:pt>
                <c:pt idx="844">
                  <c:v>41630</c:v>
                </c:pt>
                <c:pt idx="845">
                  <c:v>41631</c:v>
                </c:pt>
                <c:pt idx="846">
                  <c:v>41632</c:v>
                </c:pt>
                <c:pt idx="847">
                  <c:v>41633</c:v>
                </c:pt>
                <c:pt idx="848">
                  <c:v>41634</c:v>
                </c:pt>
                <c:pt idx="849">
                  <c:v>41635</c:v>
                </c:pt>
                <c:pt idx="850">
                  <c:v>41636</c:v>
                </c:pt>
                <c:pt idx="851">
                  <c:v>41637</c:v>
                </c:pt>
                <c:pt idx="852">
                  <c:v>41638</c:v>
                </c:pt>
                <c:pt idx="853">
                  <c:v>41639</c:v>
                </c:pt>
                <c:pt idx="854">
                  <c:v>41640</c:v>
                </c:pt>
                <c:pt idx="855">
                  <c:v>41641</c:v>
                </c:pt>
                <c:pt idx="856">
                  <c:v>41642</c:v>
                </c:pt>
                <c:pt idx="857">
                  <c:v>41643</c:v>
                </c:pt>
                <c:pt idx="858">
                  <c:v>41644</c:v>
                </c:pt>
                <c:pt idx="859">
                  <c:v>41645</c:v>
                </c:pt>
                <c:pt idx="860">
                  <c:v>41646</c:v>
                </c:pt>
                <c:pt idx="861">
                  <c:v>41647</c:v>
                </c:pt>
                <c:pt idx="862">
                  <c:v>41648</c:v>
                </c:pt>
                <c:pt idx="863">
                  <c:v>41649</c:v>
                </c:pt>
                <c:pt idx="864">
                  <c:v>41650</c:v>
                </c:pt>
                <c:pt idx="865">
                  <c:v>41651</c:v>
                </c:pt>
                <c:pt idx="866">
                  <c:v>41652</c:v>
                </c:pt>
                <c:pt idx="867">
                  <c:v>41653</c:v>
                </c:pt>
                <c:pt idx="868">
                  <c:v>41654</c:v>
                </c:pt>
                <c:pt idx="869">
                  <c:v>41655</c:v>
                </c:pt>
                <c:pt idx="870">
                  <c:v>41656</c:v>
                </c:pt>
                <c:pt idx="871">
                  <c:v>41657</c:v>
                </c:pt>
                <c:pt idx="872">
                  <c:v>41658</c:v>
                </c:pt>
                <c:pt idx="873">
                  <c:v>41659</c:v>
                </c:pt>
                <c:pt idx="874">
                  <c:v>41660</c:v>
                </c:pt>
                <c:pt idx="875">
                  <c:v>41661</c:v>
                </c:pt>
                <c:pt idx="876">
                  <c:v>41662</c:v>
                </c:pt>
                <c:pt idx="877">
                  <c:v>41663</c:v>
                </c:pt>
                <c:pt idx="878">
                  <c:v>41664</c:v>
                </c:pt>
                <c:pt idx="879">
                  <c:v>41665</c:v>
                </c:pt>
                <c:pt idx="880">
                  <c:v>41666</c:v>
                </c:pt>
                <c:pt idx="881">
                  <c:v>41667</c:v>
                </c:pt>
                <c:pt idx="882">
                  <c:v>41668</c:v>
                </c:pt>
                <c:pt idx="883">
                  <c:v>41669</c:v>
                </c:pt>
                <c:pt idx="884">
                  <c:v>41670</c:v>
                </c:pt>
                <c:pt idx="885">
                  <c:v>41671</c:v>
                </c:pt>
                <c:pt idx="886">
                  <c:v>41672</c:v>
                </c:pt>
                <c:pt idx="887">
                  <c:v>41673</c:v>
                </c:pt>
                <c:pt idx="888">
                  <c:v>41674</c:v>
                </c:pt>
                <c:pt idx="889">
                  <c:v>41675</c:v>
                </c:pt>
                <c:pt idx="890">
                  <c:v>41676</c:v>
                </c:pt>
                <c:pt idx="891">
                  <c:v>41677</c:v>
                </c:pt>
                <c:pt idx="892">
                  <c:v>41678</c:v>
                </c:pt>
                <c:pt idx="893">
                  <c:v>41679</c:v>
                </c:pt>
                <c:pt idx="894">
                  <c:v>41680</c:v>
                </c:pt>
                <c:pt idx="895">
                  <c:v>41681</c:v>
                </c:pt>
                <c:pt idx="896">
                  <c:v>41682</c:v>
                </c:pt>
                <c:pt idx="897">
                  <c:v>41683</c:v>
                </c:pt>
                <c:pt idx="898">
                  <c:v>41684</c:v>
                </c:pt>
                <c:pt idx="899">
                  <c:v>41685</c:v>
                </c:pt>
                <c:pt idx="900">
                  <c:v>41686</c:v>
                </c:pt>
                <c:pt idx="901">
                  <c:v>41687</c:v>
                </c:pt>
                <c:pt idx="902">
                  <c:v>41688</c:v>
                </c:pt>
                <c:pt idx="903">
                  <c:v>41689</c:v>
                </c:pt>
                <c:pt idx="904">
                  <c:v>41690</c:v>
                </c:pt>
                <c:pt idx="905">
                  <c:v>41691</c:v>
                </c:pt>
                <c:pt idx="906">
                  <c:v>41692</c:v>
                </c:pt>
                <c:pt idx="907">
                  <c:v>41693</c:v>
                </c:pt>
                <c:pt idx="908">
                  <c:v>41694</c:v>
                </c:pt>
                <c:pt idx="909">
                  <c:v>41695</c:v>
                </c:pt>
                <c:pt idx="910">
                  <c:v>41696</c:v>
                </c:pt>
                <c:pt idx="911">
                  <c:v>41697</c:v>
                </c:pt>
                <c:pt idx="912">
                  <c:v>41698</c:v>
                </c:pt>
                <c:pt idx="913">
                  <c:v>41699</c:v>
                </c:pt>
                <c:pt idx="914">
                  <c:v>41700</c:v>
                </c:pt>
                <c:pt idx="915">
                  <c:v>41701</c:v>
                </c:pt>
                <c:pt idx="916">
                  <c:v>41702</c:v>
                </c:pt>
                <c:pt idx="917">
                  <c:v>41703</c:v>
                </c:pt>
                <c:pt idx="918">
                  <c:v>41704</c:v>
                </c:pt>
                <c:pt idx="919">
                  <c:v>41705</c:v>
                </c:pt>
                <c:pt idx="920">
                  <c:v>41706</c:v>
                </c:pt>
                <c:pt idx="921">
                  <c:v>41707</c:v>
                </c:pt>
                <c:pt idx="922">
                  <c:v>41708</c:v>
                </c:pt>
                <c:pt idx="923">
                  <c:v>41709</c:v>
                </c:pt>
                <c:pt idx="924">
                  <c:v>41710</c:v>
                </c:pt>
                <c:pt idx="925">
                  <c:v>41711</c:v>
                </c:pt>
                <c:pt idx="926">
                  <c:v>41712</c:v>
                </c:pt>
                <c:pt idx="927">
                  <c:v>41713</c:v>
                </c:pt>
                <c:pt idx="928">
                  <c:v>41714</c:v>
                </c:pt>
                <c:pt idx="929">
                  <c:v>41715</c:v>
                </c:pt>
                <c:pt idx="930">
                  <c:v>41716</c:v>
                </c:pt>
                <c:pt idx="931">
                  <c:v>41717</c:v>
                </c:pt>
                <c:pt idx="932">
                  <c:v>41718</c:v>
                </c:pt>
                <c:pt idx="933">
                  <c:v>41719</c:v>
                </c:pt>
                <c:pt idx="934">
                  <c:v>41720</c:v>
                </c:pt>
                <c:pt idx="935">
                  <c:v>41721</c:v>
                </c:pt>
                <c:pt idx="936">
                  <c:v>41722</c:v>
                </c:pt>
                <c:pt idx="937">
                  <c:v>41723</c:v>
                </c:pt>
                <c:pt idx="938">
                  <c:v>41724</c:v>
                </c:pt>
                <c:pt idx="939">
                  <c:v>41725</c:v>
                </c:pt>
                <c:pt idx="940">
                  <c:v>41726</c:v>
                </c:pt>
                <c:pt idx="941">
                  <c:v>41727</c:v>
                </c:pt>
                <c:pt idx="942">
                  <c:v>41728</c:v>
                </c:pt>
                <c:pt idx="943">
                  <c:v>41729</c:v>
                </c:pt>
                <c:pt idx="944">
                  <c:v>41730</c:v>
                </c:pt>
                <c:pt idx="945">
                  <c:v>41731</c:v>
                </c:pt>
                <c:pt idx="946">
                  <c:v>41732</c:v>
                </c:pt>
                <c:pt idx="947">
                  <c:v>41733</c:v>
                </c:pt>
                <c:pt idx="948">
                  <c:v>41734</c:v>
                </c:pt>
                <c:pt idx="949">
                  <c:v>41735</c:v>
                </c:pt>
                <c:pt idx="950">
                  <c:v>41736</c:v>
                </c:pt>
                <c:pt idx="951">
                  <c:v>41737</c:v>
                </c:pt>
                <c:pt idx="952">
                  <c:v>41738</c:v>
                </c:pt>
                <c:pt idx="953">
                  <c:v>41739</c:v>
                </c:pt>
                <c:pt idx="954">
                  <c:v>41740</c:v>
                </c:pt>
                <c:pt idx="955">
                  <c:v>41741</c:v>
                </c:pt>
                <c:pt idx="956">
                  <c:v>41742</c:v>
                </c:pt>
                <c:pt idx="957">
                  <c:v>41743</c:v>
                </c:pt>
                <c:pt idx="958">
                  <c:v>41744</c:v>
                </c:pt>
                <c:pt idx="959">
                  <c:v>41745</c:v>
                </c:pt>
                <c:pt idx="960">
                  <c:v>41746</c:v>
                </c:pt>
                <c:pt idx="961">
                  <c:v>41747</c:v>
                </c:pt>
                <c:pt idx="962">
                  <c:v>41748</c:v>
                </c:pt>
                <c:pt idx="963">
                  <c:v>41749</c:v>
                </c:pt>
                <c:pt idx="964">
                  <c:v>41750</c:v>
                </c:pt>
                <c:pt idx="965">
                  <c:v>41751</c:v>
                </c:pt>
                <c:pt idx="966">
                  <c:v>41752</c:v>
                </c:pt>
                <c:pt idx="967">
                  <c:v>41753</c:v>
                </c:pt>
                <c:pt idx="968">
                  <c:v>41754</c:v>
                </c:pt>
                <c:pt idx="969">
                  <c:v>41755</c:v>
                </c:pt>
                <c:pt idx="970">
                  <c:v>41756</c:v>
                </c:pt>
                <c:pt idx="971">
                  <c:v>41757</c:v>
                </c:pt>
                <c:pt idx="972">
                  <c:v>41758</c:v>
                </c:pt>
                <c:pt idx="973">
                  <c:v>41759</c:v>
                </c:pt>
                <c:pt idx="974">
                  <c:v>41760</c:v>
                </c:pt>
                <c:pt idx="975">
                  <c:v>41761</c:v>
                </c:pt>
                <c:pt idx="976">
                  <c:v>41762</c:v>
                </c:pt>
                <c:pt idx="977">
                  <c:v>41763</c:v>
                </c:pt>
                <c:pt idx="978">
                  <c:v>41764</c:v>
                </c:pt>
                <c:pt idx="979">
                  <c:v>41765</c:v>
                </c:pt>
                <c:pt idx="980">
                  <c:v>41766</c:v>
                </c:pt>
                <c:pt idx="981">
                  <c:v>41767</c:v>
                </c:pt>
                <c:pt idx="982">
                  <c:v>41768</c:v>
                </c:pt>
                <c:pt idx="983">
                  <c:v>41769</c:v>
                </c:pt>
                <c:pt idx="984">
                  <c:v>41770</c:v>
                </c:pt>
                <c:pt idx="985">
                  <c:v>41771</c:v>
                </c:pt>
                <c:pt idx="986">
                  <c:v>41772</c:v>
                </c:pt>
                <c:pt idx="987">
                  <c:v>41773</c:v>
                </c:pt>
                <c:pt idx="988">
                  <c:v>41774</c:v>
                </c:pt>
                <c:pt idx="989">
                  <c:v>41775</c:v>
                </c:pt>
                <c:pt idx="990">
                  <c:v>41776</c:v>
                </c:pt>
                <c:pt idx="991">
                  <c:v>41777</c:v>
                </c:pt>
                <c:pt idx="992">
                  <c:v>41778</c:v>
                </c:pt>
                <c:pt idx="993">
                  <c:v>41779</c:v>
                </c:pt>
                <c:pt idx="994">
                  <c:v>41780</c:v>
                </c:pt>
                <c:pt idx="995">
                  <c:v>41781</c:v>
                </c:pt>
                <c:pt idx="996">
                  <c:v>41782</c:v>
                </c:pt>
                <c:pt idx="997">
                  <c:v>41783</c:v>
                </c:pt>
                <c:pt idx="998">
                  <c:v>41784</c:v>
                </c:pt>
                <c:pt idx="999">
                  <c:v>41785</c:v>
                </c:pt>
                <c:pt idx="1000">
                  <c:v>41786</c:v>
                </c:pt>
                <c:pt idx="1001">
                  <c:v>41787</c:v>
                </c:pt>
                <c:pt idx="1002">
                  <c:v>41788</c:v>
                </c:pt>
                <c:pt idx="1003">
                  <c:v>41789</c:v>
                </c:pt>
                <c:pt idx="1004">
                  <c:v>41790</c:v>
                </c:pt>
                <c:pt idx="1005">
                  <c:v>41791</c:v>
                </c:pt>
                <c:pt idx="1006">
                  <c:v>41792</c:v>
                </c:pt>
                <c:pt idx="1007">
                  <c:v>41793</c:v>
                </c:pt>
                <c:pt idx="1008">
                  <c:v>41794</c:v>
                </c:pt>
                <c:pt idx="1009">
                  <c:v>41795</c:v>
                </c:pt>
                <c:pt idx="1010">
                  <c:v>41796</c:v>
                </c:pt>
                <c:pt idx="1011">
                  <c:v>41797</c:v>
                </c:pt>
                <c:pt idx="1012">
                  <c:v>41798</c:v>
                </c:pt>
                <c:pt idx="1013">
                  <c:v>41799</c:v>
                </c:pt>
                <c:pt idx="1014">
                  <c:v>41800</c:v>
                </c:pt>
                <c:pt idx="1015">
                  <c:v>41801</c:v>
                </c:pt>
                <c:pt idx="1016">
                  <c:v>41802</c:v>
                </c:pt>
                <c:pt idx="1017">
                  <c:v>41803</c:v>
                </c:pt>
                <c:pt idx="1018">
                  <c:v>41804</c:v>
                </c:pt>
                <c:pt idx="1019">
                  <c:v>41805</c:v>
                </c:pt>
                <c:pt idx="1020">
                  <c:v>41806</c:v>
                </c:pt>
                <c:pt idx="1021">
                  <c:v>41807</c:v>
                </c:pt>
                <c:pt idx="1022">
                  <c:v>41808</c:v>
                </c:pt>
                <c:pt idx="1023">
                  <c:v>41809</c:v>
                </c:pt>
                <c:pt idx="1024">
                  <c:v>41810</c:v>
                </c:pt>
                <c:pt idx="1025">
                  <c:v>41811</c:v>
                </c:pt>
                <c:pt idx="1026">
                  <c:v>41812</c:v>
                </c:pt>
                <c:pt idx="1027">
                  <c:v>41813</c:v>
                </c:pt>
                <c:pt idx="1028">
                  <c:v>41814</c:v>
                </c:pt>
                <c:pt idx="1029">
                  <c:v>41815</c:v>
                </c:pt>
                <c:pt idx="1030">
                  <c:v>41816</c:v>
                </c:pt>
                <c:pt idx="1031">
                  <c:v>41817</c:v>
                </c:pt>
                <c:pt idx="1032">
                  <c:v>41818</c:v>
                </c:pt>
                <c:pt idx="1033">
                  <c:v>41819</c:v>
                </c:pt>
                <c:pt idx="1034">
                  <c:v>41820</c:v>
                </c:pt>
                <c:pt idx="1035">
                  <c:v>41821</c:v>
                </c:pt>
                <c:pt idx="1036">
                  <c:v>41822</c:v>
                </c:pt>
                <c:pt idx="1037">
                  <c:v>41823</c:v>
                </c:pt>
                <c:pt idx="1038">
                  <c:v>41824</c:v>
                </c:pt>
                <c:pt idx="1039">
                  <c:v>41825</c:v>
                </c:pt>
                <c:pt idx="1040">
                  <c:v>41826</c:v>
                </c:pt>
                <c:pt idx="1041">
                  <c:v>41827</c:v>
                </c:pt>
                <c:pt idx="1042">
                  <c:v>41828</c:v>
                </c:pt>
                <c:pt idx="1043">
                  <c:v>41829</c:v>
                </c:pt>
                <c:pt idx="1044">
                  <c:v>41830</c:v>
                </c:pt>
                <c:pt idx="1045">
                  <c:v>41831</c:v>
                </c:pt>
                <c:pt idx="1046">
                  <c:v>41832</c:v>
                </c:pt>
                <c:pt idx="1047">
                  <c:v>41833</c:v>
                </c:pt>
                <c:pt idx="1048">
                  <c:v>41834</c:v>
                </c:pt>
                <c:pt idx="1049">
                  <c:v>41835</c:v>
                </c:pt>
                <c:pt idx="1050">
                  <c:v>41836</c:v>
                </c:pt>
                <c:pt idx="1051">
                  <c:v>41837</c:v>
                </c:pt>
                <c:pt idx="1052">
                  <c:v>41838</c:v>
                </c:pt>
                <c:pt idx="1053">
                  <c:v>41839</c:v>
                </c:pt>
                <c:pt idx="1054">
                  <c:v>41840</c:v>
                </c:pt>
                <c:pt idx="1055">
                  <c:v>41841</c:v>
                </c:pt>
                <c:pt idx="1056">
                  <c:v>41842</c:v>
                </c:pt>
                <c:pt idx="1057">
                  <c:v>41843</c:v>
                </c:pt>
                <c:pt idx="1058">
                  <c:v>41844</c:v>
                </c:pt>
                <c:pt idx="1059">
                  <c:v>41845</c:v>
                </c:pt>
                <c:pt idx="1060">
                  <c:v>41846</c:v>
                </c:pt>
                <c:pt idx="1061">
                  <c:v>41847</c:v>
                </c:pt>
                <c:pt idx="1062">
                  <c:v>41848</c:v>
                </c:pt>
                <c:pt idx="1063">
                  <c:v>41849</c:v>
                </c:pt>
                <c:pt idx="1064">
                  <c:v>41850</c:v>
                </c:pt>
                <c:pt idx="1065">
                  <c:v>41851</c:v>
                </c:pt>
                <c:pt idx="1066">
                  <c:v>41852</c:v>
                </c:pt>
                <c:pt idx="1067">
                  <c:v>41853</c:v>
                </c:pt>
                <c:pt idx="1068">
                  <c:v>41854</c:v>
                </c:pt>
                <c:pt idx="1069">
                  <c:v>41855</c:v>
                </c:pt>
                <c:pt idx="1070">
                  <c:v>41856</c:v>
                </c:pt>
                <c:pt idx="1071">
                  <c:v>41857</c:v>
                </c:pt>
                <c:pt idx="1072">
                  <c:v>41858</c:v>
                </c:pt>
                <c:pt idx="1073">
                  <c:v>41859</c:v>
                </c:pt>
                <c:pt idx="1074">
                  <c:v>41860</c:v>
                </c:pt>
                <c:pt idx="1075">
                  <c:v>41861</c:v>
                </c:pt>
                <c:pt idx="1076">
                  <c:v>41862</c:v>
                </c:pt>
                <c:pt idx="1077">
                  <c:v>41863</c:v>
                </c:pt>
                <c:pt idx="1078">
                  <c:v>41864</c:v>
                </c:pt>
                <c:pt idx="1079">
                  <c:v>41865</c:v>
                </c:pt>
                <c:pt idx="1080">
                  <c:v>41866</c:v>
                </c:pt>
                <c:pt idx="1081">
                  <c:v>41867</c:v>
                </c:pt>
                <c:pt idx="1082">
                  <c:v>41868</c:v>
                </c:pt>
                <c:pt idx="1083">
                  <c:v>41869</c:v>
                </c:pt>
                <c:pt idx="1084">
                  <c:v>41870</c:v>
                </c:pt>
                <c:pt idx="1085">
                  <c:v>41871</c:v>
                </c:pt>
                <c:pt idx="1086">
                  <c:v>41872</c:v>
                </c:pt>
                <c:pt idx="1087">
                  <c:v>41873</c:v>
                </c:pt>
                <c:pt idx="1088">
                  <c:v>41874</c:v>
                </c:pt>
                <c:pt idx="1089">
                  <c:v>41875</c:v>
                </c:pt>
                <c:pt idx="1090">
                  <c:v>41876</c:v>
                </c:pt>
                <c:pt idx="1091">
                  <c:v>41877</c:v>
                </c:pt>
                <c:pt idx="1092">
                  <c:v>41878</c:v>
                </c:pt>
                <c:pt idx="1093">
                  <c:v>41879</c:v>
                </c:pt>
                <c:pt idx="1094">
                  <c:v>41880</c:v>
                </c:pt>
                <c:pt idx="1095">
                  <c:v>41881</c:v>
                </c:pt>
                <c:pt idx="1096">
                  <c:v>41882</c:v>
                </c:pt>
                <c:pt idx="1097">
                  <c:v>41883</c:v>
                </c:pt>
                <c:pt idx="1098">
                  <c:v>41884</c:v>
                </c:pt>
                <c:pt idx="1099">
                  <c:v>41885</c:v>
                </c:pt>
                <c:pt idx="1100">
                  <c:v>41886</c:v>
                </c:pt>
                <c:pt idx="1101">
                  <c:v>41887</c:v>
                </c:pt>
                <c:pt idx="1102">
                  <c:v>41888</c:v>
                </c:pt>
                <c:pt idx="1103">
                  <c:v>41889</c:v>
                </c:pt>
                <c:pt idx="1104">
                  <c:v>41890</c:v>
                </c:pt>
                <c:pt idx="1105">
                  <c:v>41891</c:v>
                </c:pt>
                <c:pt idx="1106">
                  <c:v>41892</c:v>
                </c:pt>
                <c:pt idx="1107">
                  <c:v>41893</c:v>
                </c:pt>
                <c:pt idx="1108">
                  <c:v>41894</c:v>
                </c:pt>
                <c:pt idx="1109">
                  <c:v>41895</c:v>
                </c:pt>
                <c:pt idx="1110">
                  <c:v>41896</c:v>
                </c:pt>
                <c:pt idx="1111">
                  <c:v>41897</c:v>
                </c:pt>
                <c:pt idx="1112">
                  <c:v>41898</c:v>
                </c:pt>
                <c:pt idx="1113">
                  <c:v>41899</c:v>
                </c:pt>
                <c:pt idx="1114">
                  <c:v>41900</c:v>
                </c:pt>
                <c:pt idx="1115">
                  <c:v>41901</c:v>
                </c:pt>
                <c:pt idx="1116">
                  <c:v>41902</c:v>
                </c:pt>
                <c:pt idx="1117">
                  <c:v>41903</c:v>
                </c:pt>
                <c:pt idx="1118">
                  <c:v>41904</c:v>
                </c:pt>
                <c:pt idx="1119">
                  <c:v>41905</c:v>
                </c:pt>
                <c:pt idx="1120">
                  <c:v>41906</c:v>
                </c:pt>
                <c:pt idx="1121">
                  <c:v>41907</c:v>
                </c:pt>
                <c:pt idx="1122">
                  <c:v>41908</c:v>
                </c:pt>
                <c:pt idx="1123">
                  <c:v>41909</c:v>
                </c:pt>
                <c:pt idx="1124">
                  <c:v>41910</c:v>
                </c:pt>
                <c:pt idx="1125">
                  <c:v>41911</c:v>
                </c:pt>
                <c:pt idx="1126">
                  <c:v>41912</c:v>
                </c:pt>
                <c:pt idx="1127">
                  <c:v>41913</c:v>
                </c:pt>
                <c:pt idx="1128">
                  <c:v>41914</c:v>
                </c:pt>
                <c:pt idx="1129">
                  <c:v>41915</c:v>
                </c:pt>
                <c:pt idx="1130">
                  <c:v>41916</c:v>
                </c:pt>
                <c:pt idx="1131">
                  <c:v>41917</c:v>
                </c:pt>
                <c:pt idx="1132">
                  <c:v>41918</c:v>
                </c:pt>
                <c:pt idx="1133">
                  <c:v>41919</c:v>
                </c:pt>
                <c:pt idx="1134">
                  <c:v>41920</c:v>
                </c:pt>
                <c:pt idx="1135">
                  <c:v>41921</c:v>
                </c:pt>
                <c:pt idx="1136">
                  <c:v>41922</c:v>
                </c:pt>
                <c:pt idx="1137">
                  <c:v>41923</c:v>
                </c:pt>
                <c:pt idx="1138">
                  <c:v>41924</c:v>
                </c:pt>
                <c:pt idx="1139">
                  <c:v>41925</c:v>
                </c:pt>
                <c:pt idx="1140">
                  <c:v>41926</c:v>
                </c:pt>
                <c:pt idx="1141">
                  <c:v>41927</c:v>
                </c:pt>
                <c:pt idx="1142">
                  <c:v>41928</c:v>
                </c:pt>
                <c:pt idx="1143">
                  <c:v>41929</c:v>
                </c:pt>
                <c:pt idx="1144">
                  <c:v>41930</c:v>
                </c:pt>
                <c:pt idx="1145">
                  <c:v>41931</c:v>
                </c:pt>
                <c:pt idx="1146">
                  <c:v>41932</c:v>
                </c:pt>
                <c:pt idx="1147">
                  <c:v>41933</c:v>
                </c:pt>
                <c:pt idx="1148">
                  <c:v>41934</c:v>
                </c:pt>
                <c:pt idx="1149">
                  <c:v>41935</c:v>
                </c:pt>
                <c:pt idx="1150">
                  <c:v>41936</c:v>
                </c:pt>
                <c:pt idx="1151">
                  <c:v>41937</c:v>
                </c:pt>
                <c:pt idx="1152">
                  <c:v>41938</c:v>
                </c:pt>
                <c:pt idx="1153">
                  <c:v>41939</c:v>
                </c:pt>
                <c:pt idx="1154">
                  <c:v>41940</c:v>
                </c:pt>
                <c:pt idx="1155">
                  <c:v>41941</c:v>
                </c:pt>
                <c:pt idx="1156">
                  <c:v>41942</c:v>
                </c:pt>
                <c:pt idx="1157">
                  <c:v>41943</c:v>
                </c:pt>
                <c:pt idx="1158">
                  <c:v>41944</c:v>
                </c:pt>
                <c:pt idx="1159">
                  <c:v>41945</c:v>
                </c:pt>
                <c:pt idx="1160">
                  <c:v>41946</c:v>
                </c:pt>
                <c:pt idx="1161">
                  <c:v>41947</c:v>
                </c:pt>
                <c:pt idx="1162">
                  <c:v>41948</c:v>
                </c:pt>
                <c:pt idx="1163">
                  <c:v>41949</c:v>
                </c:pt>
                <c:pt idx="1164">
                  <c:v>41950</c:v>
                </c:pt>
                <c:pt idx="1165">
                  <c:v>41951</c:v>
                </c:pt>
                <c:pt idx="1166">
                  <c:v>41952</c:v>
                </c:pt>
                <c:pt idx="1167">
                  <c:v>41953</c:v>
                </c:pt>
                <c:pt idx="1168">
                  <c:v>41954</c:v>
                </c:pt>
                <c:pt idx="1169">
                  <c:v>41955</c:v>
                </c:pt>
                <c:pt idx="1170">
                  <c:v>41956</c:v>
                </c:pt>
                <c:pt idx="1171">
                  <c:v>41957</c:v>
                </c:pt>
                <c:pt idx="1172">
                  <c:v>41958</c:v>
                </c:pt>
                <c:pt idx="1173">
                  <c:v>41959</c:v>
                </c:pt>
                <c:pt idx="1174">
                  <c:v>41960</c:v>
                </c:pt>
                <c:pt idx="1175">
                  <c:v>41961</c:v>
                </c:pt>
                <c:pt idx="1176">
                  <c:v>41962</c:v>
                </c:pt>
                <c:pt idx="1177">
                  <c:v>41963</c:v>
                </c:pt>
                <c:pt idx="1178">
                  <c:v>41964</c:v>
                </c:pt>
                <c:pt idx="1179">
                  <c:v>41965</c:v>
                </c:pt>
                <c:pt idx="1180">
                  <c:v>41966</c:v>
                </c:pt>
                <c:pt idx="1181">
                  <c:v>41967</c:v>
                </c:pt>
                <c:pt idx="1182">
                  <c:v>41968</c:v>
                </c:pt>
                <c:pt idx="1183">
                  <c:v>41969</c:v>
                </c:pt>
                <c:pt idx="1184">
                  <c:v>41970</c:v>
                </c:pt>
                <c:pt idx="1185">
                  <c:v>41971</c:v>
                </c:pt>
                <c:pt idx="1186">
                  <c:v>41972</c:v>
                </c:pt>
                <c:pt idx="1187">
                  <c:v>41973</c:v>
                </c:pt>
                <c:pt idx="1188">
                  <c:v>41974</c:v>
                </c:pt>
                <c:pt idx="1189">
                  <c:v>41975</c:v>
                </c:pt>
                <c:pt idx="1190">
                  <c:v>41976</c:v>
                </c:pt>
                <c:pt idx="1191">
                  <c:v>41977</c:v>
                </c:pt>
                <c:pt idx="1192">
                  <c:v>41978</c:v>
                </c:pt>
                <c:pt idx="1193">
                  <c:v>41979</c:v>
                </c:pt>
                <c:pt idx="1194">
                  <c:v>41980</c:v>
                </c:pt>
                <c:pt idx="1195">
                  <c:v>41981</c:v>
                </c:pt>
                <c:pt idx="1196">
                  <c:v>41982</c:v>
                </c:pt>
                <c:pt idx="1197">
                  <c:v>41983</c:v>
                </c:pt>
                <c:pt idx="1198">
                  <c:v>41984</c:v>
                </c:pt>
                <c:pt idx="1199">
                  <c:v>41985</c:v>
                </c:pt>
                <c:pt idx="1200">
                  <c:v>41986</c:v>
                </c:pt>
                <c:pt idx="1201">
                  <c:v>41987</c:v>
                </c:pt>
                <c:pt idx="1202">
                  <c:v>41988</c:v>
                </c:pt>
                <c:pt idx="1203">
                  <c:v>41989</c:v>
                </c:pt>
                <c:pt idx="1204">
                  <c:v>41990</c:v>
                </c:pt>
                <c:pt idx="1205">
                  <c:v>41991</c:v>
                </c:pt>
                <c:pt idx="1206">
                  <c:v>41992</c:v>
                </c:pt>
                <c:pt idx="1207">
                  <c:v>41993</c:v>
                </c:pt>
                <c:pt idx="1208">
                  <c:v>41994</c:v>
                </c:pt>
                <c:pt idx="1209">
                  <c:v>41995</c:v>
                </c:pt>
                <c:pt idx="1210">
                  <c:v>41996</c:v>
                </c:pt>
                <c:pt idx="1211">
                  <c:v>41997</c:v>
                </c:pt>
                <c:pt idx="1212">
                  <c:v>41998</c:v>
                </c:pt>
                <c:pt idx="1213">
                  <c:v>41999</c:v>
                </c:pt>
                <c:pt idx="1214">
                  <c:v>42000</c:v>
                </c:pt>
                <c:pt idx="1215">
                  <c:v>42001</c:v>
                </c:pt>
                <c:pt idx="1216">
                  <c:v>42002</c:v>
                </c:pt>
                <c:pt idx="1217">
                  <c:v>42003</c:v>
                </c:pt>
                <c:pt idx="1218">
                  <c:v>42004</c:v>
                </c:pt>
                <c:pt idx="1219">
                  <c:v>42005</c:v>
                </c:pt>
                <c:pt idx="1220">
                  <c:v>42006</c:v>
                </c:pt>
                <c:pt idx="1221">
                  <c:v>42007</c:v>
                </c:pt>
                <c:pt idx="1222">
                  <c:v>42008</c:v>
                </c:pt>
                <c:pt idx="1223">
                  <c:v>42009</c:v>
                </c:pt>
                <c:pt idx="1224">
                  <c:v>42010</c:v>
                </c:pt>
                <c:pt idx="1225">
                  <c:v>42011</c:v>
                </c:pt>
                <c:pt idx="1226">
                  <c:v>42012</c:v>
                </c:pt>
                <c:pt idx="1227">
                  <c:v>42013</c:v>
                </c:pt>
                <c:pt idx="1228">
                  <c:v>42014</c:v>
                </c:pt>
                <c:pt idx="1229">
                  <c:v>42015</c:v>
                </c:pt>
                <c:pt idx="1230">
                  <c:v>42016</c:v>
                </c:pt>
                <c:pt idx="1231">
                  <c:v>42017</c:v>
                </c:pt>
                <c:pt idx="1232">
                  <c:v>42018</c:v>
                </c:pt>
                <c:pt idx="1233">
                  <c:v>42019</c:v>
                </c:pt>
                <c:pt idx="1234">
                  <c:v>42020</c:v>
                </c:pt>
                <c:pt idx="1235">
                  <c:v>42021</c:v>
                </c:pt>
                <c:pt idx="1236">
                  <c:v>42022</c:v>
                </c:pt>
                <c:pt idx="1237">
                  <c:v>42023</c:v>
                </c:pt>
                <c:pt idx="1238">
                  <c:v>42024</c:v>
                </c:pt>
                <c:pt idx="1239">
                  <c:v>42025</c:v>
                </c:pt>
                <c:pt idx="1240">
                  <c:v>42026</c:v>
                </c:pt>
                <c:pt idx="1241">
                  <c:v>42027</c:v>
                </c:pt>
                <c:pt idx="1242">
                  <c:v>42028</c:v>
                </c:pt>
                <c:pt idx="1243">
                  <c:v>42029</c:v>
                </c:pt>
                <c:pt idx="1244">
                  <c:v>42030</c:v>
                </c:pt>
                <c:pt idx="1245">
                  <c:v>42031</c:v>
                </c:pt>
                <c:pt idx="1246">
                  <c:v>42032</c:v>
                </c:pt>
                <c:pt idx="1247">
                  <c:v>42033</c:v>
                </c:pt>
                <c:pt idx="1248">
                  <c:v>42034</c:v>
                </c:pt>
                <c:pt idx="1249">
                  <c:v>42035</c:v>
                </c:pt>
                <c:pt idx="1250">
                  <c:v>42036</c:v>
                </c:pt>
                <c:pt idx="1251">
                  <c:v>42037</c:v>
                </c:pt>
                <c:pt idx="1252">
                  <c:v>42038</c:v>
                </c:pt>
                <c:pt idx="1253">
                  <c:v>42039</c:v>
                </c:pt>
                <c:pt idx="1254">
                  <c:v>42040</c:v>
                </c:pt>
                <c:pt idx="1255">
                  <c:v>42041</c:v>
                </c:pt>
                <c:pt idx="1256">
                  <c:v>42042</c:v>
                </c:pt>
                <c:pt idx="1257">
                  <c:v>42043</c:v>
                </c:pt>
                <c:pt idx="1258">
                  <c:v>42044</c:v>
                </c:pt>
                <c:pt idx="1259">
                  <c:v>42045</c:v>
                </c:pt>
                <c:pt idx="1260">
                  <c:v>42046</c:v>
                </c:pt>
                <c:pt idx="1261">
                  <c:v>42047</c:v>
                </c:pt>
                <c:pt idx="1262">
                  <c:v>42048</c:v>
                </c:pt>
                <c:pt idx="1263">
                  <c:v>42049</c:v>
                </c:pt>
                <c:pt idx="1264">
                  <c:v>42050</c:v>
                </c:pt>
                <c:pt idx="1265">
                  <c:v>42051</c:v>
                </c:pt>
                <c:pt idx="1266">
                  <c:v>42052</c:v>
                </c:pt>
                <c:pt idx="1267">
                  <c:v>42053</c:v>
                </c:pt>
                <c:pt idx="1268">
                  <c:v>42054</c:v>
                </c:pt>
                <c:pt idx="1269">
                  <c:v>42055</c:v>
                </c:pt>
                <c:pt idx="1270">
                  <c:v>42056</c:v>
                </c:pt>
                <c:pt idx="1271">
                  <c:v>42057</c:v>
                </c:pt>
                <c:pt idx="1272">
                  <c:v>42058</c:v>
                </c:pt>
                <c:pt idx="1273">
                  <c:v>42059</c:v>
                </c:pt>
                <c:pt idx="1274">
                  <c:v>42060</c:v>
                </c:pt>
                <c:pt idx="1275">
                  <c:v>42061</c:v>
                </c:pt>
                <c:pt idx="1276">
                  <c:v>42062</c:v>
                </c:pt>
                <c:pt idx="1277">
                  <c:v>42063</c:v>
                </c:pt>
                <c:pt idx="1278">
                  <c:v>42064</c:v>
                </c:pt>
                <c:pt idx="1279">
                  <c:v>42065</c:v>
                </c:pt>
                <c:pt idx="1280">
                  <c:v>42066</c:v>
                </c:pt>
                <c:pt idx="1281">
                  <c:v>42067</c:v>
                </c:pt>
                <c:pt idx="1282">
                  <c:v>42068</c:v>
                </c:pt>
                <c:pt idx="1283">
                  <c:v>42069</c:v>
                </c:pt>
                <c:pt idx="1284">
                  <c:v>42070</c:v>
                </c:pt>
                <c:pt idx="1285">
                  <c:v>42071</c:v>
                </c:pt>
                <c:pt idx="1286">
                  <c:v>42072</c:v>
                </c:pt>
                <c:pt idx="1287">
                  <c:v>42073</c:v>
                </c:pt>
                <c:pt idx="1288">
                  <c:v>42074</c:v>
                </c:pt>
                <c:pt idx="1289">
                  <c:v>42075</c:v>
                </c:pt>
                <c:pt idx="1290">
                  <c:v>42076</c:v>
                </c:pt>
                <c:pt idx="1291">
                  <c:v>42077</c:v>
                </c:pt>
                <c:pt idx="1292">
                  <c:v>42078</c:v>
                </c:pt>
                <c:pt idx="1293">
                  <c:v>42079</c:v>
                </c:pt>
                <c:pt idx="1294">
                  <c:v>42080</c:v>
                </c:pt>
                <c:pt idx="1295">
                  <c:v>42081</c:v>
                </c:pt>
                <c:pt idx="1296">
                  <c:v>42082</c:v>
                </c:pt>
                <c:pt idx="1297">
                  <c:v>42083</c:v>
                </c:pt>
                <c:pt idx="1298">
                  <c:v>42084</c:v>
                </c:pt>
                <c:pt idx="1299">
                  <c:v>42085</c:v>
                </c:pt>
                <c:pt idx="1300">
                  <c:v>42086</c:v>
                </c:pt>
                <c:pt idx="1301">
                  <c:v>42087</c:v>
                </c:pt>
                <c:pt idx="1302">
                  <c:v>42088</c:v>
                </c:pt>
                <c:pt idx="1303">
                  <c:v>42089</c:v>
                </c:pt>
                <c:pt idx="1304">
                  <c:v>42090</c:v>
                </c:pt>
                <c:pt idx="1305">
                  <c:v>42091</c:v>
                </c:pt>
                <c:pt idx="1306">
                  <c:v>42092</c:v>
                </c:pt>
                <c:pt idx="1307">
                  <c:v>42093</c:v>
                </c:pt>
                <c:pt idx="1308">
                  <c:v>42094</c:v>
                </c:pt>
                <c:pt idx="1309">
                  <c:v>42095</c:v>
                </c:pt>
                <c:pt idx="1310">
                  <c:v>42096</c:v>
                </c:pt>
                <c:pt idx="1311">
                  <c:v>42097</c:v>
                </c:pt>
                <c:pt idx="1312">
                  <c:v>42098</c:v>
                </c:pt>
                <c:pt idx="1313">
                  <c:v>42099</c:v>
                </c:pt>
                <c:pt idx="1314">
                  <c:v>42100</c:v>
                </c:pt>
                <c:pt idx="1315">
                  <c:v>42101</c:v>
                </c:pt>
                <c:pt idx="1316">
                  <c:v>42102</c:v>
                </c:pt>
                <c:pt idx="1317">
                  <c:v>42103</c:v>
                </c:pt>
                <c:pt idx="1318">
                  <c:v>42104</c:v>
                </c:pt>
                <c:pt idx="1319">
                  <c:v>42105</c:v>
                </c:pt>
                <c:pt idx="1320">
                  <c:v>42106</c:v>
                </c:pt>
                <c:pt idx="1321">
                  <c:v>42107</c:v>
                </c:pt>
                <c:pt idx="1322">
                  <c:v>42108</c:v>
                </c:pt>
                <c:pt idx="1323">
                  <c:v>42109</c:v>
                </c:pt>
                <c:pt idx="1324">
                  <c:v>42110</c:v>
                </c:pt>
                <c:pt idx="1325">
                  <c:v>42111</c:v>
                </c:pt>
                <c:pt idx="1326">
                  <c:v>42112</c:v>
                </c:pt>
                <c:pt idx="1327">
                  <c:v>42113</c:v>
                </c:pt>
                <c:pt idx="1328">
                  <c:v>42114</c:v>
                </c:pt>
                <c:pt idx="1329">
                  <c:v>42115</c:v>
                </c:pt>
                <c:pt idx="1330">
                  <c:v>42116</c:v>
                </c:pt>
                <c:pt idx="1331">
                  <c:v>42117</c:v>
                </c:pt>
                <c:pt idx="1332">
                  <c:v>42118</c:v>
                </c:pt>
                <c:pt idx="1333">
                  <c:v>42119</c:v>
                </c:pt>
                <c:pt idx="1334">
                  <c:v>42120</c:v>
                </c:pt>
                <c:pt idx="1335">
                  <c:v>42121</c:v>
                </c:pt>
                <c:pt idx="1336">
                  <c:v>42122</c:v>
                </c:pt>
                <c:pt idx="1337">
                  <c:v>42123</c:v>
                </c:pt>
                <c:pt idx="1338">
                  <c:v>42124</c:v>
                </c:pt>
                <c:pt idx="1339">
                  <c:v>42125</c:v>
                </c:pt>
                <c:pt idx="1340">
                  <c:v>42126</c:v>
                </c:pt>
                <c:pt idx="1341">
                  <c:v>42127</c:v>
                </c:pt>
                <c:pt idx="1342">
                  <c:v>42128</c:v>
                </c:pt>
                <c:pt idx="1343">
                  <c:v>42129</c:v>
                </c:pt>
                <c:pt idx="1344">
                  <c:v>42130</c:v>
                </c:pt>
                <c:pt idx="1345">
                  <c:v>42131</c:v>
                </c:pt>
                <c:pt idx="1346">
                  <c:v>42132</c:v>
                </c:pt>
                <c:pt idx="1347">
                  <c:v>42133</c:v>
                </c:pt>
                <c:pt idx="1348">
                  <c:v>42134</c:v>
                </c:pt>
                <c:pt idx="1349">
                  <c:v>42135</c:v>
                </c:pt>
                <c:pt idx="1350">
                  <c:v>42136</c:v>
                </c:pt>
                <c:pt idx="1351">
                  <c:v>42137</c:v>
                </c:pt>
                <c:pt idx="1352">
                  <c:v>42138</c:v>
                </c:pt>
                <c:pt idx="1353">
                  <c:v>42139</c:v>
                </c:pt>
                <c:pt idx="1354">
                  <c:v>42140</c:v>
                </c:pt>
                <c:pt idx="1355">
                  <c:v>42141</c:v>
                </c:pt>
                <c:pt idx="1356">
                  <c:v>42142</c:v>
                </c:pt>
                <c:pt idx="1357">
                  <c:v>42143</c:v>
                </c:pt>
                <c:pt idx="1358">
                  <c:v>42144</c:v>
                </c:pt>
                <c:pt idx="1359">
                  <c:v>42145</c:v>
                </c:pt>
                <c:pt idx="1360">
                  <c:v>42146</c:v>
                </c:pt>
                <c:pt idx="1361">
                  <c:v>42147</c:v>
                </c:pt>
                <c:pt idx="1362">
                  <c:v>42148</c:v>
                </c:pt>
                <c:pt idx="1363">
                  <c:v>42149</c:v>
                </c:pt>
                <c:pt idx="1364">
                  <c:v>42150</c:v>
                </c:pt>
                <c:pt idx="1365">
                  <c:v>42151</c:v>
                </c:pt>
                <c:pt idx="1366">
                  <c:v>42152</c:v>
                </c:pt>
                <c:pt idx="1367">
                  <c:v>42153</c:v>
                </c:pt>
                <c:pt idx="1368">
                  <c:v>42154</c:v>
                </c:pt>
                <c:pt idx="1369">
                  <c:v>42155</c:v>
                </c:pt>
                <c:pt idx="1370">
                  <c:v>42156</c:v>
                </c:pt>
                <c:pt idx="1371">
                  <c:v>42157</c:v>
                </c:pt>
                <c:pt idx="1372">
                  <c:v>42158</c:v>
                </c:pt>
                <c:pt idx="1373">
                  <c:v>42159</c:v>
                </c:pt>
                <c:pt idx="1374">
                  <c:v>42160</c:v>
                </c:pt>
                <c:pt idx="1375">
                  <c:v>42161</c:v>
                </c:pt>
                <c:pt idx="1376">
                  <c:v>42162</c:v>
                </c:pt>
                <c:pt idx="1377">
                  <c:v>42163</c:v>
                </c:pt>
                <c:pt idx="1378">
                  <c:v>42164</c:v>
                </c:pt>
                <c:pt idx="1379">
                  <c:v>42165</c:v>
                </c:pt>
                <c:pt idx="1380">
                  <c:v>42166</c:v>
                </c:pt>
                <c:pt idx="1381">
                  <c:v>42167</c:v>
                </c:pt>
                <c:pt idx="1382">
                  <c:v>42168</c:v>
                </c:pt>
                <c:pt idx="1383">
                  <c:v>42169</c:v>
                </c:pt>
                <c:pt idx="1384">
                  <c:v>42170</c:v>
                </c:pt>
                <c:pt idx="1385">
                  <c:v>42171</c:v>
                </c:pt>
                <c:pt idx="1386">
                  <c:v>42172</c:v>
                </c:pt>
                <c:pt idx="1387">
                  <c:v>42173</c:v>
                </c:pt>
                <c:pt idx="1388">
                  <c:v>42174</c:v>
                </c:pt>
                <c:pt idx="1389">
                  <c:v>42175</c:v>
                </c:pt>
                <c:pt idx="1390">
                  <c:v>42176</c:v>
                </c:pt>
                <c:pt idx="1391">
                  <c:v>42177</c:v>
                </c:pt>
                <c:pt idx="1392">
                  <c:v>42178</c:v>
                </c:pt>
                <c:pt idx="1393">
                  <c:v>42179</c:v>
                </c:pt>
                <c:pt idx="1394">
                  <c:v>42180</c:v>
                </c:pt>
                <c:pt idx="1395">
                  <c:v>42181</c:v>
                </c:pt>
                <c:pt idx="1396">
                  <c:v>42182</c:v>
                </c:pt>
                <c:pt idx="1397">
                  <c:v>42183</c:v>
                </c:pt>
                <c:pt idx="1398">
                  <c:v>42184</c:v>
                </c:pt>
                <c:pt idx="1399">
                  <c:v>42185</c:v>
                </c:pt>
                <c:pt idx="1400">
                  <c:v>42186</c:v>
                </c:pt>
                <c:pt idx="1401">
                  <c:v>42187</c:v>
                </c:pt>
                <c:pt idx="1402">
                  <c:v>42188</c:v>
                </c:pt>
                <c:pt idx="1403">
                  <c:v>42189</c:v>
                </c:pt>
                <c:pt idx="1404">
                  <c:v>42190</c:v>
                </c:pt>
                <c:pt idx="1405">
                  <c:v>42191</c:v>
                </c:pt>
                <c:pt idx="1406">
                  <c:v>42192</c:v>
                </c:pt>
                <c:pt idx="1407">
                  <c:v>42193</c:v>
                </c:pt>
                <c:pt idx="1408">
                  <c:v>42194</c:v>
                </c:pt>
                <c:pt idx="1409">
                  <c:v>42195</c:v>
                </c:pt>
                <c:pt idx="1410">
                  <c:v>42196</c:v>
                </c:pt>
                <c:pt idx="1411">
                  <c:v>42197</c:v>
                </c:pt>
                <c:pt idx="1412">
                  <c:v>42198</c:v>
                </c:pt>
                <c:pt idx="1413">
                  <c:v>42199</c:v>
                </c:pt>
                <c:pt idx="1414">
                  <c:v>42200</c:v>
                </c:pt>
                <c:pt idx="1415">
                  <c:v>42201</c:v>
                </c:pt>
                <c:pt idx="1416">
                  <c:v>42202</c:v>
                </c:pt>
                <c:pt idx="1417">
                  <c:v>42203</c:v>
                </c:pt>
                <c:pt idx="1418">
                  <c:v>42204</c:v>
                </c:pt>
                <c:pt idx="1419">
                  <c:v>42205</c:v>
                </c:pt>
                <c:pt idx="1420">
                  <c:v>42206</c:v>
                </c:pt>
                <c:pt idx="1421">
                  <c:v>42207</c:v>
                </c:pt>
                <c:pt idx="1422">
                  <c:v>42208</c:v>
                </c:pt>
                <c:pt idx="1423">
                  <c:v>42209</c:v>
                </c:pt>
                <c:pt idx="1424">
                  <c:v>42210</c:v>
                </c:pt>
                <c:pt idx="1425">
                  <c:v>42211</c:v>
                </c:pt>
                <c:pt idx="1426">
                  <c:v>42212</c:v>
                </c:pt>
                <c:pt idx="1427">
                  <c:v>42213</c:v>
                </c:pt>
                <c:pt idx="1428">
                  <c:v>42214</c:v>
                </c:pt>
                <c:pt idx="1429">
                  <c:v>42215</c:v>
                </c:pt>
                <c:pt idx="1430">
                  <c:v>42216</c:v>
                </c:pt>
                <c:pt idx="1431">
                  <c:v>42217</c:v>
                </c:pt>
                <c:pt idx="1432">
                  <c:v>42218</c:v>
                </c:pt>
                <c:pt idx="1433">
                  <c:v>42219</c:v>
                </c:pt>
                <c:pt idx="1434">
                  <c:v>42220</c:v>
                </c:pt>
                <c:pt idx="1435">
                  <c:v>42221</c:v>
                </c:pt>
                <c:pt idx="1436">
                  <c:v>42222</c:v>
                </c:pt>
                <c:pt idx="1437">
                  <c:v>42223</c:v>
                </c:pt>
                <c:pt idx="1438">
                  <c:v>42224</c:v>
                </c:pt>
                <c:pt idx="1439">
                  <c:v>42225</c:v>
                </c:pt>
                <c:pt idx="1440">
                  <c:v>42226</c:v>
                </c:pt>
                <c:pt idx="1441">
                  <c:v>42227</c:v>
                </c:pt>
                <c:pt idx="1442">
                  <c:v>42228</c:v>
                </c:pt>
                <c:pt idx="1443">
                  <c:v>42229</c:v>
                </c:pt>
                <c:pt idx="1444">
                  <c:v>42230</c:v>
                </c:pt>
                <c:pt idx="1445">
                  <c:v>42231</c:v>
                </c:pt>
                <c:pt idx="1446">
                  <c:v>42232</c:v>
                </c:pt>
                <c:pt idx="1447">
                  <c:v>42233</c:v>
                </c:pt>
                <c:pt idx="1448">
                  <c:v>42234</c:v>
                </c:pt>
                <c:pt idx="1449">
                  <c:v>42235</c:v>
                </c:pt>
                <c:pt idx="1450">
                  <c:v>42236</c:v>
                </c:pt>
                <c:pt idx="1451">
                  <c:v>42237</c:v>
                </c:pt>
                <c:pt idx="1452">
                  <c:v>42238</c:v>
                </c:pt>
                <c:pt idx="1453">
                  <c:v>42239</c:v>
                </c:pt>
                <c:pt idx="1454">
                  <c:v>42240</c:v>
                </c:pt>
                <c:pt idx="1455">
                  <c:v>42241</c:v>
                </c:pt>
                <c:pt idx="1456">
                  <c:v>42242</c:v>
                </c:pt>
                <c:pt idx="1457">
                  <c:v>42243</c:v>
                </c:pt>
                <c:pt idx="1458">
                  <c:v>42244</c:v>
                </c:pt>
                <c:pt idx="1459">
                  <c:v>42245</c:v>
                </c:pt>
                <c:pt idx="1460">
                  <c:v>42246</c:v>
                </c:pt>
                <c:pt idx="1461">
                  <c:v>42247</c:v>
                </c:pt>
                <c:pt idx="1462">
                  <c:v>42248</c:v>
                </c:pt>
                <c:pt idx="1463">
                  <c:v>42249</c:v>
                </c:pt>
                <c:pt idx="1464">
                  <c:v>42250</c:v>
                </c:pt>
                <c:pt idx="1465">
                  <c:v>42251</c:v>
                </c:pt>
                <c:pt idx="1466">
                  <c:v>42252</c:v>
                </c:pt>
                <c:pt idx="1467">
                  <c:v>42253</c:v>
                </c:pt>
                <c:pt idx="1468">
                  <c:v>42254</c:v>
                </c:pt>
                <c:pt idx="1469">
                  <c:v>42255</c:v>
                </c:pt>
                <c:pt idx="1470">
                  <c:v>42256</c:v>
                </c:pt>
                <c:pt idx="1471">
                  <c:v>42257</c:v>
                </c:pt>
                <c:pt idx="1472">
                  <c:v>42258</c:v>
                </c:pt>
                <c:pt idx="1473">
                  <c:v>42259</c:v>
                </c:pt>
                <c:pt idx="1474">
                  <c:v>42260</c:v>
                </c:pt>
                <c:pt idx="1475">
                  <c:v>42261</c:v>
                </c:pt>
                <c:pt idx="1476">
                  <c:v>42262</c:v>
                </c:pt>
                <c:pt idx="1477">
                  <c:v>42263</c:v>
                </c:pt>
                <c:pt idx="1478">
                  <c:v>42264</c:v>
                </c:pt>
                <c:pt idx="1479">
                  <c:v>42265</c:v>
                </c:pt>
                <c:pt idx="1480">
                  <c:v>42266</c:v>
                </c:pt>
                <c:pt idx="1481">
                  <c:v>42267</c:v>
                </c:pt>
                <c:pt idx="1482">
                  <c:v>42268</c:v>
                </c:pt>
                <c:pt idx="1483">
                  <c:v>42269</c:v>
                </c:pt>
                <c:pt idx="1484">
                  <c:v>42270</c:v>
                </c:pt>
                <c:pt idx="1485">
                  <c:v>42271</c:v>
                </c:pt>
                <c:pt idx="1486">
                  <c:v>42272</c:v>
                </c:pt>
                <c:pt idx="1487">
                  <c:v>42273</c:v>
                </c:pt>
                <c:pt idx="1488">
                  <c:v>42274</c:v>
                </c:pt>
                <c:pt idx="1489">
                  <c:v>42275</c:v>
                </c:pt>
                <c:pt idx="1490">
                  <c:v>42276</c:v>
                </c:pt>
                <c:pt idx="1491">
                  <c:v>42277</c:v>
                </c:pt>
                <c:pt idx="1492">
                  <c:v>42278</c:v>
                </c:pt>
                <c:pt idx="1493">
                  <c:v>42279</c:v>
                </c:pt>
                <c:pt idx="1494">
                  <c:v>42280</c:v>
                </c:pt>
                <c:pt idx="1495">
                  <c:v>42281</c:v>
                </c:pt>
                <c:pt idx="1496">
                  <c:v>42282</c:v>
                </c:pt>
                <c:pt idx="1497">
                  <c:v>42283</c:v>
                </c:pt>
                <c:pt idx="1498">
                  <c:v>42284</c:v>
                </c:pt>
                <c:pt idx="1499">
                  <c:v>42285</c:v>
                </c:pt>
                <c:pt idx="1500">
                  <c:v>42286</c:v>
                </c:pt>
                <c:pt idx="1501">
                  <c:v>42287</c:v>
                </c:pt>
                <c:pt idx="1502">
                  <c:v>42288</c:v>
                </c:pt>
                <c:pt idx="1503">
                  <c:v>42289</c:v>
                </c:pt>
                <c:pt idx="1504">
                  <c:v>42290</c:v>
                </c:pt>
                <c:pt idx="1505">
                  <c:v>42291</c:v>
                </c:pt>
                <c:pt idx="1506">
                  <c:v>42292</c:v>
                </c:pt>
                <c:pt idx="1507">
                  <c:v>42293</c:v>
                </c:pt>
                <c:pt idx="1508">
                  <c:v>42294</c:v>
                </c:pt>
                <c:pt idx="1509">
                  <c:v>42295</c:v>
                </c:pt>
                <c:pt idx="1510">
                  <c:v>42296</c:v>
                </c:pt>
                <c:pt idx="1511">
                  <c:v>42297</c:v>
                </c:pt>
                <c:pt idx="1512">
                  <c:v>42298</c:v>
                </c:pt>
                <c:pt idx="1513">
                  <c:v>42299</c:v>
                </c:pt>
                <c:pt idx="1514">
                  <c:v>42300</c:v>
                </c:pt>
                <c:pt idx="1515">
                  <c:v>42301</c:v>
                </c:pt>
                <c:pt idx="1516">
                  <c:v>42302</c:v>
                </c:pt>
                <c:pt idx="1517">
                  <c:v>42303</c:v>
                </c:pt>
                <c:pt idx="1518">
                  <c:v>42304</c:v>
                </c:pt>
                <c:pt idx="1519">
                  <c:v>42305</c:v>
                </c:pt>
                <c:pt idx="1520">
                  <c:v>42306</c:v>
                </c:pt>
                <c:pt idx="1521">
                  <c:v>42307</c:v>
                </c:pt>
                <c:pt idx="1522">
                  <c:v>42308</c:v>
                </c:pt>
                <c:pt idx="1523">
                  <c:v>42309</c:v>
                </c:pt>
                <c:pt idx="1524">
                  <c:v>42310</c:v>
                </c:pt>
                <c:pt idx="1525">
                  <c:v>42311</c:v>
                </c:pt>
                <c:pt idx="1526">
                  <c:v>42312</c:v>
                </c:pt>
                <c:pt idx="1527">
                  <c:v>42313</c:v>
                </c:pt>
                <c:pt idx="1528">
                  <c:v>42314</c:v>
                </c:pt>
                <c:pt idx="1529">
                  <c:v>42315</c:v>
                </c:pt>
                <c:pt idx="1530">
                  <c:v>42316</c:v>
                </c:pt>
                <c:pt idx="1531">
                  <c:v>42317</c:v>
                </c:pt>
                <c:pt idx="1532">
                  <c:v>42318</c:v>
                </c:pt>
                <c:pt idx="1533">
                  <c:v>42319</c:v>
                </c:pt>
                <c:pt idx="1534">
                  <c:v>42320</c:v>
                </c:pt>
                <c:pt idx="1535">
                  <c:v>42321</c:v>
                </c:pt>
                <c:pt idx="1536">
                  <c:v>42322</c:v>
                </c:pt>
                <c:pt idx="1537">
                  <c:v>42323</c:v>
                </c:pt>
                <c:pt idx="1538">
                  <c:v>42324</c:v>
                </c:pt>
                <c:pt idx="1539">
                  <c:v>42325</c:v>
                </c:pt>
                <c:pt idx="1540">
                  <c:v>42326</c:v>
                </c:pt>
                <c:pt idx="1541">
                  <c:v>42327</c:v>
                </c:pt>
                <c:pt idx="1542">
                  <c:v>42328</c:v>
                </c:pt>
                <c:pt idx="1543">
                  <c:v>42329</c:v>
                </c:pt>
                <c:pt idx="1544">
                  <c:v>42330</c:v>
                </c:pt>
                <c:pt idx="1545">
                  <c:v>42331</c:v>
                </c:pt>
                <c:pt idx="1546">
                  <c:v>42332</c:v>
                </c:pt>
                <c:pt idx="1547">
                  <c:v>42333</c:v>
                </c:pt>
                <c:pt idx="1548">
                  <c:v>42334</c:v>
                </c:pt>
                <c:pt idx="1549">
                  <c:v>42335</c:v>
                </c:pt>
                <c:pt idx="1550">
                  <c:v>42336</c:v>
                </c:pt>
                <c:pt idx="1551">
                  <c:v>42337</c:v>
                </c:pt>
                <c:pt idx="1552">
                  <c:v>42338</c:v>
                </c:pt>
                <c:pt idx="1553">
                  <c:v>42339</c:v>
                </c:pt>
                <c:pt idx="1554">
                  <c:v>42340</c:v>
                </c:pt>
                <c:pt idx="1555">
                  <c:v>42341</c:v>
                </c:pt>
                <c:pt idx="1556">
                  <c:v>42342</c:v>
                </c:pt>
                <c:pt idx="1557">
                  <c:v>42343</c:v>
                </c:pt>
                <c:pt idx="1558">
                  <c:v>42344</c:v>
                </c:pt>
                <c:pt idx="1559">
                  <c:v>42345</c:v>
                </c:pt>
                <c:pt idx="1560">
                  <c:v>42346</c:v>
                </c:pt>
                <c:pt idx="1561">
                  <c:v>42347</c:v>
                </c:pt>
                <c:pt idx="1562">
                  <c:v>42348</c:v>
                </c:pt>
                <c:pt idx="1563">
                  <c:v>42349</c:v>
                </c:pt>
                <c:pt idx="1564">
                  <c:v>42350</c:v>
                </c:pt>
                <c:pt idx="1565">
                  <c:v>42351</c:v>
                </c:pt>
                <c:pt idx="1566">
                  <c:v>42352</c:v>
                </c:pt>
                <c:pt idx="1567">
                  <c:v>42353</c:v>
                </c:pt>
                <c:pt idx="1568">
                  <c:v>42354</c:v>
                </c:pt>
                <c:pt idx="1569">
                  <c:v>42355</c:v>
                </c:pt>
                <c:pt idx="1570">
                  <c:v>42356</c:v>
                </c:pt>
                <c:pt idx="1571">
                  <c:v>42357</c:v>
                </c:pt>
                <c:pt idx="1572">
                  <c:v>42358</c:v>
                </c:pt>
                <c:pt idx="1573">
                  <c:v>42359</c:v>
                </c:pt>
                <c:pt idx="1574">
                  <c:v>42360</c:v>
                </c:pt>
                <c:pt idx="1575">
                  <c:v>42361</c:v>
                </c:pt>
                <c:pt idx="1576">
                  <c:v>42362</c:v>
                </c:pt>
                <c:pt idx="1577">
                  <c:v>42363</c:v>
                </c:pt>
                <c:pt idx="1578">
                  <c:v>42364</c:v>
                </c:pt>
                <c:pt idx="1579">
                  <c:v>42365</c:v>
                </c:pt>
                <c:pt idx="1580">
                  <c:v>42366</c:v>
                </c:pt>
                <c:pt idx="1581">
                  <c:v>42367</c:v>
                </c:pt>
                <c:pt idx="1582">
                  <c:v>42368</c:v>
                </c:pt>
                <c:pt idx="1583">
                  <c:v>42369</c:v>
                </c:pt>
                <c:pt idx="1584">
                  <c:v>42370</c:v>
                </c:pt>
                <c:pt idx="1585">
                  <c:v>42371</c:v>
                </c:pt>
                <c:pt idx="1586">
                  <c:v>42372</c:v>
                </c:pt>
                <c:pt idx="1587">
                  <c:v>42373</c:v>
                </c:pt>
                <c:pt idx="1588">
                  <c:v>42374</c:v>
                </c:pt>
                <c:pt idx="1589">
                  <c:v>42375</c:v>
                </c:pt>
                <c:pt idx="1590">
                  <c:v>42376</c:v>
                </c:pt>
                <c:pt idx="1591">
                  <c:v>42377</c:v>
                </c:pt>
                <c:pt idx="1592">
                  <c:v>42378</c:v>
                </c:pt>
                <c:pt idx="1593">
                  <c:v>42379</c:v>
                </c:pt>
                <c:pt idx="1594">
                  <c:v>42380</c:v>
                </c:pt>
                <c:pt idx="1595">
                  <c:v>42381</c:v>
                </c:pt>
                <c:pt idx="1596">
                  <c:v>42382</c:v>
                </c:pt>
                <c:pt idx="1597">
                  <c:v>42383</c:v>
                </c:pt>
                <c:pt idx="1598">
                  <c:v>42384</c:v>
                </c:pt>
                <c:pt idx="1599">
                  <c:v>42385</c:v>
                </c:pt>
                <c:pt idx="1600">
                  <c:v>42386</c:v>
                </c:pt>
                <c:pt idx="1601">
                  <c:v>42387</c:v>
                </c:pt>
                <c:pt idx="1602">
                  <c:v>42388</c:v>
                </c:pt>
                <c:pt idx="1603">
                  <c:v>42389</c:v>
                </c:pt>
                <c:pt idx="1604">
                  <c:v>42390</c:v>
                </c:pt>
                <c:pt idx="1605">
                  <c:v>42391</c:v>
                </c:pt>
                <c:pt idx="1606">
                  <c:v>42392</c:v>
                </c:pt>
                <c:pt idx="1607">
                  <c:v>42393</c:v>
                </c:pt>
                <c:pt idx="1608">
                  <c:v>42394</c:v>
                </c:pt>
                <c:pt idx="1609">
                  <c:v>42395</c:v>
                </c:pt>
                <c:pt idx="1610">
                  <c:v>42396</c:v>
                </c:pt>
                <c:pt idx="1611">
                  <c:v>42397</c:v>
                </c:pt>
                <c:pt idx="1612">
                  <c:v>42398</c:v>
                </c:pt>
                <c:pt idx="1613">
                  <c:v>42399</c:v>
                </c:pt>
                <c:pt idx="1614">
                  <c:v>42400</c:v>
                </c:pt>
                <c:pt idx="1615">
                  <c:v>42401</c:v>
                </c:pt>
                <c:pt idx="1616">
                  <c:v>42402</c:v>
                </c:pt>
                <c:pt idx="1617">
                  <c:v>42403</c:v>
                </c:pt>
                <c:pt idx="1618">
                  <c:v>42404</c:v>
                </c:pt>
                <c:pt idx="1619">
                  <c:v>42405</c:v>
                </c:pt>
                <c:pt idx="1620">
                  <c:v>42406</c:v>
                </c:pt>
                <c:pt idx="1621">
                  <c:v>42407</c:v>
                </c:pt>
                <c:pt idx="1622">
                  <c:v>42408</c:v>
                </c:pt>
                <c:pt idx="1623">
                  <c:v>42409</c:v>
                </c:pt>
                <c:pt idx="1624">
                  <c:v>42410</c:v>
                </c:pt>
                <c:pt idx="1625">
                  <c:v>42411</c:v>
                </c:pt>
                <c:pt idx="1626">
                  <c:v>42412</c:v>
                </c:pt>
                <c:pt idx="1627">
                  <c:v>42413</c:v>
                </c:pt>
                <c:pt idx="1628">
                  <c:v>42414</c:v>
                </c:pt>
                <c:pt idx="1629">
                  <c:v>42415</c:v>
                </c:pt>
                <c:pt idx="1630">
                  <c:v>42416</c:v>
                </c:pt>
                <c:pt idx="1631">
                  <c:v>42417</c:v>
                </c:pt>
                <c:pt idx="1632">
                  <c:v>42418</c:v>
                </c:pt>
                <c:pt idx="1633">
                  <c:v>42419</c:v>
                </c:pt>
                <c:pt idx="1634">
                  <c:v>42420</c:v>
                </c:pt>
                <c:pt idx="1635">
                  <c:v>42421</c:v>
                </c:pt>
                <c:pt idx="1636">
                  <c:v>42422</c:v>
                </c:pt>
                <c:pt idx="1637">
                  <c:v>42423</c:v>
                </c:pt>
                <c:pt idx="1638">
                  <c:v>42424</c:v>
                </c:pt>
                <c:pt idx="1639">
                  <c:v>42425</c:v>
                </c:pt>
                <c:pt idx="1640">
                  <c:v>42426</c:v>
                </c:pt>
                <c:pt idx="1641">
                  <c:v>42427</c:v>
                </c:pt>
                <c:pt idx="1642">
                  <c:v>42428</c:v>
                </c:pt>
                <c:pt idx="1643">
                  <c:v>42429</c:v>
                </c:pt>
                <c:pt idx="1644">
                  <c:v>42430</c:v>
                </c:pt>
                <c:pt idx="1645">
                  <c:v>42431</c:v>
                </c:pt>
                <c:pt idx="1646">
                  <c:v>42432</c:v>
                </c:pt>
                <c:pt idx="1647">
                  <c:v>42433</c:v>
                </c:pt>
                <c:pt idx="1648">
                  <c:v>42434</c:v>
                </c:pt>
                <c:pt idx="1649">
                  <c:v>42435</c:v>
                </c:pt>
                <c:pt idx="1650">
                  <c:v>42436</c:v>
                </c:pt>
                <c:pt idx="1651">
                  <c:v>42437</c:v>
                </c:pt>
                <c:pt idx="1652">
                  <c:v>42438</c:v>
                </c:pt>
                <c:pt idx="1653">
                  <c:v>42439</c:v>
                </c:pt>
                <c:pt idx="1654">
                  <c:v>42440</c:v>
                </c:pt>
                <c:pt idx="1655">
                  <c:v>42441</c:v>
                </c:pt>
                <c:pt idx="1656">
                  <c:v>42442</c:v>
                </c:pt>
                <c:pt idx="1657">
                  <c:v>42443</c:v>
                </c:pt>
                <c:pt idx="1658">
                  <c:v>42444</c:v>
                </c:pt>
                <c:pt idx="1659">
                  <c:v>42445</c:v>
                </c:pt>
                <c:pt idx="1660">
                  <c:v>42446</c:v>
                </c:pt>
                <c:pt idx="1661">
                  <c:v>42447</c:v>
                </c:pt>
                <c:pt idx="1662">
                  <c:v>42448</c:v>
                </c:pt>
                <c:pt idx="1663">
                  <c:v>42449</c:v>
                </c:pt>
                <c:pt idx="1664">
                  <c:v>42450</c:v>
                </c:pt>
                <c:pt idx="1665">
                  <c:v>42451</c:v>
                </c:pt>
                <c:pt idx="1666">
                  <c:v>42452</c:v>
                </c:pt>
                <c:pt idx="1667">
                  <c:v>42453</c:v>
                </c:pt>
                <c:pt idx="1668">
                  <c:v>42454</c:v>
                </c:pt>
                <c:pt idx="1669">
                  <c:v>42455</c:v>
                </c:pt>
                <c:pt idx="1670">
                  <c:v>42456</c:v>
                </c:pt>
                <c:pt idx="1671">
                  <c:v>42457</c:v>
                </c:pt>
                <c:pt idx="1672">
                  <c:v>42458</c:v>
                </c:pt>
                <c:pt idx="1673">
                  <c:v>42459</c:v>
                </c:pt>
                <c:pt idx="1674">
                  <c:v>42460</c:v>
                </c:pt>
                <c:pt idx="1675">
                  <c:v>42461</c:v>
                </c:pt>
                <c:pt idx="1676">
                  <c:v>42462</c:v>
                </c:pt>
                <c:pt idx="1677">
                  <c:v>42463</c:v>
                </c:pt>
                <c:pt idx="1678">
                  <c:v>42464</c:v>
                </c:pt>
                <c:pt idx="1679">
                  <c:v>42465</c:v>
                </c:pt>
                <c:pt idx="1680">
                  <c:v>42466</c:v>
                </c:pt>
                <c:pt idx="1681">
                  <c:v>42467</c:v>
                </c:pt>
                <c:pt idx="1682">
                  <c:v>42468</c:v>
                </c:pt>
                <c:pt idx="1683">
                  <c:v>42469</c:v>
                </c:pt>
                <c:pt idx="1684">
                  <c:v>42470</c:v>
                </c:pt>
                <c:pt idx="1685">
                  <c:v>42471</c:v>
                </c:pt>
                <c:pt idx="1686">
                  <c:v>42472</c:v>
                </c:pt>
                <c:pt idx="1687">
                  <c:v>42473</c:v>
                </c:pt>
                <c:pt idx="1688">
                  <c:v>42474</c:v>
                </c:pt>
                <c:pt idx="1689">
                  <c:v>42475</c:v>
                </c:pt>
                <c:pt idx="1690">
                  <c:v>42476</c:v>
                </c:pt>
                <c:pt idx="1691">
                  <c:v>42477</c:v>
                </c:pt>
                <c:pt idx="1692">
                  <c:v>42478</c:v>
                </c:pt>
                <c:pt idx="1693">
                  <c:v>42479</c:v>
                </c:pt>
                <c:pt idx="1694">
                  <c:v>42480</c:v>
                </c:pt>
                <c:pt idx="1695">
                  <c:v>42481</c:v>
                </c:pt>
                <c:pt idx="1696">
                  <c:v>42482</c:v>
                </c:pt>
                <c:pt idx="1697">
                  <c:v>42483</c:v>
                </c:pt>
                <c:pt idx="1698">
                  <c:v>42484</c:v>
                </c:pt>
                <c:pt idx="1699">
                  <c:v>42485</c:v>
                </c:pt>
                <c:pt idx="1700">
                  <c:v>42486</c:v>
                </c:pt>
                <c:pt idx="1701">
                  <c:v>42487</c:v>
                </c:pt>
                <c:pt idx="1702">
                  <c:v>42488</c:v>
                </c:pt>
                <c:pt idx="1703">
                  <c:v>42489</c:v>
                </c:pt>
                <c:pt idx="1704">
                  <c:v>42490</c:v>
                </c:pt>
                <c:pt idx="1705">
                  <c:v>42491</c:v>
                </c:pt>
                <c:pt idx="1706">
                  <c:v>42492</c:v>
                </c:pt>
                <c:pt idx="1707">
                  <c:v>42493</c:v>
                </c:pt>
                <c:pt idx="1708">
                  <c:v>42494</c:v>
                </c:pt>
                <c:pt idx="1709">
                  <c:v>42495</c:v>
                </c:pt>
                <c:pt idx="1710">
                  <c:v>42496</c:v>
                </c:pt>
                <c:pt idx="1711">
                  <c:v>42497</c:v>
                </c:pt>
                <c:pt idx="1712">
                  <c:v>42498</c:v>
                </c:pt>
                <c:pt idx="1713">
                  <c:v>42499</c:v>
                </c:pt>
                <c:pt idx="1714">
                  <c:v>42500</c:v>
                </c:pt>
                <c:pt idx="1715">
                  <c:v>42501</c:v>
                </c:pt>
                <c:pt idx="1716">
                  <c:v>42502</c:v>
                </c:pt>
                <c:pt idx="1717">
                  <c:v>42503</c:v>
                </c:pt>
                <c:pt idx="1718">
                  <c:v>42504</c:v>
                </c:pt>
                <c:pt idx="1719">
                  <c:v>42505</c:v>
                </c:pt>
                <c:pt idx="1720">
                  <c:v>42506</c:v>
                </c:pt>
                <c:pt idx="1721">
                  <c:v>42507</c:v>
                </c:pt>
                <c:pt idx="1722">
                  <c:v>42508</c:v>
                </c:pt>
                <c:pt idx="1723">
                  <c:v>42509</c:v>
                </c:pt>
                <c:pt idx="1724">
                  <c:v>42510</c:v>
                </c:pt>
                <c:pt idx="1725">
                  <c:v>42511</c:v>
                </c:pt>
                <c:pt idx="1726">
                  <c:v>42512</c:v>
                </c:pt>
                <c:pt idx="1727">
                  <c:v>42513</c:v>
                </c:pt>
                <c:pt idx="1728">
                  <c:v>42514</c:v>
                </c:pt>
                <c:pt idx="1729">
                  <c:v>42515</c:v>
                </c:pt>
                <c:pt idx="1730">
                  <c:v>42516</c:v>
                </c:pt>
                <c:pt idx="1731">
                  <c:v>42517</c:v>
                </c:pt>
                <c:pt idx="1732">
                  <c:v>42518</c:v>
                </c:pt>
                <c:pt idx="1733">
                  <c:v>42519</c:v>
                </c:pt>
                <c:pt idx="1734">
                  <c:v>42520</c:v>
                </c:pt>
                <c:pt idx="1735">
                  <c:v>42521</c:v>
                </c:pt>
                <c:pt idx="1736">
                  <c:v>42522</c:v>
                </c:pt>
                <c:pt idx="1737">
                  <c:v>42523</c:v>
                </c:pt>
                <c:pt idx="1738">
                  <c:v>42524</c:v>
                </c:pt>
                <c:pt idx="1739">
                  <c:v>42525</c:v>
                </c:pt>
                <c:pt idx="1740">
                  <c:v>42526</c:v>
                </c:pt>
                <c:pt idx="1741">
                  <c:v>42527</c:v>
                </c:pt>
                <c:pt idx="1742">
                  <c:v>42528</c:v>
                </c:pt>
                <c:pt idx="1743">
                  <c:v>42529</c:v>
                </c:pt>
                <c:pt idx="1744">
                  <c:v>42530</c:v>
                </c:pt>
                <c:pt idx="1745">
                  <c:v>42531</c:v>
                </c:pt>
                <c:pt idx="1746">
                  <c:v>42532</c:v>
                </c:pt>
                <c:pt idx="1747">
                  <c:v>42533</c:v>
                </c:pt>
                <c:pt idx="1748">
                  <c:v>42534</c:v>
                </c:pt>
                <c:pt idx="1749">
                  <c:v>42535</c:v>
                </c:pt>
                <c:pt idx="1750">
                  <c:v>42536</c:v>
                </c:pt>
                <c:pt idx="1751">
                  <c:v>42537</c:v>
                </c:pt>
                <c:pt idx="1752">
                  <c:v>42538</c:v>
                </c:pt>
                <c:pt idx="1753">
                  <c:v>42539</c:v>
                </c:pt>
                <c:pt idx="1754">
                  <c:v>42540</c:v>
                </c:pt>
                <c:pt idx="1755">
                  <c:v>42541</c:v>
                </c:pt>
                <c:pt idx="1756">
                  <c:v>42542</c:v>
                </c:pt>
                <c:pt idx="1757">
                  <c:v>42543</c:v>
                </c:pt>
                <c:pt idx="1758">
                  <c:v>42544</c:v>
                </c:pt>
                <c:pt idx="1759">
                  <c:v>42545</c:v>
                </c:pt>
                <c:pt idx="1760">
                  <c:v>42546</c:v>
                </c:pt>
                <c:pt idx="1761">
                  <c:v>42547</c:v>
                </c:pt>
                <c:pt idx="1762">
                  <c:v>42548</c:v>
                </c:pt>
                <c:pt idx="1763">
                  <c:v>42549</c:v>
                </c:pt>
                <c:pt idx="1764">
                  <c:v>42550</c:v>
                </c:pt>
                <c:pt idx="1765">
                  <c:v>42551</c:v>
                </c:pt>
                <c:pt idx="1766">
                  <c:v>42552</c:v>
                </c:pt>
                <c:pt idx="1767">
                  <c:v>42553</c:v>
                </c:pt>
                <c:pt idx="1768">
                  <c:v>42554</c:v>
                </c:pt>
                <c:pt idx="1769">
                  <c:v>42555</c:v>
                </c:pt>
                <c:pt idx="1770">
                  <c:v>42556</c:v>
                </c:pt>
                <c:pt idx="1771">
                  <c:v>42557</c:v>
                </c:pt>
                <c:pt idx="1772">
                  <c:v>42558</c:v>
                </c:pt>
                <c:pt idx="1773">
                  <c:v>42559</c:v>
                </c:pt>
                <c:pt idx="1774">
                  <c:v>42560</c:v>
                </c:pt>
                <c:pt idx="1775">
                  <c:v>42561</c:v>
                </c:pt>
                <c:pt idx="1776">
                  <c:v>42562</c:v>
                </c:pt>
                <c:pt idx="1777">
                  <c:v>42563</c:v>
                </c:pt>
                <c:pt idx="1778">
                  <c:v>42564</c:v>
                </c:pt>
                <c:pt idx="1779">
                  <c:v>42565</c:v>
                </c:pt>
                <c:pt idx="1780">
                  <c:v>42566</c:v>
                </c:pt>
                <c:pt idx="1781">
                  <c:v>42567</c:v>
                </c:pt>
                <c:pt idx="1782">
                  <c:v>42568</c:v>
                </c:pt>
                <c:pt idx="1783">
                  <c:v>42569</c:v>
                </c:pt>
                <c:pt idx="1784">
                  <c:v>42570</c:v>
                </c:pt>
                <c:pt idx="1785">
                  <c:v>42571</c:v>
                </c:pt>
                <c:pt idx="1786">
                  <c:v>42572</c:v>
                </c:pt>
                <c:pt idx="1787">
                  <c:v>42573</c:v>
                </c:pt>
                <c:pt idx="1788">
                  <c:v>42574</c:v>
                </c:pt>
                <c:pt idx="1789">
                  <c:v>42575</c:v>
                </c:pt>
                <c:pt idx="1790">
                  <c:v>42576</c:v>
                </c:pt>
                <c:pt idx="1791">
                  <c:v>42577</c:v>
                </c:pt>
                <c:pt idx="1792">
                  <c:v>42578</c:v>
                </c:pt>
                <c:pt idx="1793">
                  <c:v>42579</c:v>
                </c:pt>
                <c:pt idx="1794">
                  <c:v>42580</c:v>
                </c:pt>
                <c:pt idx="1795">
                  <c:v>42581</c:v>
                </c:pt>
                <c:pt idx="1796">
                  <c:v>42582</c:v>
                </c:pt>
                <c:pt idx="1797">
                  <c:v>42583</c:v>
                </c:pt>
                <c:pt idx="1798">
                  <c:v>42584</c:v>
                </c:pt>
                <c:pt idx="1799">
                  <c:v>42585</c:v>
                </c:pt>
                <c:pt idx="1800">
                  <c:v>42586</c:v>
                </c:pt>
                <c:pt idx="1801">
                  <c:v>42587</c:v>
                </c:pt>
                <c:pt idx="1802">
                  <c:v>42588</c:v>
                </c:pt>
                <c:pt idx="1803">
                  <c:v>42589</c:v>
                </c:pt>
                <c:pt idx="1804">
                  <c:v>42590</c:v>
                </c:pt>
                <c:pt idx="1805">
                  <c:v>42591</c:v>
                </c:pt>
                <c:pt idx="1806">
                  <c:v>42592</c:v>
                </c:pt>
                <c:pt idx="1807">
                  <c:v>42593</c:v>
                </c:pt>
                <c:pt idx="1808">
                  <c:v>42594</c:v>
                </c:pt>
                <c:pt idx="1809">
                  <c:v>42595</c:v>
                </c:pt>
                <c:pt idx="1810">
                  <c:v>42596</c:v>
                </c:pt>
                <c:pt idx="1811">
                  <c:v>42597</c:v>
                </c:pt>
                <c:pt idx="1812">
                  <c:v>42598</c:v>
                </c:pt>
                <c:pt idx="1813">
                  <c:v>42599</c:v>
                </c:pt>
                <c:pt idx="1814">
                  <c:v>42600</c:v>
                </c:pt>
                <c:pt idx="1815">
                  <c:v>42601</c:v>
                </c:pt>
                <c:pt idx="1816">
                  <c:v>42602</c:v>
                </c:pt>
                <c:pt idx="1817">
                  <c:v>42603</c:v>
                </c:pt>
                <c:pt idx="1818">
                  <c:v>42604</c:v>
                </c:pt>
                <c:pt idx="1819">
                  <c:v>42605</c:v>
                </c:pt>
                <c:pt idx="1820">
                  <c:v>42606</c:v>
                </c:pt>
                <c:pt idx="1821">
                  <c:v>42607</c:v>
                </c:pt>
                <c:pt idx="1822">
                  <c:v>42608</c:v>
                </c:pt>
                <c:pt idx="1823">
                  <c:v>42609</c:v>
                </c:pt>
                <c:pt idx="1824">
                  <c:v>42610</c:v>
                </c:pt>
                <c:pt idx="1825">
                  <c:v>42611</c:v>
                </c:pt>
                <c:pt idx="1826">
                  <c:v>42612</c:v>
                </c:pt>
                <c:pt idx="1827">
                  <c:v>42613</c:v>
                </c:pt>
                <c:pt idx="1828">
                  <c:v>42614</c:v>
                </c:pt>
                <c:pt idx="1829">
                  <c:v>42615</c:v>
                </c:pt>
                <c:pt idx="1830">
                  <c:v>42616</c:v>
                </c:pt>
                <c:pt idx="1831">
                  <c:v>42617</c:v>
                </c:pt>
                <c:pt idx="1832">
                  <c:v>42618</c:v>
                </c:pt>
                <c:pt idx="1833">
                  <c:v>42619</c:v>
                </c:pt>
                <c:pt idx="1834">
                  <c:v>42620</c:v>
                </c:pt>
                <c:pt idx="1835">
                  <c:v>42621</c:v>
                </c:pt>
                <c:pt idx="1836">
                  <c:v>42622</c:v>
                </c:pt>
                <c:pt idx="1837">
                  <c:v>42623</c:v>
                </c:pt>
                <c:pt idx="1838">
                  <c:v>42624</c:v>
                </c:pt>
                <c:pt idx="1839">
                  <c:v>42625</c:v>
                </c:pt>
                <c:pt idx="1840">
                  <c:v>42626</c:v>
                </c:pt>
                <c:pt idx="1841">
                  <c:v>42627</c:v>
                </c:pt>
                <c:pt idx="1842">
                  <c:v>42628</c:v>
                </c:pt>
                <c:pt idx="1843">
                  <c:v>42629</c:v>
                </c:pt>
                <c:pt idx="1844">
                  <c:v>42630</c:v>
                </c:pt>
                <c:pt idx="1845">
                  <c:v>42631</c:v>
                </c:pt>
                <c:pt idx="1846">
                  <c:v>42632</c:v>
                </c:pt>
                <c:pt idx="1847">
                  <c:v>42633</c:v>
                </c:pt>
                <c:pt idx="1848">
                  <c:v>42634</c:v>
                </c:pt>
                <c:pt idx="1849">
                  <c:v>42635</c:v>
                </c:pt>
                <c:pt idx="1850">
                  <c:v>42636</c:v>
                </c:pt>
                <c:pt idx="1851">
                  <c:v>42637</c:v>
                </c:pt>
                <c:pt idx="1852">
                  <c:v>42638</c:v>
                </c:pt>
                <c:pt idx="1853">
                  <c:v>42639</c:v>
                </c:pt>
                <c:pt idx="1854">
                  <c:v>42640</c:v>
                </c:pt>
                <c:pt idx="1855">
                  <c:v>42641</c:v>
                </c:pt>
                <c:pt idx="1856">
                  <c:v>42642</c:v>
                </c:pt>
                <c:pt idx="1857">
                  <c:v>42643</c:v>
                </c:pt>
                <c:pt idx="1858">
                  <c:v>42644</c:v>
                </c:pt>
                <c:pt idx="1859">
                  <c:v>42645</c:v>
                </c:pt>
                <c:pt idx="1860">
                  <c:v>42646</c:v>
                </c:pt>
                <c:pt idx="1861">
                  <c:v>42647</c:v>
                </c:pt>
                <c:pt idx="1862">
                  <c:v>42648</c:v>
                </c:pt>
                <c:pt idx="1863">
                  <c:v>42649</c:v>
                </c:pt>
                <c:pt idx="1864">
                  <c:v>42650</c:v>
                </c:pt>
                <c:pt idx="1865">
                  <c:v>42651</c:v>
                </c:pt>
                <c:pt idx="1866">
                  <c:v>42652</c:v>
                </c:pt>
                <c:pt idx="1867">
                  <c:v>42653</c:v>
                </c:pt>
                <c:pt idx="1868">
                  <c:v>42654</c:v>
                </c:pt>
                <c:pt idx="1869">
                  <c:v>42655</c:v>
                </c:pt>
                <c:pt idx="1870">
                  <c:v>42656</c:v>
                </c:pt>
                <c:pt idx="1871">
                  <c:v>42657</c:v>
                </c:pt>
                <c:pt idx="1872">
                  <c:v>42658</c:v>
                </c:pt>
                <c:pt idx="1873">
                  <c:v>42659</c:v>
                </c:pt>
                <c:pt idx="1874">
                  <c:v>42660</c:v>
                </c:pt>
                <c:pt idx="1875">
                  <c:v>42661</c:v>
                </c:pt>
                <c:pt idx="1876">
                  <c:v>42662</c:v>
                </c:pt>
                <c:pt idx="1877">
                  <c:v>42663</c:v>
                </c:pt>
                <c:pt idx="1878">
                  <c:v>42664</c:v>
                </c:pt>
                <c:pt idx="1879">
                  <c:v>42665</c:v>
                </c:pt>
                <c:pt idx="1880">
                  <c:v>42666</c:v>
                </c:pt>
                <c:pt idx="1881">
                  <c:v>42667</c:v>
                </c:pt>
                <c:pt idx="1882">
                  <c:v>42668</c:v>
                </c:pt>
                <c:pt idx="1883">
                  <c:v>42669</c:v>
                </c:pt>
                <c:pt idx="1884">
                  <c:v>42670</c:v>
                </c:pt>
                <c:pt idx="1885">
                  <c:v>42671</c:v>
                </c:pt>
                <c:pt idx="1886">
                  <c:v>42672</c:v>
                </c:pt>
                <c:pt idx="1887">
                  <c:v>42673</c:v>
                </c:pt>
                <c:pt idx="1888">
                  <c:v>42674</c:v>
                </c:pt>
                <c:pt idx="1889">
                  <c:v>42675</c:v>
                </c:pt>
                <c:pt idx="1890">
                  <c:v>42676</c:v>
                </c:pt>
                <c:pt idx="1891">
                  <c:v>42677</c:v>
                </c:pt>
                <c:pt idx="1892">
                  <c:v>42678</c:v>
                </c:pt>
                <c:pt idx="1893">
                  <c:v>42679</c:v>
                </c:pt>
                <c:pt idx="1894">
                  <c:v>42680</c:v>
                </c:pt>
                <c:pt idx="1895">
                  <c:v>42681</c:v>
                </c:pt>
                <c:pt idx="1896">
                  <c:v>42682</c:v>
                </c:pt>
                <c:pt idx="1897">
                  <c:v>42683</c:v>
                </c:pt>
                <c:pt idx="1898">
                  <c:v>42684</c:v>
                </c:pt>
                <c:pt idx="1899">
                  <c:v>42685</c:v>
                </c:pt>
                <c:pt idx="1900">
                  <c:v>42686</c:v>
                </c:pt>
                <c:pt idx="1901">
                  <c:v>42687</c:v>
                </c:pt>
                <c:pt idx="1902">
                  <c:v>42688</c:v>
                </c:pt>
                <c:pt idx="1903">
                  <c:v>42689</c:v>
                </c:pt>
                <c:pt idx="1904">
                  <c:v>42690</c:v>
                </c:pt>
                <c:pt idx="1905">
                  <c:v>42691</c:v>
                </c:pt>
                <c:pt idx="1906">
                  <c:v>42692</c:v>
                </c:pt>
                <c:pt idx="1907">
                  <c:v>42693</c:v>
                </c:pt>
                <c:pt idx="1908">
                  <c:v>42694</c:v>
                </c:pt>
                <c:pt idx="1909">
                  <c:v>42695</c:v>
                </c:pt>
                <c:pt idx="1910">
                  <c:v>42696</c:v>
                </c:pt>
                <c:pt idx="1911">
                  <c:v>42697</c:v>
                </c:pt>
                <c:pt idx="1912">
                  <c:v>42698</c:v>
                </c:pt>
                <c:pt idx="1913">
                  <c:v>42699</c:v>
                </c:pt>
                <c:pt idx="1914">
                  <c:v>42700</c:v>
                </c:pt>
                <c:pt idx="1915">
                  <c:v>42701</c:v>
                </c:pt>
                <c:pt idx="1916">
                  <c:v>42702</c:v>
                </c:pt>
                <c:pt idx="1917">
                  <c:v>42703</c:v>
                </c:pt>
                <c:pt idx="1918">
                  <c:v>42704</c:v>
                </c:pt>
                <c:pt idx="1919">
                  <c:v>42705</c:v>
                </c:pt>
                <c:pt idx="1920">
                  <c:v>42706</c:v>
                </c:pt>
                <c:pt idx="1921">
                  <c:v>42707</c:v>
                </c:pt>
                <c:pt idx="1922">
                  <c:v>42708</c:v>
                </c:pt>
                <c:pt idx="1923">
                  <c:v>42709</c:v>
                </c:pt>
                <c:pt idx="1924">
                  <c:v>42710</c:v>
                </c:pt>
                <c:pt idx="1925">
                  <c:v>42711</c:v>
                </c:pt>
                <c:pt idx="1926">
                  <c:v>42712</c:v>
                </c:pt>
                <c:pt idx="1927">
                  <c:v>42713</c:v>
                </c:pt>
                <c:pt idx="1928">
                  <c:v>42714</c:v>
                </c:pt>
                <c:pt idx="1929">
                  <c:v>42715</c:v>
                </c:pt>
                <c:pt idx="1930">
                  <c:v>42716</c:v>
                </c:pt>
                <c:pt idx="1931">
                  <c:v>42717</c:v>
                </c:pt>
                <c:pt idx="1932">
                  <c:v>42718</c:v>
                </c:pt>
                <c:pt idx="1933">
                  <c:v>42719</c:v>
                </c:pt>
                <c:pt idx="1934">
                  <c:v>42720</c:v>
                </c:pt>
                <c:pt idx="1935">
                  <c:v>42721</c:v>
                </c:pt>
                <c:pt idx="1936">
                  <c:v>42722</c:v>
                </c:pt>
                <c:pt idx="1937">
                  <c:v>42723</c:v>
                </c:pt>
                <c:pt idx="1938">
                  <c:v>42724</c:v>
                </c:pt>
                <c:pt idx="1939">
                  <c:v>42725</c:v>
                </c:pt>
                <c:pt idx="1940">
                  <c:v>42726</c:v>
                </c:pt>
                <c:pt idx="1941">
                  <c:v>42727</c:v>
                </c:pt>
                <c:pt idx="1942">
                  <c:v>42728</c:v>
                </c:pt>
                <c:pt idx="1943">
                  <c:v>42729</c:v>
                </c:pt>
                <c:pt idx="1944">
                  <c:v>42730</c:v>
                </c:pt>
                <c:pt idx="1945">
                  <c:v>42731</c:v>
                </c:pt>
                <c:pt idx="1946">
                  <c:v>42732</c:v>
                </c:pt>
                <c:pt idx="1947">
                  <c:v>42733</c:v>
                </c:pt>
                <c:pt idx="1948">
                  <c:v>42734</c:v>
                </c:pt>
                <c:pt idx="1949">
                  <c:v>42735</c:v>
                </c:pt>
                <c:pt idx="1950">
                  <c:v>42736</c:v>
                </c:pt>
                <c:pt idx="1951">
                  <c:v>42737</c:v>
                </c:pt>
                <c:pt idx="1952">
                  <c:v>42738</c:v>
                </c:pt>
                <c:pt idx="1953">
                  <c:v>42739</c:v>
                </c:pt>
                <c:pt idx="1954">
                  <c:v>42740</c:v>
                </c:pt>
                <c:pt idx="1955">
                  <c:v>42741</c:v>
                </c:pt>
                <c:pt idx="1956">
                  <c:v>42742</c:v>
                </c:pt>
                <c:pt idx="1957">
                  <c:v>42743</c:v>
                </c:pt>
                <c:pt idx="1958">
                  <c:v>42744</c:v>
                </c:pt>
                <c:pt idx="1959">
                  <c:v>42745</c:v>
                </c:pt>
                <c:pt idx="1960">
                  <c:v>42746</c:v>
                </c:pt>
                <c:pt idx="1961">
                  <c:v>42747</c:v>
                </c:pt>
                <c:pt idx="1962">
                  <c:v>42748</c:v>
                </c:pt>
                <c:pt idx="1963">
                  <c:v>42749</c:v>
                </c:pt>
                <c:pt idx="1964">
                  <c:v>42750</c:v>
                </c:pt>
                <c:pt idx="1965">
                  <c:v>42751</c:v>
                </c:pt>
                <c:pt idx="1966">
                  <c:v>42752</c:v>
                </c:pt>
                <c:pt idx="1967">
                  <c:v>42753</c:v>
                </c:pt>
                <c:pt idx="1968">
                  <c:v>42754</c:v>
                </c:pt>
                <c:pt idx="1969">
                  <c:v>42755</c:v>
                </c:pt>
                <c:pt idx="1970">
                  <c:v>42756</c:v>
                </c:pt>
                <c:pt idx="1971">
                  <c:v>42757</c:v>
                </c:pt>
                <c:pt idx="1972">
                  <c:v>42758</c:v>
                </c:pt>
                <c:pt idx="1973">
                  <c:v>42759</c:v>
                </c:pt>
                <c:pt idx="1974">
                  <c:v>42760</c:v>
                </c:pt>
                <c:pt idx="1975">
                  <c:v>42761</c:v>
                </c:pt>
                <c:pt idx="1976">
                  <c:v>42762</c:v>
                </c:pt>
                <c:pt idx="1977">
                  <c:v>42763</c:v>
                </c:pt>
                <c:pt idx="1978">
                  <c:v>42764</c:v>
                </c:pt>
                <c:pt idx="1979">
                  <c:v>42765</c:v>
                </c:pt>
                <c:pt idx="1980">
                  <c:v>42766</c:v>
                </c:pt>
                <c:pt idx="1981">
                  <c:v>42767</c:v>
                </c:pt>
                <c:pt idx="1982">
                  <c:v>42768</c:v>
                </c:pt>
                <c:pt idx="1983">
                  <c:v>42769</c:v>
                </c:pt>
                <c:pt idx="1984">
                  <c:v>42770</c:v>
                </c:pt>
                <c:pt idx="1985">
                  <c:v>42771</c:v>
                </c:pt>
                <c:pt idx="1986">
                  <c:v>42772</c:v>
                </c:pt>
                <c:pt idx="1987">
                  <c:v>42773</c:v>
                </c:pt>
                <c:pt idx="1988">
                  <c:v>42774</c:v>
                </c:pt>
                <c:pt idx="1989">
                  <c:v>42775</c:v>
                </c:pt>
                <c:pt idx="1990">
                  <c:v>42776</c:v>
                </c:pt>
                <c:pt idx="1991">
                  <c:v>42777</c:v>
                </c:pt>
                <c:pt idx="1992">
                  <c:v>42778</c:v>
                </c:pt>
                <c:pt idx="1993">
                  <c:v>42779</c:v>
                </c:pt>
                <c:pt idx="1994">
                  <c:v>42780</c:v>
                </c:pt>
                <c:pt idx="1995">
                  <c:v>42781</c:v>
                </c:pt>
                <c:pt idx="1996">
                  <c:v>42782</c:v>
                </c:pt>
                <c:pt idx="1997">
                  <c:v>42783</c:v>
                </c:pt>
                <c:pt idx="1998">
                  <c:v>42784</c:v>
                </c:pt>
                <c:pt idx="1999">
                  <c:v>42785</c:v>
                </c:pt>
                <c:pt idx="2000">
                  <c:v>42786</c:v>
                </c:pt>
                <c:pt idx="2001">
                  <c:v>42787</c:v>
                </c:pt>
                <c:pt idx="2002">
                  <c:v>42788</c:v>
                </c:pt>
                <c:pt idx="2003">
                  <c:v>42789</c:v>
                </c:pt>
                <c:pt idx="2004">
                  <c:v>42790</c:v>
                </c:pt>
                <c:pt idx="2005">
                  <c:v>42791</c:v>
                </c:pt>
                <c:pt idx="2006">
                  <c:v>42792</c:v>
                </c:pt>
                <c:pt idx="2007">
                  <c:v>42793</c:v>
                </c:pt>
                <c:pt idx="2008">
                  <c:v>42794</c:v>
                </c:pt>
                <c:pt idx="2009">
                  <c:v>42795</c:v>
                </c:pt>
                <c:pt idx="2010">
                  <c:v>42796</c:v>
                </c:pt>
                <c:pt idx="2011">
                  <c:v>42797</c:v>
                </c:pt>
                <c:pt idx="2012">
                  <c:v>42798</c:v>
                </c:pt>
                <c:pt idx="2013">
                  <c:v>42799</c:v>
                </c:pt>
                <c:pt idx="2014">
                  <c:v>42800</c:v>
                </c:pt>
                <c:pt idx="2015">
                  <c:v>42801</c:v>
                </c:pt>
                <c:pt idx="2016">
                  <c:v>42802</c:v>
                </c:pt>
                <c:pt idx="2017">
                  <c:v>42803</c:v>
                </c:pt>
                <c:pt idx="2018">
                  <c:v>42804</c:v>
                </c:pt>
                <c:pt idx="2019">
                  <c:v>42805</c:v>
                </c:pt>
                <c:pt idx="2020">
                  <c:v>42806</c:v>
                </c:pt>
                <c:pt idx="2021">
                  <c:v>42807</c:v>
                </c:pt>
                <c:pt idx="2022">
                  <c:v>42808</c:v>
                </c:pt>
                <c:pt idx="2023">
                  <c:v>42809</c:v>
                </c:pt>
                <c:pt idx="2024">
                  <c:v>42810</c:v>
                </c:pt>
                <c:pt idx="2025">
                  <c:v>42811</c:v>
                </c:pt>
                <c:pt idx="2026">
                  <c:v>42812</c:v>
                </c:pt>
                <c:pt idx="2027">
                  <c:v>42813</c:v>
                </c:pt>
                <c:pt idx="2028">
                  <c:v>42814</c:v>
                </c:pt>
                <c:pt idx="2029">
                  <c:v>42815</c:v>
                </c:pt>
                <c:pt idx="2030">
                  <c:v>42816</c:v>
                </c:pt>
                <c:pt idx="2031">
                  <c:v>42817</c:v>
                </c:pt>
                <c:pt idx="2032">
                  <c:v>42818</c:v>
                </c:pt>
                <c:pt idx="2033">
                  <c:v>42819</c:v>
                </c:pt>
                <c:pt idx="2034">
                  <c:v>42820</c:v>
                </c:pt>
                <c:pt idx="2035">
                  <c:v>42821</c:v>
                </c:pt>
                <c:pt idx="2036">
                  <c:v>42822</c:v>
                </c:pt>
                <c:pt idx="2037">
                  <c:v>42823</c:v>
                </c:pt>
                <c:pt idx="2038">
                  <c:v>42824</c:v>
                </c:pt>
                <c:pt idx="2039">
                  <c:v>42825</c:v>
                </c:pt>
                <c:pt idx="2040">
                  <c:v>42826</c:v>
                </c:pt>
                <c:pt idx="2041">
                  <c:v>42827</c:v>
                </c:pt>
                <c:pt idx="2042">
                  <c:v>42828</c:v>
                </c:pt>
                <c:pt idx="2043">
                  <c:v>42829</c:v>
                </c:pt>
                <c:pt idx="2044">
                  <c:v>42830</c:v>
                </c:pt>
                <c:pt idx="2045">
                  <c:v>42831</c:v>
                </c:pt>
                <c:pt idx="2046">
                  <c:v>42832</c:v>
                </c:pt>
                <c:pt idx="2047">
                  <c:v>42833</c:v>
                </c:pt>
                <c:pt idx="2048">
                  <c:v>42834</c:v>
                </c:pt>
                <c:pt idx="2049">
                  <c:v>42835</c:v>
                </c:pt>
                <c:pt idx="2050">
                  <c:v>42836</c:v>
                </c:pt>
                <c:pt idx="2051">
                  <c:v>42837</c:v>
                </c:pt>
                <c:pt idx="2052">
                  <c:v>42838</c:v>
                </c:pt>
                <c:pt idx="2053">
                  <c:v>42839</c:v>
                </c:pt>
                <c:pt idx="2054">
                  <c:v>42840</c:v>
                </c:pt>
                <c:pt idx="2055">
                  <c:v>42841</c:v>
                </c:pt>
                <c:pt idx="2056">
                  <c:v>42842</c:v>
                </c:pt>
                <c:pt idx="2057">
                  <c:v>42843</c:v>
                </c:pt>
                <c:pt idx="2058">
                  <c:v>42844</c:v>
                </c:pt>
                <c:pt idx="2059">
                  <c:v>42845</c:v>
                </c:pt>
                <c:pt idx="2060">
                  <c:v>42846</c:v>
                </c:pt>
                <c:pt idx="2061">
                  <c:v>42847</c:v>
                </c:pt>
                <c:pt idx="2062">
                  <c:v>42848</c:v>
                </c:pt>
                <c:pt idx="2063">
                  <c:v>42849</c:v>
                </c:pt>
                <c:pt idx="2064">
                  <c:v>42850</c:v>
                </c:pt>
                <c:pt idx="2065">
                  <c:v>42851</c:v>
                </c:pt>
                <c:pt idx="2066">
                  <c:v>42852</c:v>
                </c:pt>
                <c:pt idx="2067">
                  <c:v>42853</c:v>
                </c:pt>
                <c:pt idx="2068">
                  <c:v>42854</c:v>
                </c:pt>
                <c:pt idx="2069">
                  <c:v>42855</c:v>
                </c:pt>
                <c:pt idx="2070">
                  <c:v>42856</c:v>
                </c:pt>
                <c:pt idx="2071">
                  <c:v>42857</c:v>
                </c:pt>
                <c:pt idx="2072">
                  <c:v>42858</c:v>
                </c:pt>
                <c:pt idx="2073">
                  <c:v>42859</c:v>
                </c:pt>
                <c:pt idx="2074">
                  <c:v>42860</c:v>
                </c:pt>
                <c:pt idx="2075">
                  <c:v>42861</c:v>
                </c:pt>
                <c:pt idx="2076">
                  <c:v>42862</c:v>
                </c:pt>
                <c:pt idx="2077">
                  <c:v>42863</c:v>
                </c:pt>
                <c:pt idx="2078">
                  <c:v>42864</c:v>
                </c:pt>
                <c:pt idx="2079">
                  <c:v>42865</c:v>
                </c:pt>
                <c:pt idx="2080">
                  <c:v>42866</c:v>
                </c:pt>
                <c:pt idx="2081">
                  <c:v>42867</c:v>
                </c:pt>
                <c:pt idx="2082">
                  <c:v>42868</c:v>
                </c:pt>
                <c:pt idx="2083">
                  <c:v>42869</c:v>
                </c:pt>
                <c:pt idx="2084">
                  <c:v>42870</c:v>
                </c:pt>
                <c:pt idx="2085">
                  <c:v>42871</c:v>
                </c:pt>
                <c:pt idx="2086">
                  <c:v>42872</c:v>
                </c:pt>
                <c:pt idx="2087">
                  <c:v>42873</c:v>
                </c:pt>
                <c:pt idx="2088">
                  <c:v>42874</c:v>
                </c:pt>
                <c:pt idx="2089">
                  <c:v>42875</c:v>
                </c:pt>
                <c:pt idx="2090">
                  <c:v>42876</c:v>
                </c:pt>
                <c:pt idx="2091">
                  <c:v>42877</c:v>
                </c:pt>
                <c:pt idx="2092">
                  <c:v>42878</c:v>
                </c:pt>
                <c:pt idx="2093">
                  <c:v>42879</c:v>
                </c:pt>
                <c:pt idx="2094">
                  <c:v>42880</c:v>
                </c:pt>
                <c:pt idx="2095">
                  <c:v>42881</c:v>
                </c:pt>
                <c:pt idx="2096">
                  <c:v>42882</c:v>
                </c:pt>
                <c:pt idx="2097">
                  <c:v>42883</c:v>
                </c:pt>
                <c:pt idx="2098">
                  <c:v>42884</c:v>
                </c:pt>
                <c:pt idx="2099">
                  <c:v>42885</c:v>
                </c:pt>
                <c:pt idx="2100">
                  <c:v>42886</c:v>
                </c:pt>
                <c:pt idx="2101">
                  <c:v>42887</c:v>
                </c:pt>
                <c:pt idx="2102">
                  <c:v>42888</c:v>
                </c:pt>
                <c:pt idx="2103">
                  <c:v>42889</c:v>
                </c:pt>
                <c:pt idx="2104">
                  <c:v>42890</c:v>
                </c:pt>
                <c:pt idx="2105">
                  <c:v>42891</c:v>
                </c:pt>
                <c:pt idx="2106">
                  <c:v>42892</c:v>
                </c:pt>
                <c:pt idx="2107">
                  <c:v>42893</c:v>
                </c:pt>
                <c:pt idx="2108">
                  <c:v>42894</c:v>
                </c:pt>
                <c:pt idx="2109">
                  <c:v>42895</c:v>
                </c:pt>
                <c:pt idx="2110">
                  <c:v>42896</c:v>
                </c:pt>
                <c:pt idx="2111">
                  <c:v>42897</c:v>
                </c:pt>
                <c:pt idx="2112">
                  <c:v>42898</c:v>
                </c:pt>
                <c:pt idx="2113">
                  <c:v>42899</c:v>
                </c:pt>
                <c:pt idx="2114">
                  <c:v>42900</c:v>
                </c:pt>
                <c:pt idx="2115">
                  <c:v>42901</c:v>
                </c:pt>
                <c:pt idx="2116">
                  <c:v>42902</c:v>
                </c:pt>
                <c:pt idx="2117">
                  <c:v>42903</c:v>
                </c:pt>
                <c:pt idx="2118">
                  <c:v>42904</c:v>
                </c:pt>
                <c:pt idx="2119">
                  <c:v>42905</c:v>
                </c:pt>
                <c:pt idx="2120">
                  <c:v>42906</c:v>
                </c:pt>
                <c:pt idx="2121">
                  <c:v>42907</c:v>
                </c:pt>
                <c:pt idx="2122">
                  <c:v>42908</c:v>
                </c:pt>
                <c:pt idx="2123">
                  <c:v>42909</c:v>
                </c:pt>
                <c:pt idx="2124">
                  <c:v>42910</c:v>
                </c:pt>
                <c:pt idx="2125">
                  <c:v>42911</c:v>
                </c:pt>
                <c:pt idx="2126">
                  <c:v>42912</c:v>
                </c:pt>
                <c:pt idx="2127">
                  <c:v>42913</c:v>
                </c:pt>
                <c:pt idx="2128">
                  <c:v>42914</c:v>
                </c:pt>
                <c:pt idx="2129">
                  <c:v>42915</c:v>
                </c:pt>
                <c:pt idx="2130">
                  <c:v>42916</c:v>
                </c:pt>
                <c:pt idx="2131">
                  <c:v>42917</c:v>
                </c:pt>
                <c:pt idx="2132">
                  <c:v>42918</c:v>
                </c:pt>
                <c:pt idx="2133">
                  <c:v>42919</c:v>
                </c:pt>
                <c:pt idx="2134">
                  <c:v>42920</c:v>
                </c:pt>
                <c:pt idx="2135">
                  <c:v>42921</c:v>
                </c:pt>
                <c:pt idx="2136">
                  <c:v>42922</c:v>
                </c:pt>
                <c:pt idx="2137">
                  <c:v>42923</c:v>
                </c:pt>
                <c:pt idx="2138">
                  <c:v>42924</c:v>
                </c:pt>
                <c:pt idx="2139">
                  <c:v>42925</c:v>
                </c:pt>
                <c:pt idx="2140">
                  <c:v>42926</c:v>
                </c:pt>
                <c:pt idx="2141">
                  <c:v>42927</c:v>
                </c:pt>
                <c:pt idx="2142">
                  <c:v>42928</c:v>
                </c:pt>
                <c:pt idx="2143">
                  <c:v>42929</c:v>
                </c:pt>
                <c:pt idx="2144">
                  <c:v>42930</c:v>
                </c:pt>
                <c:pt idx="2145">
                  <c:v>42931</c:v>
                </c:pt>
                <c:pt idx="2146">
                  <c:v>42932</c:v>
                </c:pt>
                <c:pt idx="2147">
                  <c:v>42933</c:v>
                </c:pt>
                <c:pt idx="2148">
                  <c:v>42934</c:v>
                </c:pt>
                <c:pt idx="2149">
                  <c:v>42935</c:v>
                </c:pt>
                <c:pt idx="2150">
                  <c:v>42936</c:v>
                </c:pt>
                <c:pt idx="2151">
                  <c:v>42937</c:v>
                </c:pt>
                <c:pt idx="2152">
                  <c:v>42938</c:v>
                </c:pt>
                <c:pt idx="2153">
                  <c:v>42939</c:v>
                </c:pt>
                <c:pt idx="2154">
                  <c:v>42940</c:v>
                </c:pt>
                <c:pt idx="2155">
                  <c:v>42941</c:v>
                </c:pt>
                <c:pt idx="2156">
                  <c:v>42942</c:v>
                </c:pt>
                <c:pt idx="2157">
                  <c:v>42943</c:v>
                </c:pt>
                <c:pt idx="2158">
                  <c:v>42944</c:v>
                </c:pt>
                <c:pt idx="2159">
                  <c:v>42945</c:v>
                </c:pt>
                <c:pt idx="2160">
                  <c:v>42946</c:v>
                </c:pt>
                <c:pt idx="2161">
                  <c:v>42947</c:v>
                </c:pt>
                <c:pt idx="2162">
                  <c:v>42948</c:v>
                </c:pt>
                <c:pt idx="2163">
                  <c:v>42949</c:v>
                </c:pt>
                <c:pt idx="2164">
                  <c:v>42950</c:v>
                </c:pt>
                <c:pt idx="2165">
                  <c:v>42951</c:v>
                </c:pt>
                <c:pt idx="2166">
                  <c:v>42952</c:v>
                </c:pt>
                <c:pt idx="2167">
                  <c:v>42953</c:v>
                </c:pt>
                <c:pt idx="2168">
                  <c:v>42954</c:v>
                </c:pt>
                <c:pt idx="2169">
                  <c:v>42955</c:v>
                </c:pt>
                <c:pt idx="2170">
                  <c:v>42956</c:v>
                </c:pt>
                <c:pt idx="2171">
                  <c:v>42957</c:v>
                </c:pt>
                <c:pt idx="2172">
                  <c:v>42958</c:v>
                </c:pt>
                <c:pt idx="2173">
                  <c:v>42959</c:v>
                </c:pt>
                <c:pt idx="2174">
                  <c:v>42960</c:v>
                </c:pt>
                <c:pt idx="2175">
                  <c:v>42961</c:v>
                </c:pt>
                <c:pt idx="2176">
                  <c:v>42962</c:v>
                </c:pt>
                <c:pt idx="2177">
                  <c:v>42963</c:v>
                </c:pt>
                <c:pt idx="2178">
                  <c:v>42964</c:v>
                </c:pt>
                <c:pt idx="2179">
                  <c:v>42965</c:v>
                </c:pt>
                <c:pt idx="2180">
                  <c:v>42966</c:v>
                </c:pt>
                <c:pt idx="2181">
                  <c:v>42967</c:v>
                </c:pt>
                <c:pt idx="2182">
                  <c:v>42968</c:v>
                </c:pt>
                <c:pt idx="2183">
                  <c:v>42969</c:v>
                </c:pt>
                <c:pt idx="2184">
                  <c:v>42970</c:v>
                </c:pt>
                <c:pt idx="2185">
                  <c:v>42971</c:v>
                </c:pt>
                <c:pt idx="2186">
                  <c:v>42972</c:v>
                </c:pt>
                <c:pt idx="2187">
                  <c:v>42973</c:v>
                </c:pt>
                <c:pt idx="2188">
                  <c:v>42974</c:v>
                </c:pt>
                <c:pt idx="2189">
                  <c:v>42975</c:v>
                </c:pt>
                <c:pt idx="2190">
                  <c:v>42976</c:v>
                </c:pt>
                <c:pt idx="2191">
                  <c:v>42977</c:v>
                </c:pt>
                <c:pt idx="2192">
                  <c:v>42978</c:v>
                </c:pt>
                <c:pt idx="2193">
                  <c:v>42979</c:v>
                </c:pt>
                <c:pt idx="2194">
                  <c:v>42980</c:v>
                </c:pt>
                <c:pt idx="2195">
                  <c:v>42981</c:v>
                </c:pt>
                <c:pt idx="2196">
                  <c:v>42982</c:v>
                </c:pt>
                <c:pt idx="2197">
                  <c:v>42983</c:v>
                </c:pt>
                <c:pt idx="2198">
                  <c:v>42984</c:v>
                </c:pt>
                <c:pt idx="2199">
                  <c:v>42985</c:v>
                </c:pt>
                <c:pt idx="2200">
                  <c:v>42986</c:v>
                </c:pt>
                <c:pt idx="2201">
                  <c:v>42987</c:v>
                </c:pt>
                <c:pt idx="2202">
                  <c:v>42988</c:v>
                </c:pt>
                <c:pt idx="2203">
                  <c:v>42989</c:v>
                </c:pt>
                <c:pt idx="2204">
                  <c:v>42990</c:v>
                </c:pt>
                <c:pt idx="2205">
                  <c:v>42991</c:v>
                </c:pt>
                <c:pt idx="2206">
                  <c:v>42992</c:v>
                </c:pt>
                <c:pt idx="2207">
                  <c:v>42993</c:v>
                </c:pt>
                <c:pt idx="2208">
                  <c:v>42994</c:v>
                </c:pt>
                <c:pt idx="2209">
                  <c:v>42995</c:v>
                </c:pt>
                <c:pt idx="2210">
                  <c:v>42996</c:v>
                </c:pt>
                <c:pt idx="2211">
                  <c:v>42997</c:v>
                </c:pt>
                <c:pt idx="2212">
                  <c:v>42998</c:v>
                </c:pt>
                <c:pt idx="2213">
                  <c:v>42999</c:v>
                </c:pt>
                <c:pt idx="2214">
                  <c:v>43000</c:v>
                </c:pt>
                <c:pt idx="2215">
                  <c:v>43001</c:v>
                </c:pt>
                <c:pt idx="2216">
                  <c:v>43002</c:v>
                </c:pt>
                <c:pt idx="2217">
                  <c:v>43003</c:v>
                </c:pt>
                <c:pt idx="2218">
                  <c:v>43004</c:v>
                </c:pt>
                <c:pt idx="2219">
                  <c:v>43005</c:v>
                </c:pt>
                <c:pt idx="2220">
                  <c:v>43006</c:v>
                </c:pt>
                <c:pt idx="2221">
                  <c:v>43007</c:v>
                </c:pt>
                <c:pt idx="2222">
                  <c:v>43008</c:v>
                </c:pt>
                <c:pt idx="2223">
                  <c:v>43009</c:v>
                </c:pt>
                <c:pt idx="2224">
                  <c:v>43010</c:v>
                </c:pt>
                <c:pt idx="2225">
                  <c:v>43011</c:v>
                </c:pt>
                <c:pt idx="2226">
                  <c:v>43012</c:v>
                </c:pt>
                <c:pt idx="2227">
                  <c:v>43013</c:v>
                </c:pt>
                <c:pt idx="2228">
                  <c:v>43014</c:v>
                </c:pt>
                <c:pt idx="2229">
                  <c:v>43015</c:v>
                </c:pt>
                <c:pt idx="2230">
                  <c:v>43016</c:v>
                </c:pt>
                <c:pt idx="2231">
                  <c:v>43017</c:v>
                </c:pt>
                <c:pt idx="2232">
                  <c:v>43018</c:v>
                </c:pt>
                <c:pt idx="2233">
                  <c:v>43019</c:v>
                </c:pt>
                <c:pt idx="2234">
                  <c:v>43020</c:v>
                </c:pt>
                <c:pt idx="2235">
                  <c:v>43021</c:v>
                </c:pt>
                <c:pt idx="2236">
                  <c:v>43022</c:v>
                </c:pt>
                <c:pt idx="2237">
                  <c:v>43023</c:v>
                </c:pt>
                <c:pt idx="2238">
                  <c:v>43024</c:v>
                </c:pt>
                <c:pt idx="2239">
                  <c:v>43025</c:v>
                </c:pt>
                <c:pt idx="2240">
                  <c:v>43026</c:v>
                </c:pt>
                <c:pt idx="2241">
                  <c:v>43027</c:v>
                </c:pt>
                <c:pt idx="2242">
                  <c:v>43028</c:v>
                </c:pt>
                <c:pt idx="2243">
                  <c:v>43029</c:v>
                </c:pt>
                <c:pt idx="2244">
                  <c:v>43030</c:v>
                </c:pt>
                <c:pt idx="2245">
                  <c:v>43031</c:v>
                </c:pt>
                <c:pt idx="2246">
                  <c:v>43032</c:v>
                </c:pt>
                <c:pt idx="2247">
                  <c:v>43033</c:v>
                </c:pt>
                <c:pt idx="2248">
                  <c:v>43034</c:v>
                </c:pt>
                <c:pt idx="2249">
                  <c:v>43035</c:v>
                </c:pt>
                <c:pt idx="2250">
                  <c:v>43036</c:v>
                </c:pt>
                <c:pt idx="2251">
                  <c:v>43037</c:v>
                </c:pt>
                <c:pt idx="2252">
                  <c:v>43038</c:v>
                </c:pt>
                <c:pt idx="2253">
                  <c:v>43039</c:v>
                </c:pt>
                <c:pt idx="2254">
                  <c:v>43040</c:v>
                </c:pt>
                <c:pt idx="2255">
                  <c:v>43041</c:v>
                </c:pt>
                <c:pt idx="2256">
                  <c:v>43042</c:v>
                </c:pt>
                <c:pt idx="2257">
                  <c:v>43043</c:v>
                </c:pt>
                <c:pt idx="2258">
                  <c:v>43044</c:v>
                </c:pt>
                <c:pt idx="2259">
                  <c:v>43045</c:v>
                </c:pt>
                <c:pt idx="2260">
                  <c:v>43046</c:v>
                </c:pt>
                <c:pt idx="2261">
                  <c:v>43047</c:v>
                </c:pt>
                <c:pt idx="2262">
                  <c:v>43048</c:v>
                </c:pt>
                <c:pt idx="2263">
                  <c:v>43049</c:v>
                </c:pt>
                <c:pt idx="2264">
                  <c:v>43050</c:v>
                </c:pt>
                <c:pt idx="2265">
                  <c:v>43051</c:v>
                </c:pt>
                <c:pt idx="2266">
                  <c:v>43052</c:v>
                </c:pt>
                <c:pt idx="2267">
                  <c:v>43053</c:v>
                </c:pt>
                <c:pt idx="2268">
                  <c:v>43054</c:v>
                </c:pt>
                <c:pt idx="2269">
                  <c:v>43055</c:v>
                </c:pt>
                <c:pt idx="2270">
                  <c:v>43056</c:v>
                </c:pt>
                <c:pt idx="2271">
                  <c:v>43057</c:v>
                </c:pt>
                <c:pt idx="2272">
                  <c:v>43058</c:v>
                </c:pt>
                <c:pt idx="2273">
                  <c:v>43059</c:v>
                </c:pt>
                <c:pt idx="2274">
                  <c:v>43060</c:v>
                </c:pt>
                <c:pt idx="2275">
                  <c:v>43061</c:v>
                </c:pt>
                <c:pt idx="2276">
                  <c:v>43062</c:v>
                </c:pt>
                <c:pt idx="2277">
                  <c:v>43063</c:v>
                </c:pt>
                <c:pt idx="2278">
                  <c:v>43064</c:v>
                </c:pt>
                <c:pt idx="2279">
                  <c:v>43065</c:v>
                </c:pt>
                <c:pt idx="2280">
                  <c:v>43066</c:v>
                </c:pt>
                <c:pt idx="2281">
                  <c:v>43067</c:v>
                </c:pt>
                <c:pt idx="2282">
                  <c:v>43068</c:v>
                </c:pt>
                <c:pt idx="2283">
                  <c:v>43069</c:v>
                </c:pt>
                <c:pt idx="2284">
                  <c:v>43070</c:v>
                </c:pt>
                <c:pt idx="2285">
                  <c:v>43071</c:v>
                </c:pt>
                <c:pt idx="2286">
                  <c:v>43072</c:v>
                </c:pt>
                <c:pt idx="2287">
                  <c:v>43073</c:v>
                </c:pt>
                <c:pt idx="2288">
                  <c:v>43074</c:v>
                </c:pt>
                <c:pt idx="2289">
                  <c:v>43075</c:v>
                </c:pt>
                <c:pt idx="2290">
                  <c:v>43076</c:v>
                </c:pt>
                <c:pt idx="2291">
                  <c:v>43077</c:v>
                </c:pt>
                <c:pt idx="2292">
                  <c:v>43078</c:v>
                </c:pt>
                <c:pt idx="2293">
                  <c:v>43079</c:v>
                </c:pt>
                <c:pt idx="2294">
                  <c:v>43080</c:v>
                </c:pt>
                <c:pt idx="2295">
                  <c:v>43081</c:v>
                </c:pt>
                <c:pt idx="2296">
                  <c:v>43082</c:v>
                </c:pt>
                <c:pt idx="2297">
                  <c:v>43083</c:v>
                </c:pt>
                <c:pt idx="2298">
                  <c:v>43084</c:v>
                </c:pt>
                <c:pt idx="2299">
                  <c:v>43085</c:v>
                </c:pt>
                <c:pt idx="2300">
                  <c:v>43086</c:v>
                </c:pt>
                <c:pt idx="2301">
                  <c:v>43087</c:v>
                </c:pt>
                <c:pt idx="2302">
                  <c:v>43088</c:v>
                </c:pt>
                <c:pt idx="2303">
                  <c:v>43089</c:v>
                </c:pt>
                <c:pt idx="2304">
                  <c:v>43090</c:v>
                </c:pt>
                <c:pt idx="2305">
                  <c:v>43091</c:v>
                </c:pt>
                <c:pt idx="2306">
                  <c:v>43092</c:v>
                </c:pt>
                <c:pt idx="2307">
                  <c:v>43093</c:v>
                </c:pt>
                <c:pt idx="2308">
                  <c:v>43094</c:v>
                </c:pt>
                <c:pt idx="2309">
                  <c:v>43095</c:v>
                </c:pt>
                <c:pt idx="2310">
                  <c:v>43096</c:v>
                </c:pt>
                <c:pt idx="2311">
                  <c:v>43097</c:v>
                </c:pt>
                <c:pt idx="2312">
                  <c:v>43098</c:v>
                </c:pt>
                <c:pt idx="2313">
                  <c:v>43099</c:v>
                </c:pt>
                <c:pt idx="2314">
                  <c:v>43100</c:v>
                </c:pt>
                <c:pt idx="2315">
                  <c:v>43101</c:v>
                </c:pt>
                <c:pt idx="2316">
                  <c:v>43102</c:v>
                </c:pt>
                <c:pt idx="2317">
                  <c:v>43103</c:v>
                </c:pt>
                <c:pt idx="2318">
                  <c:v>43104</c:v>
                </c:pt>
                <c:pt idx="2319">
                  <c:v>43105</c:v>
                </c:pt>
                <c:pt idx="2320">
                  <c:v>43106</c:v>
                </c:pt>
                <c:pt idx="2321">
                  <c:v>43107</c:v>
                </c:pt>
                <c:pt idx="2322">
                  <c:v>43108</c:v>
                </c:pt>
                <c:pt idx="2323">
                  <c:v>43109</c:v>
                </c:pt>
                <c:pt idx="2324">
                  <c:v>43110</c:v>
                </c:pt>
                <c:pt idx="2325">
                  <c:v>43111</c:v>
                </c:pt>
                <c:pt idx="2326">
                  <c:v>43112</c:v>
                </c:pt>
                <c:pt idx="2327">
                  <c:v>43113</c:v>
                </c:pt>
                <c:pt idx="2328">
                  <c:v>43114</c:v>
                </c:pt>
                <c:pt idx="2329">
                  <c:v>43115</c:v>
                </c:pt>
                <c:pt idx="2330">
                  <c:v>43116</c:v>
                </c:pt>
                <c:pt idx="2331">
                  <c:v>43117</c:v>
                </c:pt>
                <c:pt idx="2332">
                  <c:v>43118</c:v>
                </c:pt>
                <c:pt idx="2333">
                  <c:v>43119</c:v>
                </c:pt>
                <c:pt idx="2334">
                  <c:v>43120</c:v>
                </c:pt>
                <c:pt idx="2335">
                  <c:v>43121</c:v>
                </c:pt>
                <c:pt idx="2336">
                  <c:v>43122</c:v>
                </c:pt>
                <c:pt idx="2337">
                  <c:v>43123</c:v>
                </c:pt>
                <c:pt idx="2338">
                  <c:v>43124</c:v>
                </c:pt>
                <c:pt idx="2339">
                  <c:v>43125</c:v>
                </c:pt>
                <c:pt idx="2340">
                  <c:v>43126</c:v>
                </c:pt>
                <c:pt idx="2341">
                  <c:v>43127</c:v>
                </c:pt>
                <c:pt idx="2342">
                  <c:v>43128</c:v>
                </c:pt>
                <c:pt idx="2343">
                  <c:v>43129</c:v>
                </c:pt>
                <c:pt idx="2344">
                  <c:v>43130</c:v>
                </c:pt>
                <c:pt idx="2345">
                  <c:v>43131</c:v>
                </c:pt>
                <c:pt idx="2346">
                  <c:v>43132</c:v>
                </c:pt>
                <c:pt idx="2347">
                  <c:v>43133</c:v>
                </c:pt>
                <c:pt idx="2348">
                  <c:v>43134</c:v>
                </c:pt>
                <c:pt idx="2349">
                  <c:v>43135</c:v>
                </c:pt>
                <c:pt idx="2350">
                  <c:v>43136</c:v>
                </c:pt>
                <c:pt idx="2351">
                  <c:v>43137</c:v>
                </c:pt>
                <c:pt idx="2352">
                  <c:v>43138</c:v>
                </c:pt>
                <c:pt idx="2353">
                  <c:v>43139</c:v>
                </c:pt>
                <c:pt idx="2354">
                  <c:v>43140</c:v>
                </c:pt>
                <c:pt idx="2355">
                  <c:v>43141</c:v>
                </c:pt>
                <c:pt idx="2356">
                  <c:v>43142</c:v>
                </c:pt>
                <c:pt idx="2357">
                  <c:v>43143</c:v>
                </c:pt>
                <c:pt idx="2358">
                  <c:v>43144</c:v>
                </c:pt>
                <c:pt idx="2359">
                  <c:v>43145</c:v>
                </c:pt>
                <c:pt idx="2360">
                  <c:v>43146</c:v>
                </c:pt>
                <c:pt idx="2361">
                  <c:v>43147</c:v>
                </c:pt>
                <c:pt idx="2362">
                  <c:v>43148</c:v>
                </c:pt>
                <c:pt idx="2363">
                  <c:v>43149</c:v>
                </c:pt>
                <c:pt idx="2364">
                  <c:v>43150</c:v>
                </c:pt>
                <c:pt idx="2365">
                  <c:v>43151</c:v>
                </c:pt>
                <c:pt idx="2366">
                  <c:v>43152</c:v>
                </c:pt>
                <c:pt idx="2367">
                  <c:v>43153</c:v>
                </c:pt>
                <c:pt idx="2368">
                  <c:v>43154</c:v>
                </c:pt>
                <c:pt idx="2369">
                  <c:v>43155</c:v>
                </c:pt>
                <c:pt idx="2370">
                  <c:v>43156</c:v>
                </c:pt>
                <c:pt idx="2371">
                  <c:v>43157</c:v>
                </c:pt>
                <c:pt idx="2372">
                  <c:v>43158</c:v>
                </c:pt>
                <c:pt idx="2373">
                  <c:v>43159</c:v>
                </c:pt>
                <c:pt idx="2374">
                  <c:v>43160</c:v>
                </c:pt>
                <c:pt idx="2375">
                  <c:v>43161</c:v>
                </c:pt>
                <c:pt idx="2376">
                  <c:v>43162</c:v>
                </c:pt>
                <c:pt idx="2377">
                  <c:v>43163</c:v>
                </c:pt>
                <c:pt idx="2378">
                  <c:v>43164</c:v>
                </c:pt>
                <c:pt idx="2379">
                  <c:v>43165</c:v>
                </c:pt>
                <c:pt idx="2380">
                  <c:v>43166</c:v>
                </c:pt>
                <c:pt idx="2381">
                  <c:v>43167</c:v>
                </c:pt>
                <c:pt idx="2382">
                  <c:v>43168</c:v>
                </c:pt>
                <c:pt idx="2383">
                  <c:v>43169</c:v>
                </c:pt>
                <c:pt idx="2384">
                  <c:v>43170</c:v>
                </c:pt>
                <c:pt idx="2385">
                  <c:v>43171</c:v>
                </c:pt>
                <c:pt idx="2386">
                  <c:v>43172</c:v>
                </c:pt>
                <c:pt idx="2387">
                  <c:v>43173</c:v>
                </c:pt>
                <c:pt idx="2388">
                  <c:v>43174</c:v>
                </c:pt>
                <c:pt idx="2389">
                  <c:v>43175</c:v>
                </c:pt>
                <c:pt idx="2390">
                  <c:v>43176</c:v>
                </c:pt>
                <c:pt idx="2391">
                  <c:v>43177</c:v>
                </c:pt>
                <c:pt idx="2392">
                  <c:v>43178</c:v>
                </c:pt>
                <c:pt idx="2393">
                  <c:v>43179</c:v>
                </c:pt>
                <c:pt idx="2394">
                  <c:v>43180</c:v>
                </c:pt>
                <c:pt idx="2395">
                  <c:v>43181</c:v>
                </c:pt>
                <c:pt idx="2396">
                  <c:v>43182</c:v>
                </c:pt>
                <c:pt idx="2397">
                  <c:v>43183</c:v>
                </c:pt>
                <c:pt idx="2398">
                  <c:v>43184</c:v>
                </c:pt>
                <c:pt idx="2399">
                  <c:v>43185</c:v>
                </c:pt>
                <c:pt idx="2400">
                  <c:v>43186</c:v>
                </c:pt>
                <c:pt idx="2401">
                  <c:v>43187</c:v>
                </c:pt>
                <c:pt idx="2402">
                  <c:v>43188</c:v>
                </c:pt>
                <c:pt idx="2403">
                  <c:v>43189</c:v>
                </c:pt>
                <c:pt idx="2404">
                  <c:v>43190</c:v>
                </c:pt>
                <c:pt idx="2405">
                  <c:v>43191</c:v>
                </c:pt>
                <c:pt idx="2406">
                  <c:v>43192</c:v>
                </c:pt>
                <c:pt idx="2407">
                  <c:v>43193</c:v>
                </c:pt>
                <c:pt idx="2408">
                  <c:v>43194</c:v>
                </c:pt>
                <c:pt idx="2409">
                  <c:v>43195</c:v>
                </c:pt>
                <c:pt idx="2410">
                  <c:v>43196</c:v>
                </c:pt>
                <c:pt idx="2411">
                  <c:v>43197</c:v>
                </c:pt>
                <c:pt idx="2412">
                  <c:v>43198</c:v>
                </c:pt>
                <c:pt idx="2413">
                  <c:v>43199</c:v>
                </c:pt>
                <c:pt idx="2414">
                  <c:v>43200</c:v>
                </c:pt>
                <c:pt idx="2415">
                  <c:v>43201</c:v>
                </c:pt>
                <c:pt idx="2416">
                  <c:v>43202</c:v>
                </c:pt>
                <c:pt idx="2417">
                  <c:v>43203</c:v>
                </c:pt>
                <c:pt idx="2418">
                  <c:v>43204</c:v>
                </c:pt>
                <c:pt idx="2419">
                  <c:v>43205</c:v>
                </c:pt>
                <c:pt idx="2420">
                  <c:v>43206</c:v>
                </c:pt>
                <c:pt idx="2421">
                  <c:v>43207</c:v>
                </c:pt>
                <c:pt idx="2422">
                  <c:v>43208</c:v>
                </c:pt>
                <c:pt idx="2423">
                  <c:v>43209</c:v>
                </c:pt>
                <c:pt idx="2424">
                  <c:v>43210</c:v>
                </c:pt>
                <c:pt idx="2425">
                  <c:v>43211</c:v>
                </c:pt>
                <c:pt idx="2426">
                  <c:v>43212</c:v>
                </c:pt>
                <c:pt idx="2427">
                  <c:v>43213</c:v>
                </c:pt>
                <c:pt idx="2428">
                  <c:v>43214</c:v>
                </c:pt>
                <c:pt idx="2429">
                  <c:v>43215</c:v>
                </c:pt>
                <c:pt idx="2430">
                  <c:v>43216</c:v>
                </c:pt>
                <c:pt idx="2431">
                  <c:v>43217</c:v>
                </c:pt>
                <c:pt idx="2432">
                  <c:v>43218</c:v>
                </c:pt>
                <c:pt idx="2433">
                  <c:v>43219</c:v>
                </c:pt>
                <c:pt idx="2434">
                  <c:v>43220</c:v>
                </c:pt>
                <c:pt idx="2435">
                  <c:v>43221</c:v>
                </c:pt>
                <c:pt idx="2436">
                  <c:v>43222</c:v>
                </c:pt>
                <c:pt idx="2437">
                  <c:v>43223</c:v>
                </c:pt>
                <c:pt idx="2438">
                  <c:v>43224</c:v>
                </c:pt>
                <c:pt idx="2439">
                  <c:v>43225</c:v>
                </c:pt>
                <c:pt idx="2440">
                  <c:v>43226</c:v>
                </c:pt>
                <c:pt idx="2441">
                  <c:v>43227</c:v>
                </c:pt>
                <c:pt idx="2442">
                  <c:v>43228</c:v>
                </c:pt>
                <c:pt idx="2443">
                  <c:v>43229</c:v>
                </c:pt>
                <c:pt idx="2444">
                  <c:v>43230</c:v>
                </c:pt>
                <c:pt idx="2445">
                  <c:v>43231</c:v>
                </c:pt>
                <c:pt idx="2446">
                  <c:v>43232</c:v>
                </c:pt>
                <c:pt idx="2447">
                  <c:v>43233</c:v>
                </c:pt>
                <c:pt idx="2448">
                  <c:v>43234</c:v>
                </c:pt>
                <c:pt idx="2449">
                  <c:v>43235</c:v>
                </c:pt>
                <c:pt idx="2450">
                  <c:v>43236</c:v>
                </c:pt>
                <c:pt idx="2451">
                  <c:v>43237</c:v>
                </c:pt>
                <c:pt idx="2452">
                  <c:v>43238</c:v>
                </c:pt>
                <c:pt idx="2453">
                  <c:v>43239</c:v>
                </c:pt>
                <c:pt idx="2454">
                  <c:v>43240</c:v>
                </c:pt>
                <c:pt idx="2455">
                  <c:v>43241</c:v>
                </c:pt>
                <c:pt idx="2456">
                  <c:v>43242</c:v>
                </c:pt>
                <c:pt idx="2457">
                  <c:v>43243</c:v>
                </c:pt>
                <c:pt idx="2458">
                  <c:v>43244</c:v>
                </c:pt>
                <c:pt idx="2459">
                  <c:v>43245</c:v>
                </c:pt>
                <c:pt idx="2460">
                  <c:v>43246</c:v>
                </c:pt>
                <c:pt idx="2461">
                  <c:v>43247</c:v>
                </c:pt>
                <c:pt idx="2462">
                  <c:v>43248</c:v>
                </c:pt>
                <c:pt idx="2463">
                  <c:v>43249</c:v>
                </c:pt>
                <c:pt idx="2464">
                  <c:v>43250</c:v>
                </c:pt>
                <c:pt idx="2465">
                  <c:v>43251</c:v>
                </c:pt>
                <c:pt idx="2466">
                  <c:v>43252</c:v>
                </c:pt>
                <c:pt idx="2467">
                  <c:v>43253</c:v>
                </c:pt>
                <c:pt idx="2468">
                  <c:v>43254</c:v>
                </c:pt>
                <c:pt idx="2469">
                  <c:v>43255</c:v>
                </c:pt>
                <c:pt idx="2470">
                  <c:v>43256</c:v>
                </c:pt>
                <c:pt idx="2471">
                  <c:v>43257</c:v>
                </c:pt>
                <c:pt idx="2472">
                  <c:v>43258</c:v>
                </c:pt>
                <c:pt idx="2473">
                  <c:v>43259</c:v>
                </c:pt>
                <c:pt idx="2474">
                  <c:v>43260</c:v>
                </c:pt>
                <c:pt idx="2475">
                  <c:v>43261</c:v>
                </c:pt>
                <c:pt idx="2476">
                  <c:v>43262</c:v>
                </c:pt>
                <c:pt idx="2477">
                  <c:v>43263</c:v>
                </c:pt>
                <c:pt idx="2478">
                  <c:v>43264</c:v>
                </c:pt>
                <c:pt idx="2479">
                  <c:v>43265</c:v>
                </c:pt>
                <c:pt idx="2480">
                  <c:v>43266</c:v>
                </c:pt>
                <c:pt idx="2481">
                  <c:v>43267</c:v>
                </c:pt>
                <c:pt idx="2482">
                  <c:v>43268</c:v>
                </c:pt>
                <c:pt idx="2483">
                  <c:v>43269</c:v>
                </c:pt>
                <c:pt idx="2484">
                  <c:v>43270</c:v>
                </c:pt>
                <c:pt idx="2485">
                  <c:v>43271</c:v>
                </c:pt>
                <c:pt idx="2486">
                  <c:v>43272</c:v>
                </c:pt>
                <c:pt idx="2487">
                  <c:v>43273</c:v>
                </c:pt>
                <c:pt idx="2488">
                  <c:v>43274</c:v>
                </c:pt>
                <c:pt idx="2489">
                  <c:v>43275</c:v>
                </c:pt>
                <c:pt idx="2490">
                  <c:v>43276</c:v>
                </c:pt>
                <c:pt idx="2491">
                  <c:v>43277</c:v>
                </c:pt>
                <c:pt idx="2492">
                  <c:v>43278</c:v>
                </c:pt>
                <c:pt idx="2493">
                  <c:v>43279</c:v>
                </c:pt>
                <c:pt idx="2494">
                  <c:v>43280</c:v>
                </c:pt>
                <c:pt idx="2495">
                  <c:v>43281</c:v>
                </c:pt>
                <c:pt idx="2496">
                  <c:v>43282</c:v>
                </c:pt>
                <c:pt idx="2497">
                  <c:v>43283</c:v>
                </c:pt>
                <c:pt idx="2498">
                  <c:v>43284</c:v>
                </c:pt>
                <c:pt idx="2499">
                  <c:v>43285</c:v>
                </c:pt>
                <c:pt idx="2500">
                  <c:v>43286</c:v>
                </c:pt>
                <c:pt idx="2501">
                  <c:v>43287</c:v>
                </c:pt>
                <c:pt idx="2502">
                  <c:v>43288</c:v>
                </c:pt>
                <c:pt idx="2503">
                  <c:v>43289</c:v>
                </c:pt>
                <c:pt idx="2504">
                  <c:v>43290</c:v>
                </c:pt>
                <c:pt idx="2505">
                  <c:v>43291</c:v>
                </c:pt>
                <c:pt idx="2506">
                  <c:v>43292</c:v>
                </c:pt>
                <c:pt idx="2507">
                  <c:v>43293</c:v>
                </c:pt>
                <c:pt idx="2508">
                  <c:v>43294</c:v>
                </c:pt>
                <c:pt idx="2509">
                  <c:v>43295</c:v>
                </c:pt>
                <c:pt idx="2510">
                  <c:v>43296</c:v>
                </c:pt>
                <c:pt idx="2511">
                  <c:v>43297</c:v>
                </c:pt>
                <c:pt idx="2512">
                  <c:v>43298</c:v>
                </c:pt>
                <c:pt idx="2513">
                  <c:v>43299</c:v>
                </c:pt>
                <c:pt idx="2514">
                  <c:v>43300</c:v>
                </c:pt>
                <c:pt idx="2515">
                  <c:v>43301</c:v>
                </c:pt>
                <c:pt idx="2516">
                  <c:v>43302</c:v>
                </c:pt>
                <c:pt idx="2517">
                  <c:v>43303</c:v>
                </c:pt>
                <c:pt idx="2518">
                  <c:v>43304</c:v>
                </c:pt>
                <c:pt idx="2519">
                  <c:v>43305</c:v>
                </c:pt>
                <c:pt idx="2520">
                  <c:v>43306</c:v>
                </c:pt>
                <c:pt idx="2521">
                  <c:v>43307</c:v>
                </c:pt>
                <c:pt idx="2522">
                  <c:v>43308</c:v>
                </c:pt>
                <c:pt idx="2523">
                  <c:v>43309</c:v>
                </c:pt>
                <c:pt idx="2524">
                  <c:v>43310</c:v>
                </c:pt>
                <c:pt idx="2525">
                  <c:v>43311</c:v>
                </c:pt>
                <c:pt idx="2526">
                  <c:v>43312</c:v>
                </c:pt>
                <c:pt idx="2527">
                  <c:v>43313</c:v>
                </c:pt>
                <c:pt idx="2528">
                  <c:v>43314</c:v>
                </c:pt>
                <c:pt idx="2529">
                  <c:v>43315</c:v>
                </c:pt>
                <c:pt idx="2530">
                  <c:v>43316</c:v>
                </c:pt>
                <c:pt idx="2531">
                  <c:v>43317</c:v>
                </c:pt>
                <c:pt idx="2532">
                  <c:v>43318</c:v>
                </c:pt>
                <c:pt idx="2533">
                  <c:v>43319</c:v>
                </c:pt>
                <c:pt idx="2534">
                  <c:v>43320</c:v>
                </c:pt>
                <c:pt idx="2535">
                  <c:v>43321</c:v>
                </c:pt>
                <c:pt idx="2536">
                  <c:v>43322</c:v>
                </c:pt>
                <c:pt idx="2537">
                  <c:v>43323</c:v>
                </c:pt>
                <c:pt idx="2538">
                  <c:v>43324</c:v>
                </c:pt>
                <c:pt idx="2539">
                  <c:v>43325</c:v>
                </c:pt>
                <c:pt idx="2540">
                  <c:v>43326</c:v>
                </c:pt>
                <c:pt idx="2541">
                  <c:v>43327</c:v>
                </c:pt>
                <c:pt idx="2542">
                  <c:v>43328</c:v>
                </c:pt>
                <c:pt idx="2543">
                  <c:v>43329</c:v>
                </c:pt>
                <c:pt idx="2544">
                  <c:v>43330</c:v>
                </c:pt>
                <c:pt idx="2545">
                  <c:v>43331</c:v>
                </c:pt>
                <c:pt idx="2546">
                  <c:v>43332</c:v>
                </c:pt>
                <c:pt idx="2547">
                  <c:v>43333</c:v>
                </c:pt>
                <c:pt idx="2548">
                  <c:v>43334</c:v>
                </c:pt>
                <c:pt idx="2549">
                  <c:v>43335</c:v>
                </c:pt>
                <c:pt idx="2550">
                  <c:v>43336</c:v>
                </c:pt>
                <c:pt idx="2551">
                  <c:v>43337</c:v>
                </c:pt>
                <c:pt idx="2552">
                  <c:v>43338</c:v>
                </c:pt>
                <c:pt idx="2553">
                  <c:v>43339</c:v>
                </c:pt>
                <c:pt idx="2554">
                  <c:v>43340</c:v>
                </c:pt>
                <c:pt idx="2555">
                  <c:v>43341</c:v>
                </c:pt>
                <c:pt idx="2556">
                  <c:v>43342</c:v>
                </c:pt>
                <c:pt idx="2557">
                  <c:v>43343</c:v>
                </c:pt>
                <c:pt idx="2558">
                  <c:v>43344</c:v>
                </c:pt>
                <c:pt idx="2559">
                  <c:v>43345</c:v>
                </c:pt>
                <c:pt idx="2560">
                  <c:v>43346</c:v>
                </c:pt>
                <c:pt idx="2561">
                  <c:v>43347</c:v>
                </c:pt>
                <c:pt idx="2562">
                  <c:v>43348</c:v>
                </c:pt>
                <c:pt idx="2563">
                  <c:v>43349</c:v>
                </c:pt>
                <c:pt idx="2564">
                  <c:v>43350</c:v>
                </c:pt>
                <c:pt idx="2565">
                  <c:v>43351</c:v>
                </c:pt>
                <c:pt idx="2566">
                  <c:v>43352</c:v>
                </c:pt>
                <c:pt idx="2567">
                  <c:v>43353</c:v>
                </c:pt>
                <c:pt idx="2568">
                  <c:v>43354</c:v>
                </c:pt>
                <c:pt idx="2569">
                  <c:v>43355</c:v>
                </c:pt>
                <c:pt idx="2570">
                  <c:v>43356</c:v>
                </c:pt>
                <c:pt idx="2571">
                  <c:v>43357</c:v>
                </c:pt>
                <c:pt idx="2572">
                  <c:v>43358</c:v>
                </c:pt>
                <c:pt idx="2573">
                  <c:v>43359</c:v>
                </c:pt>
                <c:pt idx="2574">
                  <c:v>43360</c:v>
                </c:pt>
                <c:pt idx="2575">
                  <c:v>43361</c:v>
                </c:pt>
                <c:pt idx="2576">
                  <c:v>43362</c:v>
                </c:pt>
                <c:pt idx="2577">
                  <c:v>43363</c:v>
                </c:pt>
                <c:pt idx="2578">
                  <c:v>43364</c:v>
                </c:pt>
                <c:pt idx="2579">
                  <c:v>43365</c:v>
                </c:pt>
                <c:pt idx="2580">
                  <c:v>43366</c:v>
                </c:pt>
                <c:pt idx="2581">
                  <c:v>43367</c:v>
                </c:pt>
                <c:pt idx="2582">
                  <c:v>43368</c:v>
                </c:pt>
                <c:pt idx="2583">
                  <c:v>43369</c:v>
                </c:pt>
                <c:pt idx="2584">
                  <c:v>43370</c:v>
                </c:pt>
                <c:pt idx="2585">
                  <c:v>43371</c:v>
                </c:pt>
                <c:pt idx="2586">
                  <c:v>43372</c:v>
                </c:pt>
                <c:pt idx="2587">
                  <c:v>43373</c:v>
                </c:pt>
                <c:pt idx="2588">
                  <c:v>43374</c:v>
                </c:pt>
                <c:pt idx="2589">
                  <c:v>43375</c:v>
                </c:pt>
                <c:pt idx="2590">
                  <c:v>43376</c:v>
                </c:pt>
                <c:pt idx="2591">
                  <c:v>43377</c:v>
                </c:pt>
                <c:pt idx="2592">
                  <c:v>43378</c:v>
                </c:pt>
                <c:pt idx="2593">
                  <c:v>43379</c:v>
                </c:pt>
                <c:pt idx="2594">
                  <c:v>43380</c:v>
                </c:pt>
                <c:pt idx="2595">
                  <c:v>43381</c:v>
                </c:pt>
                <c:pt idx="2596">
                  <c:v>43382</c:v>
                </c:pt>
                <c:pt idx="2597">
                  <c:v>43383</c:v>
                </c:pt>
                <c:pt idx="2598">
                  <c:v>43384</c:v>
                </c:pt>
                <c:pt idx="2599">
                  <c:v>43385</c:v>
                </c:pt>
                <c:pt idx="2600">
                  <c:v>43386</c:v>
                </c:pt>
                <c:pt idx="2601">
                  <c:v>43387</c:v>
                </c:pt>
                <c:pt idx="2602">
                  <c:v>43388</c:v>
                </c:pt>
                <c:pt idx="2603">
                  <c:v>43389</c:v>
                </c:pt>
                <c:pt idx="2604">
                  <c:v>43390</c:v>
                </c:pt>
                <c:pt idx="2605">
                  <c:v>43391</c:v>
                </c:pt>
                <c:pt idx="2606">
                  <c:v>43392</c:v>
                </c:pt>
                <c:pt idx="2607">
                  <c:v>43393</c:v>
                </c:pt>
                <c:pt idx="2608">
                  <c:v>43394</c:v>
                </c:pt>
                <c:pt idx="2609">
                  <c:v>43395</c:v>
                </c:pt>
                <c:pt idx="2610">
                  <c:v>43396</c:v>
                </c:pt>
                <c:pt idx="2611">
                  <c:v>43397</c:v>
                </c:pt>
                <c:pt idx="2612">
                  <c:v>43398</c:v>
                </c:pt>
                <c:pt idx="2613">
                  <c:v>43399</c:v>
                </c:pt>
                <c:pt idx="2614">
                  <c:v>43400</c:v>
                </c:pt>
                <c:pt idx="2615">
                  <c:v>43401</c:v>
                </c:pt>
                <c:pt idx="2616">
                  <c:v>43402</c:v>
                </c:pt>
                <c:pt idx="2617">
                  <c:v>43403</c:v>
                </c:pt>
                <c:pt idx="2618">
                  <c:v>43404</c:v>
                </c:pt>
                <c:pt idx="2619">
                  <c:v>43405</c:v>
                </c:pt>
                <c:pt idx="2620">
                  <c:v>43406</c:v>
                </c:pt>
                <c:pt idx="2621">
                  <c:v>43407</c:v>
                </c:pt>
                <c:pt idx="2622">
                  <c:v>43408</c:v>
                </c:pt>
                <c:pt idx="2623">
                  <c:v>43409</c:v>
                </c:pt>
                <c:pt idx="2624">
                  <c:v>43410</c:v>
                </c:pt>
                <c:pt idx="2625">
                  <c:v>43411</c:v>
                </c:pt>
                <c:pt idx="2626">
                  <c:v>43412</c:v>
                </c:pt>
                <c:pt idx="2627">
                  <c:v>43413</c:v>
                </c:pt>
                <c:pt idx="2628">
                  <c:v>43414</c:v>
                </c:pt>
                <c:pt idx="2629">
                  <c:v>43415</c:v>
                </c:pt>
                <c:pt idx="2630">
                  <c:v>43416</c:v>
                </c:pt>
                <c:pt idx="2631">
                  <c:v>43417</c:v>
                </c:pt>
                <c:pt idx="2632">
                  <c:v>43418</c:v>
                </c:pt>
                <c:pt idx="2633">
                  <c:v>43419</c:v>
                </c:pt>
                <c:pt idx="2634">
                  <c:v>43420</c:v>
                </c:pt>
                <c:pt idx="2635">
                  <c:v>43421</c:v>
                </c:pt>
                <c:pt idx="2636">
                  <c:v>43422</c:v>
                </c:pt>
                <c:pt idx="2637">
                  <c:v>43423</c:v>
                </c:pt>
                <c:pt idx="2638">
                  <c:v>43424</c:v>
                </c:pt>
                <c:pt idx="2639">
                  <c:v>43425</c:v>
                </c:pt>
                <c:pt idx="2640">
                  <c:v>43426</c:v>
                </c:pt>
                <c:pt idx="2641">
                  <c:v>43427</c:v>
                </c:pt>
                <c:pt idx="2642">
                  <c:v>43428</c:v>
                </c:pt>
                <c:pt idx="2643">
                  <c:v>43429</c:v>
                </c:pt>
                <c:pt idx="2644">
                  <c:v>43430</c:v>
                </c:pt>
                <c:pt idx="2645">
                  <c:v>43431</c:v>
                </c:pt>
                <c:pt idx="2646">
                  <c:v>43432</c:v>
                </c:pt>
                <c:pt idx="2647">
                  <c:v>43433</c:v>
                </c:pt>
                <c:pt idx="2648">
                  <c:v>43434</c:v>
                </c:pt>
                <c:pt idx="2649">
                  <c:v>43435</c:v>
                </c:pt>
                <c:pt idx="2650">
                  <c:v>43436</c:v>
                </c:pt>
                <c:pt idx="2651">
                  <c:v>43437</c:v>
                </c:pt>
                <c:pt idx="2652">
                  <c:v>43438</c:v>
                </c:pt>
                <c:pt idx="2653">
                  <c:v>43439</c:v>
                </c:pt>
                <c:pt idx="2654">
                  <c:v>43440</c:v>
                </c:pt>
                <c:pt idx="2655">
                  <c:v>43441</c:v>
                </c:pt>
                <c:pt idx="2656">
                  <c:v>43442</c:v>
                </c:pt>
                <c:pt idx="2657">
                  <c:v>43443</c:v>
                </c:pt>
                <c:pt idx="2658">
                  <c:v>43444</c:v>
                </c:pt>
                <c:pt idx="2659">
                  <c:v>43445</c:v>
                </c:pt>
                <c:pt idx="2660">
                  <c:v>43446</c:v>
                </c:pt>
                <c:pt idx="2661">
                  <c:v>43447</c:v>
                </c:pt>
                <c:pt idx="2662">
                  <c:v>43448</c:v>
                </c:pt>
                <c:pt idx="2663">
                  <c:v>43449</c:v>
                </c:pt>
                <c:pt idx="2664">
                  <c:v>43450</c:v>
                </c:pt>
                <c:pt idx="2665">
                  <c:v>43451</c:v>
                </c:pt>
                <c:pt idx="2666">
                  <c:v>43452</c:v>
                </c:pt>
                <c:pt idx="2667">
                  <c:v>43453</c:v>
                </c:pt>
                <c:pt idx="2668">
                  <c:v>43454</c:v>
                </c:pt>
                <c:pt idx="2669">
                  <c:v>43455</c:v>
                </c:pt>
                <c:pt idx="2670">
                  <c:v>43456</c:v>
                </c:pt>
                <c:pt idx="2671">
                  <c:v>43457</c:v>
                </c:pt>
                <c:pt idx="2672">
                  <c:v>43458</c:v>
                </c:pt>
                <c:pt idx="2673">
                  <c:v>43459</c:v>
                </c:pt>
                <c:pt idx="2674">
                  <c:v>43460</c:v>
                </c:pt>
                <c:pt idx="2675">
                  <c:v>43461</c:v>
                </c:pt>
                <c:pt idx="2676">
                  <c:v>43462</c:v>
                </c:pt>
                <c:pt idx="2677">
                  <c:v>43463</c:v>
                </c:pt>
                <c:pt idx="2678">
                  <c:v>43464</c:v>
                </c:pt>
                <c:pt idx="2679">
                  <c:v>43465</c:v>
                </c:pt>
                <c:pt idx="2680">
                  <c:v>43466</c:v>
                </c:pt>
                <c:pt idx="2681">
                  <c:v>43467</c:v>
                </c:pt>
                <c:pt idx="2682">
                  <c:v>43468</c:v>
                </c:pt>
                <c:pt idx="2683">
                  <c:v>43469</c:v>
                </c:pt>
                <c:pt idx="2684">
                  <c:v>43470</c:v>
                </c:pt>
                <c:pt idx="2685">
                  <c:v>43471</c:v>
                </c:pt>
                <c:pt idx="2686">
                  <c:v>43472</c:v>
                </c:pt>
                <c:pt idx="2687">
                  <c:v>43473</c:v>
                </c:pt>
                <c:pt idx="2688">
                  <c:v>43474</c:v>
                </c:pt>
                <c:pt idx="2689">
                  <c:v>43475</c:v>
                </c:pt>
                <c:pt idx="2690">
                  <c:v>43476</c:v>
                </c:pt>
                <c:pt idx="2691">
                  <c:v>43477</c:v>
                </c:pt>
                <c:pt idx="2692">
                  <c:v>43478</c:v>
                </c:pt>
                <c:pt idx="2693">
                  <c:v>43479</c:v>
                </c:pt>
                <c:pt idx="2694">
                  <c:v>43480</c:v>
                </c:pt>
                <c:pt idx="2695">
                  <c:v>43481</c:v>
                </c:pt>
                <c:pt idx="2696">
                  <c:v>43482</c:v>
                </c:pt>
                <c:pt idx="2697">
                  <c:v>43483</c:v>
                </c:pt>
                <c:pt idx="2698">
                  <c:v>43484</c:v>
                </c:pt>
                <c:pt idx="2699">
                  <c:v>43485</c:v>
                </c:pt>
                <c:pt idx="2700">
                  <c:v>43486</c:v>
                </c:pt>
                <c:pt idx="2701">
                  <c:v>43487</c:v>
                </c:pt>
                <c:pt idx="2702">
                  <c:v>43488</c:v>
                </c:pt>
                <c:pt idx="2703">
                  <c:v>43489</c:v>
                </c:pt>
                <c:pt idx="2704">
                  <c:v>43490</c:v>
                </c:pt>
                <c:pt idx="2705">
                  <c:v>43491</c:v>
                </c:pt>
                <c:pt idx="2706">
                  <c:v>43492</c:v>
                </c:pt>
                <c:pt idx="2707">
                  <c:v>43493</c:v>
                </c:pt>
                <c:pt idx="2708">
                  <c:v>43494</c:v>
                </c:pt>
                <c:pt idx="2709">
                  <c:v>43495</c:v>
                </c:pt>
                <c:pt idx="2710">
                  <c:v>43496</c:v>
                </c:pt>
                <c:pt idx="2711">
                  <c:v>43497</c:v>
                </c:pt>
                <c:pt idx="2712">
                  <c:v>43498</c:v>
                </c:pt>
                <c:pt idx="2713">
                  <c:v>43499</c:v>
                </c:pt>
                <c:pt idx="2714">
                  <c:v>43500</c:v>
                </c:pt>
                <c:pt idx="2715">
                  <c:v>43501</c:v>
                </c:pt>
                <c:pt idx="2716">
                  <c:v>43502</c:v>
                </c:pt>
                <c:pt idx="2717">
                  <c:v>43503</c:v>
                </c:pt>
                <c:pt idx="2718">
                  <c:v>43504</c:v>
                </c:pt>
                <c:pt idx="2719">
                  <c:v>43505</c:v>
                </c:pt>
                <c:pt idx="2720">
                  <c:v>43506</c:v>
                </c:pt>
                <c:pt idx="2721">
                  <c:v>43507</c:v>
                </c:pt>
                <c:pt idx="2722">
                  <c:v>43508</c:v>
                </c:pt>
                <c:pt idx="2723">
                  <c:v>43509</c:v>
                </c:pt>
                <c:pt idx="2724">
                  <c:v>43510</c:v>
                </c:pt>
                <c:pt idx="2725">
                  <c:v>43511</c:v>
                </c:pt>
                <c:pt idx="2726">
                  <c:v>43512</c:v>
                </c:pt>
                <c:pt idx="2727">
                  <c:v>43513</c:v>
                </c:pt>
                <c:pt idx="2728">
                  <c:v>43514</c:v>
                </c:pt>
                <c:pt idx="2729">
                  <c:v>43515</c:v>
                </c:pt>
                <c:pt idx="2730">
                  <c:v>43516</c:v>
                </c:pt>
                <c:pt idx="2731">
                  <c:v>43517</c:v>
                </c:pt>
                <c:pt idx="2732">
                  <c:v>43518</c:v>
                </c:pt>
                <c:pt idx="2733">
                  <c:v>43519</c:v>
                </c:pt>
                <c:pt idx="2734">
                  <c:v>43520</c:v>
                </c:pt>
                <c:pt idx="2735">
                  <c:v>43521</c:v>
                </c:pt>
                <c:pt idx="2736">
                  <c:v>43522</c:v>
                </c:pt>
                <c:pt idx="2737">
                  <c:v>43523</c:v>
                </c:pt>
                <c:pt idx="2738">
                  <c:v>43524</c:v>
                </c:pt>
                <c:pt idx="2739">
                  <c:v>43525</c:v>
                </c:pt>
                <c:pt idx="2740">
                  <c:v>43526</c:v>
                </c:pt>
                <c:pt idx="2741">
                  <c:v>43527</c:v>
                </c:pt>
                <c:pt idx="2742">
                  <c:v>43528</c:v>
                </c:pt>
                <c:pt idx="2743">
                  <c:v>43529</c:v>
                </c:pt>
                <c:pt idx="2744">
                  <c:v>43530</c:v>
                </c:pt>
                <c:pt idx="2745">
                  <c:v>43531</c:v>
                </c:pt>
                <c:pt idx="2746">
                  <c:v>43532</c:v>
                </c:pt>
                <c:pt idx="2747">
                  <c:v>43533</c:v>
                </c:pt>
                <c:pt idx="2748">
                  <c:v>43534</c:v>
                </c:pt>
                <c:pt idx="2749">
                  <c:v>43535</c:v>
                </c:pt>
                <c:pt idx="2750">
                  <c:v>43536</c:v>
                </c:pt>
                <c:pt idx="2751">
                  <c:v>43537</c:v>
                </c:pt>
                <c:pt idx="2752">
                  <c:v>43538</c:v>
                </c:pt>
                <c:pt idx="2753">
                  <c:v>43539</c:v>
                </c:pt>
                <c:pt idx="2754">
                  <c:v>43540</c:v>
                </c:pt>
                <c:pt idx="2755">
                  <c:v>43541</c:v>
                </c:pt>
                <c:pt idx="2756">
                  <c:v>43542</c:v>
                </c:pt>
                <c:pt idx="2757">
                  <c:v>43543</c:v>
                </c:pt>
                <c:pt idx="2758">
                  <c:v>43544</c:v>
                </c:pt>
                <c:pt idx="2759">
                  <c:v>43545</c:v>
                </c:pt>
                <c:pt idx="2760">
                  <c:v>43546</c:v>
                </c:pt>
                <c:pt idx="2761">
                  <c:v>43547</c:v>
                </c:pt>
                <c:pt idx="2762">
                  <c:v>43548</c:v>
                </c:pt>
                <c:pt idx="2763">
                  <c:v>43549</c:v>
                </c:pt>
                <c:pt idx="2764">
                  <c:v>43550</c:v>
                </c:pt>
                <c:pt idx="2765">
                  <c:v>43551</c:v>
                </c:pt>
                <c:pt idx="2766">
                  <c:v>43552</c:v>
                </c:pt>
                <c:pt idx="2767">
                  <c:v>43553</c:v>
                </c:pt>
                <c:pt idx="2768">
                  <c:v>43554</c:v>
                </c:pt>
                <c:pt idx="2769">
                  <c:v>43555</c:v>
                </c:pt>
                <c:pt idx="2770">
                  <c:v>43556</c:v>
                </c:pt>
                <c:pt idx="2771">
                  <c:v>43557</c:v>
                </c:pt>
                <c:pt idx="2772">
                  <c:v>43558</c:v>
                </c:pt>
                <c:pt idx="2773">
                  <c:v>43559</c:v>
                </c:pt>
                <c:pt idx="2774">
                  <c:v>43560</c:v>
                </c:pt>
                <c:pt idx="2775">
                  <c:v>43561</c:v>
                </c:pt>
                <c:pt idx="2776">
                  <c:v>43562</c:v>
                </c:pt>
                <c:pt idx="2777">
                  <c:v>43563</c:v>
                </c:pt>
                <c:pt idx="2778">
                  <c:v>43564</c:v>
                </c:pt>
                <c:pt idx="2779">
                  <c:v>43565</c:v>
                </c:pt>
                <c:pt idx="2780">
                  <c:v>43566</c:v>
                </c:pt>
                <c:pt idx="2781">
                  <c:v>43567</c:v>
                </c:pt>
                <c:pt idx="2782">
                  <c:v>43568</c:v>
                </c:pt>
                <c:pt idx="2783">
                  <c:v>43569</c:v>
                </c:pt>
                <c:pt idx="2784">
                  <c:v>43570</c:v>
                </c:pt>
                <c:pt idx="2785">
                  <c:v>43571</c:v>
                </c:pt>
                <c:pt idx="2786">
                  <c:v>43572</c:v>
                </c:pt>
                <c:pt idx="2787">
                  <c:v>43573</c:v>
                </c:pt>
                <c:pt idx="2788">
                  <c:v>43574</c:v>
                </c:pt>
                <c:pt idx="2789">
                  <c:v>43575</c:v>
                </c:pt>
                <c:pt idx="2790">
                  <c:v>43576</c:v>
                </c:pt>
                <c:pt idx="2791">
                  <c:v>43577</c:v>
                </c:pt>
                <c:pt idx="2792">
                  <c:v>43578</c:v>
                </c:pt>
                <c:pt idx="2793">
                  <c:v>43579</c:v>
                </c:pt>
                <c:pt idx="2794">
                  <c:v>43580</c:v>
                </c:pt>
                <c:pt idx="2795">
                  <c:v>43581</c:v>
                </c:pt>
                <c:pt idx="2796">
                  <c:v>43582</c:v>
                </c:pt>
                <c:pt idx="2797">
                  <c:v>43583</c:v>
                </c:pt>
                <c:pt idx="2798">
                  <c:v>43584</c:v>
                </c:pt>
                <c:pt idx="2799">
                  <c:v>43585</c:v>
                </c:pt>
                <c:pt idx="2800">
                  <c:v>43586</c:v>
                </c:pt>
                <c:pt idx="2801">
                  <c:v>43587</c:v>
                </c:pt>
                <c:pt idx="2802">
                  <c:v>43588</c:v>
                </c:pt>
                <c:pt idx="2803">
                  <c:v>43589</c:v>
                </c:pt>
                <c:pt idx="2804">
                  <c:v>43590</c:v>
                </c:pt>
                <c:pt idx="2805">
                  <c:v>43591</c:v>
                </c:pt>
                <c:pt idx="2806">
                  <c:v>43592</c:v>
                </c:pt>
                <c:pt idx="2807">
                  <c:v>43593</c:v>
                </c:pt>
                <c:pt idx="2808">
                  <c:v>43594</c:v>
                </c:pt>
                <c:pt idx="2809">
                  <c:v>43595</c:v>
                </c:pt>
                <c:pt idx="2810">
                  <c:v>43596</c:v>
                </c:pt>
                <c:pt idx="2811">
                  <c:v>43597</c:v>
                </c:pt>
                <c:pt idx="2812">
                  <c:v>43598</c:v>
                </c:pt>
                <c:pt idx="2813">
                  <c:v>43599</c:v>
                </c:pt>
                <c:pt idx="2814">
                  <c:v>43600</c:v>
                </c:pt>
                <c:pt idx="2815">
                  <c:v>43601</c:v>
                </c:pt>
                <c:pt idx="2816">
                  <c:v>43602</c:v>
                </c:pt>
                <c:pt idx="2817">
                  <c:v>43603</c:v>
                </c:pt>
                <c:pt idx="2818">
                  <c:v>43604</c:v>
                </c:pt>
                <c:pt idx="2819">
                  <c:v>43605</c:v>
                </c:pt>
                <c:pt idx="2820">
                  <c:v>43606</c:v>
                </c:pt>
                <c:pt idx="2821">
                  <c:v>43607</c:v>
                </c:pt>
                <c:pt idx="2822">
                  <c:v>43608</c:v>
                </c:pt>
                <c:pt idx="2823">
                  <c:v>43609</c:v>
                </c:pt>
                <c:pt idx="2824">
                  <c:v>43610</c:v>
                </c:pt>
                <c:pt idx="2825">
                  <c:v>43611</c:v>
                </c:pt>
                <c:pt idx="2826">
                  <c:v>43612</c:v>
                </c:pt>
                <c:pt idx="2827">
                  <c:v>43613</c:v>
                </c:pt>
                <c:pt idx="2828">
                  <c:v>43614</c:v>
                </c:pt>
                <c:pt idx="2829">
                  <c:v>43615</c:v>
                </c:pt>
                <c:pt idx="2830">
                  <c:v>43616</c:v>
                </c:pt>
                <c:pt idx="2831">
                  <c:v>43617</c:v>
                </c:pt>
                <c:pt idx="2832">
                  <c:v>43618</c:v>
                </c:pt>
                <c:pt idx="2833">
                  <c:v>43619</c:v>
                </c:pt>
                <c:pt idx="2834">
                  <c:v>43620</c:v>
                </c:pt>
                <c:pt idx="2835">
                  <c:v>43621</c:v>
                </c:pt>
                <c:pt idx="2836">
                  <c:v>43622</c:v>
                </c:pt>
                <c:pt idx="2837">
                  <c:v>43623</c:v>
                </c:pt>
                <c:pt idx="2838">
                  <c:v>43624</c:v>
                </c:pt>
                <c:pt idx="2839">
                  <c:v>43625</c:v>
                </c:pt>
                <c:pt idx="2840">
                  <c:v>43626</c:v>
                </c:pt>
                <c:pt idx="2841">
                  <c:v>43627</c:v>
                </c:pt>
                <c:pt idx="2842">
                  <c:v>43628</c:v>
                </c:pt>
                <c:pt idx="2843">
                  <c:v>43629</c:v>
                </c:pt>
                <c:pt idx="2844">
                  <c:v>43630</c:v>
                </c:pt>
                <c:pt idx="2845">
                  <c:v>43631</c:v>
                </c:pt>
                <c:pt idx="2846">
                  <c:v>43632</c:v>
                </c:pt>
                <c:pt idx="2847">
                  <c:v>43633</c:v>
                </c:pt>
                <c:pt idx="2848">
                  <c:v>43634</c:v>
                </c:pt>
                <c:pt idx="2849">
                  <c:v>43635</c:v>
                </c:pt>
                <c:pt idx="2850">
                  <c:v>43636</c:v>
                </c:pt>
                <c:pt idx="2851">
                  <c:v>43637</c:v>
                </c:pt>
                <c:pt idx="2852">
                  <c:v>43638</c:v>
                </c:pt>
                <c:pt idx="2853">
                  <c:v>43639</c:v>
                </c:pt>
                <c:pt idx="2854">
                  <c:v>43640</c:v>
                </c:pt>
                <c:pt idx="2855">
                  <c:v>43641</c:v>
                </c:pt>
                <c:pt idx="2856">
                  <c:v>43642</c:v>
                </c:pt>
                <c:pt idx="2857">
                  <c:v>43643</c:v>
                </c:pt>
                <c:pt idx="2858">
                  <c:v>43644</c:v>
                </c:pt>
                <c:pt idx="2859">
                  <c:v>43645</c:v>
                </c:pt>
                <c:pt idx="2860">
                  <c:v>43646</c:v>
                </c:pt>
                <c:pt idx="2861">
                  <c:v>43647</c:v>
                </c:pt>
                <c:pt idx="2862">
                  <c:v>43648</c:v>
                </c:pt>
                <c:pt idx="2863">
                  <c:v>43649</c:v>
                </c:pt>
                <c:pt idx="2864">
                  <c:v>43650</c:v>
                </c:pt>
                <c:pt idx="2865">
                  <c:v>43651</c:v>
                </c:pt>
                <c:pt idx="2866">
                  <c:v>43652</c:v>
                </c:pt>
                <c:pt idx="2867">
                  <c:v>43653</c:v>
                </c:pt>
                <c:pt idx="2868">
                  <c:v>43654</c:v>
                </c:pt>
                <c:pt idx="2869">
                  <c:v>43655</c:v>
                </c:pt>
                <c:pt idx="2870">
                  <c:v>43656</c:v>
                </c:pt>
                <c:pt idx="2871">
                  <c:v>43657</c:v>
                </c:pt>
                <c:pt idx="2872">
                  <c:v>43658</c:v>
                </c:pt>
                <c:pt idx="2873">
                  <c:v>43659</c:v>
                </c:pt>
                <c:pt idx="2874">
                  <c:v>43660</c:v>
                </c:pt>
                <c:pt idx="2875">
                  <c:v>43661</c:v>
                </c:pt>
                <c:pt idx="2876">
                  <c:v>43662</c:v>
                </c:pt>
                <c:pt idx="2877">
                  <c:v>43663</c:v>
                </c:pt>
                <c:pt idx="2878">
                  <c:v>43664</c:v>
                </c:pt>
                <c:pt idx="2879">
                  <c:v>43665</c:v>
                </c:pt>
                <c:pt idx="2880">
                  <c:v>43666</c:v>
                </c:pt>
                <c:pt idx="2881">
                  <c:v>43667</c:v>
                </c:pt>
                <c:pt idx="2882">
                  <c:v>43668</c:v>
                </c:pt>
                <c:pt idx="2883">
                  <c:v>43669</c:v>
                </c:pt>
                <c:pt idx="2884">
                  <c:v>43670</c:v>
                </c:pt>
                <c:pt idx="2885">
                  <c:v>43671</c:v>
                </c:pt>
                <c:pt idx="2886">
                  <c:v>43672</c:v>
                </c:pt>
                <c:pt idx="2887">
                  <c:v>43673</c:v>
                </c:pt>
                <c:pt idx="2888">
                  <c:v>43674</c:v>
                </c:pt>
                <c:pt idx="2889">
                  <c:v>43675</c:v>
                </c:pt>
                <c:pt idx="2890">
                  <c:v>43676</c:v>
                </c:pt>
                <c:pt idx="2891">
                  <c:v>43677</c:v>
                </c:pt>
                <c:pt idx="2892">
                  <c:v>43678</c:v>
                </c:pt>
                <c:pt idx="2893">
                  <c:v>43679</c:v>
                </c:pt>
                <c:pt idx="2894">
                  <c:v>43680</c:v>
                </c:pt>
                <c:pt idx="2895">
                  <c:v>43681</c:v>
                </c:pt>
                <c:pt idx="2896">
                  <c:v>43682</c:v>
                </c:pt>
                <c:pt idx="2897">
                  <c:v>43683</c:v>
                </c:pt>
                <c:pt idx="2898">
                  <c:v>43684</c:v>
                </c:pt>
                <c:pt idx="2899">
                  <c:v>43685</c:v>
                </c:pt>
                <c:pt idx="2900">
                  <c:v>43686</c:v>
                </c:pt>
                <c:pt idx="2901">
                  <c:v>43687</c:v>
                </c:pt>
                <c:pt idx="2902">
                  <c:v>43688</c:v>
                </c:pt>
                <c:pt idx="2903">
                  <c:v>43689</c:v>
                </c:pt>
                <c:pt idx="2904">
                  <c:v>43690</c:v>
                </c:pt>
                <c:pt idx="2905">
                  <c:v>43691</c:v>
                </c:pt>
                <c:pt idx="2906">
                  <c:v>43692</c:v>
                </c:pt>
                <c:pt idx="2907">
                  <c:v>43693</c:v>
                </c:pt>
                <c:pt idx="2908">
                  <c:v>43694</c:v>
                </c:pt>
                <c:pt idx="2909">
                  <c:v>43695</c:v>
                </c:pt>
                <c:pt idx="2910">
                  <c:v>43696</c:v>
                </c:pt>
                <c:pt idx="2911">
                  <c:v>43697</c:v>
                </c:pt>
                <c:pt idx="2912">
                  <c:v>43698</c:v>
                </c:pt>
                <c:pt idx="2913">
                  <c:v>43699</c:v>
                </c:pt>
                <c:pt idx="2914">
                  <c:v>43700</c:v>
                </c:pt>
                <c:pt idx="2915">
                  <c:v>43701</c:v>
                </c:pt>
                <c:pt idx="2916">
                  <c:v>43702</c:v>
                </c:pt>
                <c:pt idx="2917">
                  <c:v>43703</c:v>
                </c:pt>
                <c:pt idx="2918">
                  <c:v>43704</c:v>
                </c:pt>
                <c:pt idx="2919">
                  <c:v>43705</c:v>
                </c:pt>
                <c:pt idx="2920">
                  <c:v>43706</c:v>
                </c:pt>
                <c:pt idx="2921">
                  <c:v>43707</c:v>
                </c:pt>
                <c:pt idx="2922">
                  <c:v>43708</c:v>
                </c:pt>
                <c:pt idx="2923">
                  <c:v>43709</c:v>
                </c:pt>
                <c:pt idx="2924">
                  <c:v>43710</c:v>
                </c:pt>
                <c:pt idx="2925">
                  <c:v>43711</c:v>
                </c:pt>
                <c:pt idx="2926">
                  <c:v>43712</c:v>
                </c:pt>
                <c:pt idx="2927">
                  <c:v>43713</c:v>
                </c:pt>
                <c:pt idx="2928">
                  <c:v>43714</c:v>
                </c:pt>
                <c:pt idx="2929">
                  <c:v>43715</c:v>
                </c:pt>
                <c:pt idx="2930">
                  <c:v>43716</c:v>
                </c:pt>
                <c:pt idx="2931">
                  <c:v>43717</c:v>
                </c:pt>
                <c:pt idx="2932">
                  <c:v>43718</c:v>
                </c:pt>
                <c:pt idx="2933">
                  <c:v>43719</c:v>
                </c:pt>
                <c:pt idx="2934">
                  <c:v>43720</c:v>
                </c:pt>
                <c:pt idx="2935">
                  <c:v>43721</c:v>
                </c:pt>
                <c:pt idx="2936">
                  <c:v>43722</c:v>
                </c:pt>
                <c:pt idx="2937">
                  <c:v>43723</c:v>
                </c:pt>
                <c:pt idx="2938">
                  <c:v>43724</c:v>
                </c:pt>
                <c:pt idx="2939">
                  <c:v>43725</c:v>
                </c:pt>
                <c:pt idx="2940">
                  <c:v>43726</c:v>
                </c:pt>
                <c:pt idx="2941">
                  <c:v>43727</c:v>
                </c:pt>
                <c:pt idx="2942">
                  <c:v>43728</c:v>
                </c:pt>
                <c:pt idx="2943">
                  <c:v>43729</c:v>
                </c:pt>
                <c:pt idx="2944">
                  <c:v>43730</c:v>
                </c:pt>
                <c:pt idx="2945">
                  <c:v>43731</c:v>
                </c:pt>
                <c:pt idx="2946">
                  <c:v>43732</c:v>
                </c:pt>
                <c:pt idx="2947">
                  <c:v>43733</c:v>
                </c:pt>
                <c:pt idx="2948">
                  <c:v>43734</c:v>
                </c:pt>
                <c:pt idx="2949">
                  <c:v>43735</c:v>
                </c:pt>
                <c:pt idx="2950">
                  <c:v>43736</c:v>
                </c:pt>
                <c:pt idx="2951">
                  <c:v>43737</c:v>
                </c:pt>
                <c:pt idx="2952">
                  <c:v>43738</c:v>
                </c:pt>
                <c:pt idx="2953">
                  <c:v>43739</c:v>
                </c:pt>
                <c:pt idx="2954">
                  <c:v>43740</c:v>
                </c:pt>
                <c:pt idx="2955">
                  <c:v>43741</c:v>
                </c:pt>
                <c:pt idx="2956">
                  <c:v>43742</c:v>
                </c:pt>
                <c:pt idx="2957">
                  <c:v>43743</c:v>
                </c:pt>
                <c:pt idx="2958">
                  <c:v>43744</c:v>
                </c:pt>
                <c:pt idx="2959">
                  <c:v>43745</c:v>
                </c:pt>
                <c:pt idx="2960">
                  <c:v>43746</c:v>
                </c:pt>
                <c:pt idx="2961">
                  <c:v>43747</c:v>
                </c:pt>
                <c:pt idx="2962">
                  <c:v>43748</c:v>
                </c:pt>
                <c:pt idx="2963">
                  <c:v>43749</c:v>
                </c:pt>
                <c:pt idx="2964">
                  <c:v>43750</c:v>
                </c:pt>
                <c:pt idx="2965">
                  <c:v>43751</c:v>
                </c:pt>
                <c:pt idx="2966">
                  <c:v>43752</c:v>
                </c:pt>
                <c:pt idx="2967">
                  <c:v>43753</c:v>
                </c:pt>
                <c:pt idx="2968">
                  <c:v>43754</c:v>
                </c:pt>
                <c:pt idx="2969">
                  <c:v>43755</c:v>
                </c:pt>
                <c:pt idx="2970">
                  <c:v>43756</c:v>
                </c:pt>
                <c:pt idx="2971">
                  <c:v>43757</c:v>
                </c:pt>
                <c:pt idx="2972">
                  <c:v>43758</c:v>
                </c:pt>
                <c:pt idx="2973">
                  <c:v>43759</c:v>
                </c:pt>
                <c:pt idx="2974">
                  <c:v>43760</c:v>
                </c:pt>
                <c:pt idx="2975">
                  <c:v>43761</c:v>
                </c:pt>
                <c:pt idx="2976">
                  <c:v>43762</c:v>
                </c:pt>
                <c:pt idx="2977">
                  <c:v>43763</c:v>
                </c:pt>
                <c:pt idx="2978">
                  <c:v>43764</c:v>
                </c:pt>
                <c:pt idx="2979">
                  <c:v>43765</c:v>
                </c:pt>
                <c:pt idx="2980">
                  <c:v>43766</c:v>
                </c:pt>
                <c:pt idx="2981">
                  <c:v>43767</c:v>
                </c:pt>
                <c:pt idx="2982">
                  <c:v>43768</c:v>
                </c:pt>
                <c:pt idx="2983">
                  <c:v>43769</c:v>
                </c:pt>
                <c:pt idx="2984">
                  <c:v>43770</c:v>
                </c:pt>
                <c:pt idx="2985">
                  <c:v>43771</c:v>
                </c:pt>
                <c:pt idx="2986">
                  <c:v>43772</c:v>
                </c:pt>
                <c:pt idx="2987">
                  <c:v>43773</c:v>
                </c:pt>
                <c:pt idx="2988">
                  <c:v>43774</c:v>
                </c:pt>
                <c:pt idx="2989">
                  <c:v>43775</c:v>
                </c:pt>
                <c:pt idx="2990">
                  <c:v>43776</c:v>
                </c:pt>
                <c:pt idx="2991">
                  <c:v>43777</c:v>
                </c:pt>
                <c:pt idx="2992">
                  <c:v>43778</c:v>
                </c:pt>
                <c:pt idx="2993">
                  <c:v>43779</c:v>
                </c:pt>
                <c:pt idx="2994">
                  <c:v>43780</c:v>
                </c:pt>
                <c:pt idx="2995">
                  <c:v>43781</c:v>
                </c:pt>
                <c:pt idx="2996">
                  <c:v>43782</c:v>
                </c:pt>
                <c:pt idx="2997">
                  <c:v>43783</c:v>
                </c:pt>
                <c:pt idx="2998">
                  <c:v>43784</c:v>
                </c:pt>
                <c:pt idx="2999">
                  <c:v>43785</c:v>
                </c:pt>
                <c:pt idx="3000">
                  <c:v>43786</c:v>
                </c:pt>
                <c:pt idx="3001">
                  <c:v>43787</c:v>
                </c:pt>
                <c:pt idx="3002">
                  <c:v>43788</c:v>
                </c:pt>
                <c:pt idx="3003">
                  <c:v>43789</c:v>
                </c:pt>
                <c:pt idx="3004">
                  <c:v>43790</c:v>
                </c:pt>
                <c:pt idx="3005">
                  <c:v>43791</c:v>
                </c:pt>
                <c:pt idx="3006">
                  <c:v>43792</c:v>
                </c:pt>
                <c:pt idx="3007">
                  <c:v>43793</c:v>
                </c:pt>
                <c:pt idx="3008">
                  <c:v>43794</c:v>
                </c:pt>
                <c:pt idx="3009">
                  <c:v>43795</c:v>
                </c:pt>
                <c:pt idx="3010">
                  <c:v>43796</c:v>
                </c:pt>
                <c:pt idx="3011">
                  <c:v>43797</c:v>
                </c:pt>
                <c:pt idx="3012">
                  <c:v>43798</c:v>
                </c:pt>
                <c:pt idx="3013">
                  <c:v>43799</c:v>
                </c:pt>
                <c:pt idx="3014">
                  <c:v>43800</c:v>
                </c:pt>
                <c:pt idx="3015">
                  <c:v>43801</c:v>
                </c:pt>
                <c:pt idx="3016">
                  <c:v>43802</c:v>
                </c:pt>
                <c:pt idx="3017">
                  <c:v>43803</c:v>
                </c:pt>
                <c:pt idx="3018">
                  <c:v>43804</c:v>
                </c:pt>
                <c:pt idx="3019">
                  <c:v>43805</c:v>
                </c:pt>
                <c:pt idx="3020">
                  <c:v>43806</c:v>
                </c:pt>
                <c:pt idx="3021">
                  <c:v>43807</c:v>
                </c:pt>
                <c:pt idx="3022">
                  <c:v>43808</c:v>
                </c:pt>
                <c:pt idx="3023">
                  <c:v>43809</c:v>
                </c:pt>
                <c:pt idx="3024">
                  <c:v>43810</c:v>
                </c:pt>
                <c:pt idx="3025">
                  <c:v>43811</c:v>
                </c:pt>
                <c:pt idx="3026">
                  <c:v>43812</c:v>
                </c:pt>
                <c:pt idx="3027">
                  <c:v>43813</c:v>
                </c:pt>
                <c:pt idx="3028">
                  <c:v>43814</c:v>
                </c:pt>
                <c:pt idx="3029">
                  <c:v>43815</c:v>
                </c:pt>
                <c:pt idx="3030">
                  <c:v>43816</c:v>
                </c:pt>
                <c:pt idx="3031">
                  <c:v>43817</c:v>
                </c:pt>
                <c:pt idx="3032">
                  <c:v>43818</c:v>
                </c:pt>
                <c:pt idx="3033">
                  <c:v>43819</c:v>
                </c:pt>
                <c:pt idx="3034">
                  <c:v>43820</c:v>
                </c:pt>
                <c:pt idx="3035">
                  <c:v>43821</c:v>
                </c:pt>
                <c:pt idx="3036">
                  <c:v>43822</c:v>
                </c:pt>
                <c:pt idx="3037">
                  <c:v>43823</c:v>
                </c:pt>
                <c:pt idx="3038">
                  <c:v>43824</c:v>
                </c:pt>
                <c:pt idx="3039">
                  <c:v>43825</c:v>
                </c:pt>
                <c:pt idx="3040">
                  <c:v>43826</c:v>
                </c:pt>
                <c:pt idx="3041">
                  <c:v>43827</c:v>
                </c:pt>
                <c:pt idx="3042">
                  <c:v>43828</c:v>
                </c:pt>
                <c:pt idx="3043">
                  <c:v>43829</c:v>
                </c:pt>
                <c:pt idx="3044">
                  <c:v>43830</c:v>
                </c:pt>
                <c:pt idx="3045">
                  <c:v>43831</c:v>
                </c:pt>
                <c:pt idx="3046">
                  <c:v>43832</c:v>
                </c:pt>
                <c:pt idx="3047">
                  <c:v>43833</c:v>
                </c:pt>
                <c:pt idx="3048">
                  <c:v>43834</c:v>
                </c:pt>
                <c:pt idx="3049">
                  <c:v>43835</c:v>
                </c:pt>
                <c:pt idx="3050">
                  <c:v>43836</c:v>
                </c:pt>
                <c:pt idx="3051">
                  <c:v>43837</c:v>
                </c:pt>
                <c:pt idx="3052">
                  <c:v>43838</c:v>
                </c:pt>
                <c:pt idx="3053">
                  <c:v>43839</c:v>
                </c:pt>
                <c:pt idx="3054">
                  <c:v>43840</c:v>
                </c:pt>
                <c:pt idx="3055">
                  <c:v>43841</c:v>
                </c:pt>
                <c:pt idx="3056">
                  <c:v>43842</c:v>
                </c:pt>
                <c:pt idx="3057">
                  <c:v>43843</c:v>
                </c:pt>
                <c:pt idx="3058">
                  <c:v>43844</c:v>
                </c:pt>
                <c:pt idx="3059">
                  <c:v>43845</c:v>
                </c:pt>
                <c:pt idx="3060">
                  <c:v>43846</c:v>
                </c:pt>
                <c:pt idx="3061">
                  <c:v>43847</c:v>
                </c:pt>
                <c:pt idx="3062">
                  <c:v>43848</c:v>
                </c:pt>
                <c:pt idx="3063">
                  <c:v>43849</c:v>
                </c:pt>
                <c:pt idx="3064">
                  <c:v>43850</c:v>
                </c:pt>
                <c:pt idx="3065">
                  <c:v>43851</c:v>
                </c:pt>
                <c:pt idx="3066">
                  <c:v>43852</c:v>
                </c:pt>
                <c:pt idx="3067">
                  <c:v>43853</c:v>
                </c:pt>
                <c:pt idx="3068">
                  <c:v>43854</c:v>
                </c:pt>
                <c:pt idx="3069">
                  <c:v>43855</c:v>
                </c:pt>
                <c:pt idx="3070">
                  <c:v>43856</c:v>
                </c:pt>
                <c:pt idx="3071">
                  <c:v>43857</c:v>
                </c:pt>
                <c:pt idx="3072">
                  <c:v>43858</c:v>
                </c:pt>
                <c:pt idx="3073">
                  <c:v>43859</c:v>
                </c:pt>
                <c:pt idx="3074">
                  <c:v>43860</c:v>
                </c:pt>
                <c:pt idx="3075">
                  <c:v>43861</c:v>
                </c:pt>
                <c:pt idx="3076">
                  <c:v>43862</c:v>
                </c:pt>
                <c:pt idx="3077">
                  <c:v>43863</c:v>
                </c:pt>
                <c:pt idx="3078">
                  <c:v>43864</c:v>
                </c:pt>
                <c:pt idx="3079">
                  <c:v>43865</c:v>
                </c:pt>
                <c:pt idx="3080">
                  <c:v>43866</c:v>
                </c:pt>
                <c:pt idx="3081">
                  <c:v>43867</c:v>
                </c:pt>
                <c:pt idx="3082">
                  <c:v>43868</c:v>
                </c:pt>
                <c:pt idx="3083">
                  <c:v>43869</c:v>
                </c:pt>
                <c:pt idx="3084">
                  <c:v>43870</c:v>
                </c:pt>
                <c:pt idx="3085">
                  <c:v>43871</c:v>
                </c:pt>
                <c:pt idx="3086">
                  <c:v>43872</c:v>
                </c:pt>
                <c:pt idx="3087">
                  <c:v>43873</c:v>
                </c:pt>
                <c:pt idx="3088">
                  <c:v>43874</c:v>
                </c:pt>
                <c:pt idx="3089">
                  <c:v>43875</c:v>
                </c:pt>
                <c:pt idx="3090">
                  <c:v>43876</c:v>
                </c:pt>
                <c:pt idx="3091">
                  <c:v>43877</c:v>
                </c:pt>
                <c:pt idx="3092">
                  <c:v>43878</c:v>
                </c:pt>
                <c:pt idx="3093">
                  <c:v>43879</c:v>
                </c:pt>
                <c:pt idx="3094">
                  <c:v>43880</c:v>
                </c:pt>
                <c:pt idx="3095">
                  <c:v>43881</c:v>
                </c:pt>
                <c:pt idx="3096">
                  <c:v>43882</c:v>
                </c:pt>
                <c:pt idx="3097">
                  <c:v>43883</c:v>
                </c:pt>
                <c:pt idx="3098">
                  <c:v>43884</c:v>
                </c:pt>
                <c:pt idx="3099">
                  <c:v>43885</c:v>
                </c:pt>
                <c:pt idx="3100">
                  <c:v>43886</c:v>
                </c:pt>
                <c:pt idx="3101">
                  <c:v>43887</c:v>
                </c:pt>
                <c:pt idx="3102">
                  <c:v>43888</c:v>
                </c:pt>
                <c:pt idx="3103">
                  <c:v>43889</c:v>
                </c:pt>
                <c:pt idx="3104">
                  <c:v>43890</c:v>
                </c:pt>
                <c:pt idx="3105">
                  <c:v>43891</c:v>
                </c:pt>
                <c:pt idx="3106">
                  <c:v>43892</c:v>
                </c:pt>
                <c:pt idx="3107">
                  <c:v>43893</c:v>
                </c:pt>
                <c:pt idx="3108">
                  <c:v>43894</c:v>
                </c:pt>
                <c:pt idx="3109">
                  <c:v>43895</c:v>
                </c:pt>
                <c:pt idx="3110">
                  <c:v>43896</c:v>
                </c:pt>
                <c:pt idx="3111">
                  <c:v>43897</c:v>
                </c:pt>
                <c:pt idx="3112">
                  <c:v>43898</c:v>
                </c:pt>
                <c:pt idx="3113">
                  <c:v>43899</c:v>
                </c:pt>
                <c:pt idx="3114">
                  <c:v>43900</c:v>
                </c:pt>
                <c:pt idx="3115">
                  <c:v>43901</c:v>
                </c:pt>
                <c:pt idx="3116">
                  <c:v>43902</c:v>
                </c:pt>
                <c:pt idx="3117">
                  <c:v>43903</c:v>
                </c:pt>
                <c:pt idx="3118">
                  <c:v>43904</c:v>
                </c:pt>
                <c:pt idx="3119">
                  <c:v>43905</c:v>
                </c:pt>
                <c:pt idx="3120">
                  <c:v>43906</c:v>
                </c:pt>
                <c:pt idx="3121">
                  <c:v>43907</c:v>
                </c:pt>
                <c:pt idx="3122">
                  <c:v>43908</c:v>
                </c:pt>
                <c:pt idx="3123">
                  <c:v>43909</c:v>
                </c:pt>
                <c:pt idx="3124">
                  <c:v>43910</c:v>
                </c:pt>
                <c:pt idx="3125">
                  <c:v>43911</c:v>
                </c:pt>
                <c:pt idx="3126">
                  <c:v>43912</c:v>
                </c:pt>
                <c:pt idx="3127">
                  <c:v>43913</c:v>
                </c:pt>
                <c:pt idx="3128">
                  <c:v>43914</c:v>
                </c:pt>
                <c:pt idx="3129">
                  <c:v>43915</c:v>
                </c:pt>
                <c:pt idx="3130">
                  <c:v>43916</c:v>
                </c:pt>
                <c:pt idx="3131">
                  <c:v>43917</c:v>
                </c:pt>
                <c:pt idx="3132">
                  <c:v>43918</c:v>
                </c:pt>
                <c:pt idx="3133">
                  <c:v>43919</c:v>
                </c:pt>
                <c:pt idx="3134">
                  <c:v>43920</c:v>
                </c:pt>
                <c:pt idx="3135">
                  <c:v>43921</c:v>
                </c:pt>
                <c:pt idx="3136">
                  <c:v>43922</c:v>
                </c:pt>
                <c:pt idx="3137">
                  <c:v>43923</c:v>
                </c:pt>
                <c:pt idx="3138">
                  <c:v>43924</c:v>
                </c:pt>
                <c:pt idx="3139">
                  <c:v>43925</c:v>
                </c:pt>
                <c:pt idx="3140">
                  <c:v>43926</c:v>
                </c:pt>
                <c:pt idx="3141">
                  <c:v>43927</c:v>
                </c:pt>
                <c:pt idx="3142">
                  <c:v>43928</c:v>
                </c:pt>
                <c:pt idx="3143">
                  <c:v>43929</c:v>
                </c:pt>
                <c:pt idx="3144">
                  <c:v>43930</c:v>
                </c:pt>
                <c:pt idx="3145">
                  <c:v>43931</c:v>
                </c:pt>
                <c:pt idx="3146">
                  <c:v>43932</c:v>
                </c:pt>
                <c:pt idx="3147">
                  <c:v>43933</c:v>
                </c:pt>
                <c:pt idx="3148">
                  <c:v>43934</c:v>
                </c:pt>
                <c:pt idx="3149">
                  <c:v>43935</c:v>
                </c:pt>
                <c:pt idx="3150">
                  <c:v>43936</c:v>
                </c:pt>
                <c:pt idx="3151">
                  <c:v>43937</c:v>
                </c:pt>
                <c:pt idx="3152">
                  <c:v>43938</c:v>
                </c:pt>
                <c:pt idx="3153">
                  <c:v>43939</c:v>
                </c:pt>
                <c:pt idx="3154">
                  <c:v>43940</c:v>
                </c:pt>
                <c:pt idx="3155">
                  <c:v>43941</c:v>
                </c:pt>
                <c:pt idx="3156">
                  <c:v>43942</c:v>
                </c:pt>
                <c:pt idx="3157">
                  <c:v>43943</c:v>
                </c:pt>
                <c:pt idx="3158">
                  <c:v>43944</c:v>
                </c:pt>
                <c:pt idx="3159">
                  <c:v>43945</c:v>
                </c:pt>
                <c:pt idx="3160">
                  <c:v>43946</c:v>
                </c:pt>
                <c:pt idx="3161">
                  <c:v>43947</c:v>
                </c:pt>
                <c:pt idx="3162">
                  <c:v>43948</c:v>
                </c:pt>
                <c:pt idx="3163">
                  <c:v>43949</c:v>
                </c:pt>
                <c:pt idx="3164">
                  <c:v>43950</c:v>
                </c:pt>
                <c:pt idx="3165">
                  <c:v>43951</c:v>
                </c:pt>
                <c:pt idx="3166">
                  <c:v>43952</c:v>
                </c:pt>
                <c:pt idx="3167">
                  <c:v>43953</c:v>
                </c:pt>
                <c:pt idx="3168">
                  <c:v>43954</c:v>
                </c:pt>
                <c:pt idx="3169">
                  <c:v>43955</c:v>
                </c:pt>
                <c:pt idx="3170">
                  <c:v>43956</c:v>
                </c:pt>
                <c:pt idx="3171">
                  <c:v>43957</c:v>
                </c:pt>
                <c:pt idx="3172">
                  <c:v>43958</c:v>
                </c:pt>
                <c:pt idx="3173">
                  <c:v>43959</c:v>
                </c:pt>
                <c:pt idx="3174">
                  <c:v>43960</c:v>
                </c:pt>
                <c:pt idx="3175">
                  <c:v>43961</c:v>
                </c:pt>
                <c:pt idx="3176">
                  <c:v>43962</c:v>
                </c:pt>
                <c:pt idx="3177">
                  <c:v>43963</c:v>
                </c:pt>
                <c:pt idx="3178">
                  <c:v>43964</c:v>
                </c:pt>
                <c:pt idx="3179">
                  <c:v>43965</c:v>
                </c:pt>
                <c:pt idx="3180">
                  <c:v>43966</c:v>
                </c:pt>
                <c:pt idx="3181">
                  <c:v>43967</c:v>
                </c:pt>
                <c:pt idx="3182">
                  <c:v>43968</c:v>
                </c:pt>
                <c:pt idx="3183">
                  <c:v>43969</c:v>
                </c:pt>
                <c:pt idx="3184">
                  <c:v>43970</c:v>
                </c:pt>
                <c:pt idx="3185">
                  <c:v>43971</c:v>
                </c:pt>
                <c:pt idx="3186">
                  <c:v>43972</c:v>
                </c:pt>
                <c:pt idx="3187">
                  <c:v>43973</c:v>
                </c:pt>
                <c:pt idx="3188">
                  <c:v>43974</c:v>
                </c:pt>
                <c:pt idx="3189">
                  <c:v>43975</c:v>
                </c:pt>
                <c:pt idx="3190">
                  <c:v>43976</c:v>
                </c:pt>
                <c:pt idx="3191">
                  <c:v>43977</c:v>
                </c:pt>
                <c:pt idx="3192">
                  <c:v>43978</c:v>
                </c:pt>
                <c:pt idx="3193">
                  <c:v>43979</c:v>
                </c:pt>
                <c:pt idx="3194">
                  <c:v>43980</c:v>
                </c:pt>
                <c:pt idx="3195">
                  <c:v>43981</c:v>
                </c:pt>
                <c:pt idx="3196">
                  <c:v>43982</c:v>
                </c:pt>
                <c:pt idx="3197">
                  <c:v>43983</c:v>
                </c:pt>
                <c:pt idx="3198">
                  <c:v>43984</c:v>
                </c:pt>
                <c:pt idx="3199">
                  <c:v>43985</c:v>
                </c:pt>
                <c:pt idx="3200">
                  <c:v>43986</c:v>
                </c:pt>
                <c:pt idx="3201">
                  <c:v>43987</c:v>
                </c:pt>
                <c:pt idx="3202">
                  <c:v>43988</c:v>
                </c:pt>
                <c:pt idx="3203">
                  <c:v>43989</c:v>
                </c:pt>
                <c:pt idx="3204">
                  <c:v>43990</c:v>
                </c:pt>
                <c:pt idx="3205">
                  <c:v>43991</c:v>
                </c:pt>
                <c:pt idx="3206">
                  <c:v>43992</c:v>
                </c:pt>
                <c:pt idx="3207">
                  <c:v>43993</c:v>
                </c:pt>
                <c:pt idx="3208">
                  <c:v>43994</c:v>
                </c:pt>
                <c:pt idx="3209">
                  <c:v>43995</c:v>
                </c:pt>
                <c:pt idx="3210">
                  <c:v>43996</c:v>
                </c:pt>
                <c:pt idx="3211">
                  <c:v>43997</c:v>
                </c:pt>
                <c:pt idx="3212">
                  <c:v>43998</c:v>
                </c:pt>
                <c:pt idx="3213">
                  <c:v>43999</c:v>
                </c:pt>
                <c:pt idx="3214">
                  <c:v>44000</c:v>
                </c:pt>
                <c:pt idx="3215">
                  <c:v>44001</c:v>
                </c:pt>
                <c:pt idx="3216">
                  <c:v>44002</c:v>
                </c:pt>
                <c:pt idx="3217">
                  <c:v>44003</c:v>
                </c:pt>
                <c:pt idx="3218">
                  <c:v>44004</c:v>
                </c:pt>
                <c:pt idx="3219">
                  <c:v>44005</c:v>
                </c:pt>
                <c:pt idx="3220">
                  <c:v>44006</c:v>
                </c:pt>
                <c:pt idx="3221">
                  <c:v>44007</c:v>
                </c:pt>
                <c:pt idx="3222">
                  <c:v>44008</c:v>
                </c:pt>
                <c:pt idx="3223">
                  <c:v>44009</c:v>
                </c:pt>
                <c:pt idx="3224">
                  <c:v>44010</c:v>
                </c:pt>
                <c:pt idx="3225">
                  <c:v>44011</c:v>
                </c:pt>
                <c:pt idx="3226">
                  <c:v>44012</c:v>
                </c:pt>
                <c:pt idx="3227">
                  <c:v>44013</c:v>
                </c:pt>
                <c:pt idx="3228">
                  <c:v>44014</c:v>
                </c:pt>
                <c:pt idx="3229">
                  <c:v>44015</c:v>
                </c:pt>
                <c:pt idx="3230">
                  <c:v>44016</c:v>
                </c:pt>
                <c:pt idx="3231">
                  <c:v>44017</c:v>
                </c:pt>
                <c:pt idx="3232">
                  <c:v>44018</c:v>
                </c:pt>
                <c:pt idx="3233">
                  <c:v>44019</c:v>
                </c:pt>
                <c:pt idx="3234">
                  <c:v>44020</c:v>
                </c:pt>
                <c:pt idx="3235">
                  <c:v>44021</c:v>
                </c:pt>
                <c:pt idx="3236">
                  <c:v>44022</c:v>
                </c:pt>
                <c:pt idx="3237">
                  <c:v>44023</c:v>
                </c:pt>
                <c:pt idx="3238">
                  <c:v>44024</c:v>
                </c:pt>
                <c:pt idx="3239">
                  <c:v>44025</c:v>
                </c:pt>
                <c:pt idx="3240">
                  <c:v>44026</c:v>
                </c:pt>
                <c:pt idx="3241">
                  <c:v>44027</c:v>
                </c:pt>
                <c:pt idx="3242">
                  <c:v>44028</c:v>
                </c:pt>
                <c:pt idx="3243">
                  <c:v>44029</c:v>
                </c:pt>
                <c:pt idx="3244">
                  <c:v>44030</c:v>
                </c:pt>
                <c:pt idx="3245">
                  <c:v>44031</c:v>
                </c:pt>
                <c:pt idx="3246">
                  <c:v>44032</c:v>
                </c:pt>
                <c:pt idx="3247">
                  <c:v>44033</c:v>
                </c:pt>
                <c:pt idx="3248">
                  <c:v>44034</c:v>
                </c:pt>
                <c:pt idx="3249">
                  <c:v>44035</c:v>
                </c:pt>
                <c:pt idx="3250">
                  <c:v>44036</c:v>
                </c:pt>
                <c:pt idx="3251">
                  <c:v>44037</c:v>
                </c:pt>
                <c:pt idx="3252">
                  <c:v>44038</c:v>
                </c:pt>
                <c:pt idx="3253">
                  <c:v>44039</c:v>
                </c:pt>
                <c:pt idx="3254">
                  <c:v>44040</c:v>
                </c:pt>
                <c:pt idx="3255">
                  <c:v>44041</c:v>
                </c:pt>
                <c:pt idx="3256">
                  <c:v>44042</c:v>
                </c:pt>
                <c:pt idx="3257">
                  <c:v>44043</c:v>
                </c:pt>
                <c:pt idx="3258">
                  <c:v>44044</c:v>
                </c:pt>
                <c:pt idx="3259">
                  <c:v>44045</c:v>
                </c:pt>
                <c:pt idx="3260">
                  <c:v>44046</c:v>
                </c:pt>
                <c:pt idx="3261">
                  <c:v>44047</c:v>
                </c:pt>
                <c:pt idx="3262">
                  <c:v>44048</c:v>
                </c:pt>
                <c:pt idx="3263">
                  <c:v>44049</c:v>
                </c:pt>
                <c:pt idx="3264">
                  <c:v>44050</c:v>
                </c:pt>
                <c:pt idx="3265">
                  <c:v>44051</c:v>
                </c:pt>
                <c:pt idx="3266">
                  <c:v>44052</c:v>
                </c:pt>
                <c:pt idx="3267">
                  <c:v>44053</c:v>
                </c:pt>
                <c:pt idx="3268">
                  <c:v>44054</c:v>
                </c:pt>
                <c:pt idx="3269">
                  <c:v>44055</c:v>
                </c:pt>
                <c:pt idx="3270">
                  <c:v>44056</c:v>
                </c:pt>
                <c:pt idx="3271">
                  <c:v>44057</c:v>
                </c:pt>
                <c:pt idx="3272">
                  <c:v>44058</c:v>
                </c:pt>
                <c:pt idx="3273">
                  <c:v>44059</c:v>
                </c:pt>
                <c:pt idx="3274">
                  <c:v>44060</c:v>
                </c:pt>
                <c:pt idx="3275">
                  <c:v>44061</c:v>
                </c:pt>
                <c:pt idx="3276">
                  <c:v>44062</c:v>
                </c:pt>
                <c:pt idx="3277">
                  <c:v>44063</c:v>
                </c:pt>
                <c:pt idx="3278">
                  <c:v>44064</c:v>
                </c:pt>
                <c:pt idx="3279">
                  <c:v>44065</c:v>
                </c:pt>
                <c:pt idx="3280">
                  <c:v>44066</c:v>
                </c:pt>
                <c:pt idx="3281">
                  <c:v>44067</c:v>
                </c:pt>
                <c:pt idx="3282">
                  <c:v>44068</c:v>
                </c:pt>
                <c:pt idx="3283">
                  <c:v>44069</c:v>
                </c:pt>
                <c:pt idx="3284">
                  <c:v>44070</c:v>
                </c:pt>
                <c:pt idx="3285">
                  <c:v>44071</c:v>
                </c:pt>
                <c:pt idx="3286">
                  <c:v>44072</c:v>
                </c:pt>
                <c:pt idx="3287">
                  <c:v>44073</c:v>
                </c:pt>
                <c:pt idx="3288">
                  <c:v>44074</c:v>
                </c:pt>
                <c:pt idx="3289">
                  <c:v>44075</c:v>
                </c:pt>
                <c:pt idx="3290">
                  <c:v>44076</c:v>
                </c:pt>
                <c:pt idx="3291">
                  <c:v>44077</c:v>
                </c:pt>
                <c:pt idx="3292">
                  <c:v>44078</c:v>
                </c:pt>
                <c:pt idx="3293">
                  <c:v>44079</c:v>
                </c:pt>
                <c:pt idx="3294">
                  <c:v>44080</c:v>
                </c:pt>
                <c:pt idx="3295">
                  <c:v>44081</c:v>
                </c:pt>
                <c:pt idx="3296">
                  <c:v>44082</c:v>
                </c:pt>
                <c:pt idx="3297">
                  <c:v>44083</c:v>
                </c:pt>
                <c:pt idx="3298">
                  <c:v>44084</c:v>
                </c:pt>
                <c:pt idx="3299">
                  <c:v>44085</c:v>
                </c:pt>
                <c:pt idx="3300">
                  <c:v>44086</c:v>
                </c:pt>
                <c:pt idx="3301">
                  <c:v>44087</c:v>
                </c:pt>
                <c:pt idx="3302">
                  <c:v>44088</c:v>
                </c:pt>
                <c:pt idx="3303">
                  <c:v>44089</c:v>
                </c:pt>
                <c:pt idx="3304">
                  <c:v>44090</c:v>
                </c:pt>
                <c:pt idx="3305">
                  <c:v>44091</c:v>
                </c:pt>
                <c:pt idx="3306">
                  <c:v>44092</c:v>
                </c:pt>
                <c:pt idx="3307">
                  <c:v>44093</c:v>
                </c:pt>
                <c:pt idx="3308">
                  <c:v>44094</c:v>
                </c:pt>
                <c:pt idx="3309">
                  <c:v>44095</c:v>
                </c:pt>
                <c:pt idx="3310">
                  <c:v>44096</c:v>
                </c:pt>
                <c:pt idx="3311">
                  <c:v>44097</c:v>
                </c:pt>
                <c:pt idx="3312">
                  <c:v>44098</c:v>
                </c:pt>
                <c:pt idx="3313">
                  <c:v>44099</c:v>
                </c:pt>
                <c:pt idx="3314">
                  <c:v>44100</c:v>
                </c:pt>
                <c:pt idx="3315">
                  <c:v>44101</c:v>
                </c:pt>
                <c:pt idx="3316">
                  <c:v>44102</c:v>
                </c:pt>
                <c:pt idx="3317">
                  <c:v>44103</c:v>
                </c:pt>
                <c:pt idx="3318">
                  <c:v>44104</c:v>
                </c:pt>
                <c:pt idx="3319">
                  <c:v>44105</c:v>
                </c:pt>
                <c:pt idx="3320">
                  <c:v>44106</c:v>
                </c:pt>
                <c:pt idx="3321">
                  <c:v>44107</c:v>
                </c:pt>
                <c:pt idx="3322">
                  <c:v>44108</c:v>
                </c:pt>
                <c:pt idx="3323">
                  <c:v>44109</c:v>
                </c:pt>
                <c:pt idx="3324">
                  <c:v>44110</c:v>
                </c:pt>
                <c:pt idx="3325">
                  <c:v>44111</c:v>
                </c:pt>
                <c:pt idx="3326">
                  <c:v>44112</c:v>
                </c:pt>
                <c:pt idx="3327">
                  <c:v>44113</c:v>
                </c:pt>
                <c:pt idx="3328">
                  <c:v>44114</c:v>
                </c:pt>
                <c:pt idx="3329">
                  <c:v>44115</c:v>
                </c:pt>
                <c:pt idx="3330">
                  <c:v>44116</c:v>
                </c:pt>
                <c:pt idx="3331">
                  <c:v>44117</c:v>
                </c:pt>
                <c:pt idx="3332">
                  <c:v>44118</c:v>
                </c:pt>
                <c:pt idx="3333">
                  <c:v>44119</c:v>
                </c:pt>
                <c:pt idx="3334">
                  <c:v>44120</c:v>
                </c:pt>
                <c:pt idx="3335">
                  <c:v>44121</c:v>
                </c:pt>
                <c:pt idx="3336">
                  <c:v>44122</c:v>
                </c:pt>
                <c:pt idx="3337">
                  <c:v>44123</c:v>
                </c:pt>
                <c:pt idx="3338">
                  <c:v>44124</c:v>
                </c:pt>
                <c:pt idx="3339">
                  <c:v>44125</c:v>
                </c:pt>
                <c:pt idx="3340">
                  <c:v>44126</c:v>
                </c:pt>
                <c:pt idx="3341">
                  <c:v>44127</c:v>
                </c:pt>
                <c:pt idx="3342">
                  <c:v>44128</c:v>
                </c:pt>
                <c:pt idx="3343">
                  <c:v>44129</c:v>
                </c:pt>
                <c:pt idx="3344">
                  <c:v>44130</c:v>
                </c:pt>
                <c:pt idx="3345">
                  <c:v>44131</c:v>
                </c:pt>
                <c:pt idx="3346">
                  <c:v>44132</c:v>
                </c:pt>
                <c:pt idx="3347">
                  <c:v>44133</c:v>
                </c:pt>
                <c:pt idx="3348">
                  <c:v>44134</c:v>
                </c:pt>
                <c:pt idx="3349">
                  <c:v>44135</c:v>
                </c:pt>
                <c:pt idx="3350">
                  <c:v>44136</c:v>
                </c:pt>
                <c:pt idx="3351">
                  <c:v>44137</c:v>
                </c:pt>
                <c:pt idx="3352">
                  <c:v>44138</c:v>
                </c:pt>
                <c:pt idx="3353">
                  <c:v>44139</c:v>
                </c:pt>
                <c:pt idx="3354">
                  <c:v>44140</c:v>
                </c:pt>
                <c:pt idx="3355">
                  <c:v>44141</c:v>
                </c:pt>
                <c:pt idx="3356">
                  <c:v>44142</c:v>
                </c:pt>
                <c:pt idx="3357">
                  <c:v>44143</c:v>
                </c:pt>
                <c:pt idx="3358">
                  <c:v>44144</c:v>
                </c:pt>
                <c:pt idx="3359">
                  <c:v>44145</c:v>
                </c:pt>
                <c:pt idx="3360">
                  <c:v>44146</c:v>
                </c:pt>
                <c:pt idx="3361">
                  <c:v>44147</c:v>
                </c:pt>
                <c:pt idx="3362">
                  <c:v>44148</c:v>
                </c:pt>
                <c:pt idx="3363">
                  <c:v>44149</c:v>
                </c:pt>
                <c:pt idx="3364">
                  <c:v>44150</c:v>
                </c:pt>
                <c:pt idx="3365">
                  <c:v>44151</c:v>
                </c:pt>
                <c:pt idx="3366">
                  <c:v>44152</c:v>
                </c:pt>
                <c:pt idx="3367">
                  <c:v>44153</c:v>
                </c:pt>
                <c:pt idx="3368">
                  <c:v>44154</c:v>
                </c:pt>
                <c:pt idx="3369">
                  <c:v>44155</c:v>
                </c:pt>
                <c:pt idx="3370">
                  <c:v>44156</c:v>
                </c:pt>
                <c:pt idx="3371">
                  <c:v>44157</c:v>
                </c:pt>
                <c:pt idx="3372">
                  <c:v>44158</c:v>
                </c:pt>
                <c:pt idx="3373">
                  <c:v>44159</c:v>
                </c:pt>
                <c:pt idx="3374">
                  <c:v>44160</c:v>
                </c:pt>
                <c:pt idx="3375">
                  <c:v>44161</c:v>
                </c:pt>
                <c:pt idx="3376">
                  <c:v>44162</c:v>
                </c:pt>
                <c:pt idx="3377">
                  <c:v>44163</c:v>
                </c:pt>
                <c:pt idx="3378">
                  <c:v>44164</c:v>
                </c:pt>
                <c:pt idx="3379">
                  <c:v>44165</c:v>
                </c:pt>
                <c:pt idx="3380">
                  <c:v>44166</c:v>
                </c:pt>
                <c:pt idx="3381">
                  <c:v>44167</c:v>
                </c:pt>
                <c:pt idx="3382">
                  <c:v>44168</c:v>
                </c:pt>
                <c:pt idx="3383">
                  <c:v>44169</c:v>
                </c:pt>
                <c:pt idx="3384">
                  <c:v>44170</c:v>
                </c:pt>
                <c:pt idx="3385">
                  <c:v>44171</c:v>
                </c:pt>
                <c:pt idx="3386">
                  <c:v>44172</c:v>
                </c:pt>
                <c:pt idx="3387">
                  <c:v>44173</c:v>
                </c:pt>
                <c:pt idx="3388">
                  <c:v>44174</c:v>
                </c:pt>
                <c:pt idx="3389">
                  <c:v>44175</c:v>
                </c:pt>
                <c:pt idx="3390">
                  <c:v>44176</c:v>
                </c:pt>
                <c:pt idx="3391">
                  <c:v>44177</c:v>
                </c:pt>
                <c:pt idx="3392">
                  <c:v>44178</c:v>
                </c:pt>
                <c:pt idx="3393">
                  <c:v>44179</c:v>
                </c:pt>
                <c:pt idx="3394">
                  <c:v>44180</c:v>
                </c:pt>
                <c:pt idx="3395">
                  <c:v>44181</c:v>
                </c:pt>
                <c:pt idx="3396">
                  <c:v>44182</c:v>
                </c:pt>
                <c:pt idx="3397">
                  <c:v>44183</c:v>
                </c:pt>
                <c:pt idx="3398">
                  <c:v>44184</c:v>
                </c:pt>
                <c:pt idx="3399">
                  <c:v>44185</c:v>
                </c:pt>
                <c:pt idx="3400">
                  <c:v>44186</c:v>
                </c:pt>
                <c:pt idx="3401">
                  <c:v>44187</c:v>
                </c:pt>
                <c:pt idx="3402">
                  <c:v>44188</c:v>
                </c:pt>
                <c:pt idx="3403">
                  <c:v>44189</c:v>
                </c:pt>
                <c:pt idx="3404">
                  <c:v>44190</c:v>
                </c:pt>
                <c:pt idx="3405">
                  <c:v>44191</c:v>
                </c:pt>
                <c:pt idx="3406">
                  <c:v>44192</c:v>
                </c:pt>
                <c:pt idx="3407">
                  <c:v>44193</c:v>
                </c:pt>
                <c:pt idx="3408">
                  <c:v>44194</c:v>
                </c:pt>
                <c:pt idx="3409">
                  <c:v>44195</c:v>
                </c:pt>
                <c:pt idx="3410">
                  <c:v>44196</c:v>
                </c:pt>
                <c:pt idx="3411">
                  <c:v>44197</c:v>
                </c:pt>
                <c:pt idx="3412">
                  <c:v>44198</c:v>
                </c:pt>
                <c:pt idx="3413">
                  <c:v>44199</c:v>
                </c:pt>
                <c:pt idx="3414">
                  <c:v>44200</c:v>
                </c:pt>
                <c:pt idx="3415">
                  <c:v>44201</c:v>
                </c:pt>
                <c:pt idx="3416">
                  <c:v>44202</c:v>
                </c:pt>
                <c:pt idx="3417">
                  <c:v>44203</c:v>
                </c:pt>
                <c:pt idx="3418">
                  <c:v>44204</c:v>
                </c:pt>
                <c:pt idx="3419">
                  <c:v>44205</c:v>
                </c:pt>
                <c:pt idx="3420">
                  <c:v>44206</c:v>
                </c:pt>
                <c:pt idx="3421">
                  <c:v>44207</c:v>
                </c:pt>
                <c:pt idx="3422">
                  <c:v>44208</c:v>
                </c:pt>
                <c:pt idx="3423">
                  <c:v>44209</c:v>
                </c:pt>
                <c:pt idx="3424">
                  <c:v>44210</c:v>
                </c:pt>
                <c:pt idx="3425">
                  <c:v>44211</c:v>
                </c:pt>
                <c:pt idx="3426">
                  <c:v>44212</c:v>
                </c:pt>
                <c:pt idx="3427">
                  <c:v>44213</c:v>
                </c:pt>
                <c:pt idx="3428">
                  <c:v>44214</c:v>
                </c:pt>
                <c:pt idx="3429">
                  <c:v>44215</c:v>
                </c:pt>
                <c:pt idx="3430">
                  <c:v>44216</c:v>
                </c:pt>
                <c:pt idx="3431">
                  <c:v>44217</c:v>
                </c:pt>
                <c:pt idx="3432">
                  <c:v>44218</c:v>
                </c:pt>
                <c:pt idx="3433">
                  <c:v>44219</c:v>
                </c:pt>
                <c:pt idx="3434">
                  <c:v>44220</c:v>
                </c:pt>
                <c:pt idx="3435">
                  <c:v>44221</c:v>
                </c:pt>
                <c:pt idx="3436">
                  <c:v>44222</c:v>
                </c:pt>
                <c:pt idx="3437">
                  <c:v>44223</c:v>
                </c:pt>
                <c:pt idx="3438">
                  <c:v>44224</c:v>
                </c:pt>
                <c:pt idx="3439">
                  <c:v>44225</c:v>
                </c:pt>
                <c:pt idx="3440">
                  <c:v>44226</c:v>
                </c:pt>
                <c:pt idx="3441">
                  <c:v>44227</c:v>
                </c:pt>
                <c:pt idx="3442">
                  <c:v>44228</c:v>
                </c:pt>
                <c:pt idx="3443">
                  <c:v>44229</c:v>
                </c:pt>
                <c:pt idx="3444">
                  <c:v>44230</c:v>
                </c:pt>
                <c:pt idx="3445">
                  <c:v>44231</c:v>
                </c:pt>
                <c:pt idx="3446">
                  <c:v>44232</c:v>
                </c:pt>
                <c:pt idx="3447">
                  <c:v>44233</c:v>
                </c:pt>
                <c:pt idx="3448">
                  <c:v>44234</c:v>
                </c:pt>
                <c:pt idx="3449">
                  <c:v>44235</c:v>
                </c:pt>
                <c:pt idx="3450">
                  <c:v>44236</c:v>
                </c:pt>
                <c:pt idx="3451">
                  <c:v>44237</c:v>
                </c:pt>
                <c:pt idx="3452">
                  <c:v>44238</c:v>
                </c:pt>
                <c:pt idx="3453">
                  <c:v>44239</c:v>
                </c:pt>
                <c:pt idx="3454">
                  <c:v>44240</c:v>
                </c:pt>
                <c:pt idx="3455">
                  <c:v>44241</c:v>
                </c:pt>
                <c:pt idx="3456">
                  <c:v>44242</c:v>
                </c:pt>
                <c:pt idx="3457">
                  <c:v>44243</c:v>
                </c:pt>
                <c:pt idx="3458">
                  <c:v>44244</c:v>
                </c:pt>
                <c:pt idx="3459">
                  <c:v>44245</c:v>
                </c:pt>
                <c:pt idx="3460">
                  <c:v>44246</c:v>
                </c:pt>
                <c:pt idx="3461">
                  <c:v>44247</c:v>
                </c:pt>
                <c:pt idx="3462">
                  <c:v>44248</c:v>
                </c:pt>
                <c:pt idx="3463">
                  <c:v>44249</c:v>
                </c:pt>
                <c:pt idx="3464">
                  <c:v>44250</c:v>
                </c:pt>
                <c:pt idx="3465">
                  <c:v>44251</c:v>
                </c:pt>
                <c:pt idx="3466">
                  <c:v>44252</c:v>
                </c:pt>
                <c:pt idx="3467">
                  <c:v>44253</c:v>
                </c:pt>
                <c:pt idx="3468">
                  <c:v>44254</c:v>
                </c:pt>
                <c:pt idx="3469">
                  <c:v>44255</c:v>
                </c:pt>
                <c:pt idx="3470">
                  <c:v>44256</c:v>
                </c:pt>
                <c:pt idx="3471">
                  <c:v>44257</c:v>
                </c:pt>
                <c:pt idx="3472">
                  <c:v>44258</c:v>
                </c:pt>
                <c:pt idx="3473">
                  <c:v>44259</c:v>
                </c:pt>
                <c:pt idx="3474">
                  <c:v>44260</c:v>
                </c:pt>
                <c:pt idx="3475">
                  <c:v>44261</c:v>
                </c:pt>
                <c:pt idx="3476">
                  <c:v>44262</c:v>
                </c:pt>
                <c:pt idx="3477">
                  <c:v>44263</c:v>
                </c:pt>
                <c:pt idx="3478">
                  <c:v>44264</c:v>
                </c:pt>
                <c:pt idx="3479">
                  <c:v>44265</c:v>
                </c:pt>
                <c:pt idx="3480">
                  <c:v>44266</c:v>
                </c:pt>
                <c:pt idx="3481">
                  <c:v>44267</c:v>
                </c:pt>
                <c:pt idx="3482">
                  <c:v>44268</c:v>
                </c:pt>
                <c:pt idx="3483">
                  <c:v>44269</c:v>
                </c:pt>
                <c:pt idx="3484">
                  <c:v>44270</c:v>
                </c:pt>
                <c:pt idx="3485">
                  <c:v>44271</c:v>
                </c:pt>
                <c:pt idx="3486">
                  <c:v>44272</c:v>
                </c:pt>
                <c:pt idx="3487">
                  <c:v>44273</c:v>
                </c:pt>
                <c:pt idx="3488">
                  <c:v>44274</c:v>
                </c:pt>
                <c:pt idx="3489">
                  <c:v>44275</c:v>
                </c:pt>
                <c:pt idx="3490">
                  <c:v>44276</c:v>
                </c:pt>
                <c:pt idx="3491">
                  <c:v>44277</c:v>
                </c:pt>
                <c:pt idx="3492">
                  <c:v>44278</c:v>
                </c:pt>
                <c:pt idx="3493">
                  <c:v>44279</c:v>
                </c:pt>
                <c:pt idx="3494">
                  <c:v>44280</c:v>
                </c:pt>
                <c:pt idx="3495">
                  <c:v>44281</c:v>
                </c:pt>
                <c:pt idx="3496">
                  <c:v>44282</c:v>
                </c:pt>
                <c:pt idx="3497">
                  <c:v>44283</c:v>
                </c:pt>
                <c:pt idx="3498">
                  <c:v>44284</c:v>
                </c:pt>
                <c:pt idx="3499">
                  <c:v>44285</c:v>
                </c:pt>
                <c:pt idx="3500">
                  <c:v>44286</c:v>
                </c:pt>
                <c:pt idx="3501">
                  <c:v>44287</c:v>
                </c:pt>
                <c:pt idx="3502">
                  <c:v>44288</c:v>
                </c:pt>
                <c:pt idx="3503">
                  <c:v>44289</c:v>
                </c:pt>
                <c:pt idx="3504">
                  <c:v>44290</c:v>
                </c:pt>
                <c:pt idx="3505">
                  <c:v>44291</c:v>
                </c:pt>
                <c:pt idx="3506">
                  <c:v>44292</c:v>
                </c:pt>
                <c:pt idx="3507">
                  <c:v>44293</c:v>
                </c:pt>
                <c:pt idx="3508">
                  <c:v>44294</c:v>
                </c:pt>
                <c:pt idx="3509">
                  <c:v>44295</c:v>
                </c:pt>
                <c:pt idx="3510">
                  <c:v>44296</c:v>
                </c:pt>
                <c:pt idx="3511">
                  <c:v>44297</c:v>
                </c:pt>
                <c:pt idx="3512">
                  <c:v>44298</c:v>
                </c:pt>
                <c:pt idx="3513">
                  <c:v>44299</c:v>
                </c:pt>
                <c:pt idx="3514">
                  <c:v>44300</c:v>
                </c:pt>
                <c:pt idx="3515">
                  <c:v>44301</c:v>
                </c:pt>
                <c:pt idx="3516">
                  <c:v>44302</c:v>
                </c:pt>
                <c:pt idx="3517">
                  <c:v>44303</c:v>
                </c:pt>
                <c:pt idx="3518">
                  <c:v>44304</c:v>
                </c:pt>
                <c:pt idx="3519">
                  <c:v>44305</c:v>
                </c:pt>
                <c:pt idx="3520">
                  <c:v>44306</c:v>
                </c:pt>
                <c:pt idx="3521">
                  <c:v>44307</c:v>
                </c:pt>
                <c:pt idx="3522">
                  <c:v>44308</c:v>
                </c:pt>
                <c:pt idx="3523">
                  <c:v>44309</c:v>
                </c:pt>
                <c:pt idx="3524">
                  <c:v>44310</c:v>
                </c:pt>
                <c:pt idx="3525">
                  <c:v>44311</c:v>
                </c:pt>
                <c:pt idx="3526">
                  <c:v>44312</c:v>
                </c:pt>
                <c:pt idx="3527">
                  <c:v>44313</c:v>
                </c:pt>
                <c:pt idx="3528">
                  <c:v>44314</c:v>
                </c:pt>
                <c:pt idx="3529">
                  <c:v>44315</c:v>
                </c:pt>
                <c:pt idx="3530">
                  <c:v>44316</c:v>
                </c:pt>
                <c:pt idx="3531">
                  <c:v>44317</c:v>
                </c:pt>
                <c:pt idx="3532">
                  <c:v>44318</c:v>
                </c:pt>
                <c:pt idx="3533">
                  <c:v>44319</c:v>
                </c:pt>
                <c:pt idx="3534">
                  <c:v>44320</c:v>
                </c:pt>
                <c:pt idx="3535">
                  <c:v>44321</c:v>
                </c:pt>
                <c:pt idx="3536">
                  <c:v>44322</c:v>
                </c:pt>
                <c:pt idx="3537">
                  <c:v>44323</c:v>
                </c:pt>
                <c:pt idx="3538">
                  <c:v>44324</c:v>
                </c:pt>
                <c:pt idx="3539">
                  <c:v>44325</c:v>
                </c:pt>
                <c:pt idx="3540">
                  <c:v>44326</c:v>
                </c:pt>
                <c:pt idx="3541">
                  <c:v>44327</c:v>
                </c:pt>
                <c:pt idx="3542">
                  <c:v>44328</c:v>
                </c:pt>
                <c:pt idx="3543">
                  <c:v>44329</c:v>
                </c:pt>
                <c:pt idx="3544">
                  <c:v>44330</c:v>
                </c:pt>
                <c:pt idx="3545">
                  <c:v>44331</c:v>
                </c:pt>
                <c:pt idx="3546">
                  <c:v>44332</c:v>
                </c:pt>
                <c:pt idx="3547">
                  <c:v>44333</c:v>
                </c:pt>
                <c:pt idx="3548">
                  <c:v>44334</c:v>
                </c:pt>
                <c:pt idx="3549">
                  <c:v>44335</c:v>
                </c:pt>
                <c:pt idx="3550">
                  <c:v>44336</c:v>
                </c:pt>
                <c:pt idx="3551">
                  <c:v>44337</c:v>
                </c:pt>
                <c:pt idx="3552">
                  <c:v>44338</c:v>
                </c:pt>
                <c:pt idx="3553">
                  <c:v>44339</c:v>
                </c:pt>
                <c:pt idx="3554">
                  <c:v>44340</c:v>
                </c:pt>
                <c:pt idx="3555">
                  <c:v>44341</c:v>
                </c:pt>
                <c:pt idx="3556">
                  <c:v>44342</c:v>
                </c:pt>
                <c:pt idx="3557">
                  <c:v>44343</c:v>
                </c:pt>
                <c:pt idx="3558">
                  <c:v>44344</c:v>
                </c:pt>
                <c:pt idx="3559">
                  <c:v>44345</c:v>
                </c:pt>
                <c:pt idx="3560">
                  <c:v>44346</c:v>
                </c:pt>
                <c:pt idx="3561">
                  <c:v>44347</c:v>
                </c:pt>
                <c:pt idx="3562">
                  <c:v>44348</c:v>
                </c:pt>
                <c:pt idx="3563">
                  <c:v>44349</c:v>
                </c:pt>
                <c:pt idx="3564">
                  <c:v>44350</c:v>
                </c:pt>
                <c:pt idx="3565">
                  <c:v>44351</c:v>
                </c:pt>
                <c:pt idx="3566">
                  <c:v>44352</c:v>
                </c:pt>
                <c:pt idx="3567">
                  <c:v>44353</c:v>
                </c:pt>
                <c:pt idx="3568">
                  <c:v>44354</c:v>
                </c:pt>
                <c:pt idx="3569">
                  <c:v>44355</c:v>
                </c:pt>
                <c:pt idx="3570">
                  <c:v>44356</c:v>
                </c:pt>
                <c:pt idx="3571">
                  <c:v>44357</c:v>
                </c:pt>
                <c:pt idx="3572">
                  <c:v>44358</c:v>
                </c:pt>
                <c:pt idx="3573">
                  <c:v>44359</c:v>
                </c:pt>
                <c:pt idx="3574">
                  <c:v>44360</c:v>
                </c:pt>
                <c:pt idx="3575">
                  <c:v>44361</c:v>
                </c:pt>
                <c:pt idx="3576">
                  <c:v>44362</c:v>
                </c:pt>
                <c:pt idx="3577">
                  <c:v>44363</c:v>
                </c:pt>
                <c:pt idx="3578">
                  <c:v>44364</c:v>
                </c:pt>
                <c:pt idx="3579">
                  <c:v>44365</c:v>
                </c:pt>
                <c:pt idx="3580">
                  <c:v>44366</c:v>
                </c:pt>
                <c:pt idx="3581">
                  <c:v>44367</c:v>
                </c:pt>
                <c:pt idx="3582">
                  <c:v>44368</c:v>
                </c:pt>
                <c:pt idx="3583">
                  <c:v>44369</c:v>
                </c:pt>
                <c:pt idx="3584">
                  <c:v>44370</c:v>
                </c:pt>
                <c:pt idx="3585">
                  <c:v>44371</c:v>
                </c:pt>
                <c:pt idx="3586">
                  <c:v>44372</c:v>
                </c:pt>
                <c:pt idx="3587">
                  <c:v>44373</c:v>
                </c:pt>
                <c:pt idx="3588">
                  <c:v>44374</c:v>
                </c:pt>
                <c:pt idx="3589">
                  <c:v>44375</c:v>
                </c:pt>
                <c:pt idx="3590">
                  <c:v>44376</c:v>
                </c:pt>
                <c:pt idx="3591">
                  <c:v>44377</c:v>
                </c:pt>
                <c:pt idx="3592">
                  <c:v>44378</c:v>
                </c:pt>
                <c:pt idx="3593">
                  <c:v>44379</c:v>
                </c:pt>
                <c:pt idx="3594">
                  <c:v>44380</c:v>
                </c:pt>
                <c:pt idx="3595">
                  <c:v>44381</c:v>
                </c:pt>
                <c:pt idx="3596">
                  <c:v>44382</c:v>
                </c:pt>
                <c:pt idx="3597">
                  <c:v>44383</c:v>
                </c:pt>
                <c:pt idx="3598">
                  <c:v>44384</c:v>
                </c:pt>
                <c:pt idx="3599">
                  <c:v>44385</c:v>
                </c:pt>
                <c:pt idx="3600">
                  <c:v>44386</c:v>
                </c:pt>
                <c:pt idx="3601">
                  <c:v>44387</c:v>
                </c:pt>
                <c:pt idx="3602">
                  <c:v>44388</c:v>
                </c:pt>
                <c:pt idx="3603">
                  <c:v>44389</c:v>
                </c:pt>
                <c:pt idx="3604">
                  <c:v>44390</c:v>
                </c:pt>
                <c:pt idx="3605">
                  <c:v>44391</c:v>
                </c:pt>
                <c:pt idx="3606">
                  <c:v>44392</c:v>
                </c:pt>
                <c:pt idx="3607">
                  <c:v>44393</c:v>
                </c:pt>
                <c:pt idx="3608">
                  <c:v>44394</c:v>
                </c:pt>
                <c:pt idx="3609">
                  <c:v>44395</c:v>
                </c:pt>
                <c:pt idx="3610">
                  <c:v>44396</c:v>
                </c:pt>
                <c:pt idx="3611">
                  <c:v>44397</c:v>
                </c:pt>
                <c:pt idx="3612">
                  <c:v>44398</c:v>
                </c:pt>
                <c:pt idx="3613">
                  <c:v>44399</c:v>
                </c:pt>
                <c:pt idx="3614">
                  <c:v>44400</c:v>
                </c:pt>
                <c:pt idx="3615">
                  <c:v>44401</c:v>
                </c:pt>
                <c:pt idx="3616">
                  <c:v>44402</c:v>
                </c:pt>
                <c:pt idx="3617">
                  <c:v>44403</c:v>
                </c:pt>
                <c:pt idx="3618">
                  <c:v>44404</c:v>
                </c:pt>
                <c:pt idx="3619">
                  <c:v>44405</c:v>
                </c:pt>
                <c:pt idx="3620">
                  <c:v>44406</c:v>
                </c:pt>
                <c:pt idx="3621">
                  <c:v>44407</c:v>
                </c:pt>
                <c:pt idx="3622">
                  <c:v>44408</c:v>
                </c:pt>
                <c:pt idx="3623">
                  <c:v>44409</c:v>
                </c:pt>
                <c:pt idx="3624">
                  <c:v>44410</c:v>
                </c:pt>
                <c:pt idx="3625">
                  <c:v>44411</c:v>
                </c:pt>
                <c:pt idx="3626">
                  <c:v>44412</c:v>
                </c:pt>
                <c:pt idx="3627">
                  <c:v>44413</c:v>
                </c:pt>
                <c:pt idx="3628">
                  <c:v>44414</c:v>
                </c:pt>
                <c:pt idx="3629">
                  <c:v>44415</c:v>
                </c:pt>
                <c:pt idx="3630">
                  <c:v>44416</c:v>
                </c:pt>
                <c:pt idx="3631">
                  <c:v>44417</c:v>
                </c:pt>
                <c:pt idx="3632">
                  <c:v>44418</c:v>
                </c:pt>
                <c:pt idx="3633">
                  <c:v>44419</c:v>
                </c:pt>
                <c:pt idx="3634">
                  <c:v>44420</c:v>
                </c:pt>
                <c:pt idx="3635">
                  <c:v>44421</c:v>
                </c:pt>
                <c:pt idx="3636">
                  <c:v>44422</c:v>
                </c:pt>
                <c:pt idx="3637">
                  <c:v>44423</c:v>
                </c:pt>
                <c:pt idx="3638">
                  <c:v>44424</c:v>
                </c:pt>
                <c:pt idx="3639">
                  <c:v>44425</c:v>
                </c:pt>
                <c:pt idx="3640">
                  <c:v>44426</c:v>
                </c:pt>
                <c:pt idx="3641">
                  <c:v>44427</c:v>
                </c:pt>
                <c:pt idx="3642">
                  <c:v>44428</c:v>
                </c:pt>
                <c:pt idx="3643">
                  <c:v>44429</c:v>
                </c:pt>
                <c:pt idx="3644">
                  <c:v>44430</c:v>
                </c:pt>
                <c:pt idx="3645">
                  <c:v>44431</c:v>
                </c:pt>
                <c:pt idx="3646">
                  <c:v>44432</c:v>
                </c:pt>
                <c:pt idx="3647">
                  <c:v>44433</c:v>
                </c:pt>
                <c:pt idx="3648">
                  <c:v>44434</c:v>
                </c:pt>
                <c:pt idx="3649">
                  <c:v>44435</c:v>
                </c:pt>
                <c:pt idx="3650">
                  <c:v>44436</c:v>
                </c:pt>
                <c:pt idx="3651">
                  <c:v>44437</c:v>
                </c:pt>
                <c:pt idx="3652">
                  <c:v>44438</c:v>
                </c:pt>
                <c:pt idx="3653">
                  <c:v>44439</c:v>
                </c:pt>
                <c:pt idx="3654">
                  <c:v>44440</c:v>
                </c:pt>
                <c:pt idx="3655">
                  <c:v>44441</c:v>
                </c:pt>
                <c:pt idx="3656">
                  <c:v>44442</c:v>
                </c:pt>
                <c:pt idx="3657">
                  <c:v>44443</c:v>
                </c:pt>
                <c:pt idx="3658">
                  <c:v>44444</c:v>
                </c:pt>
                <c:pt idx="3659">
                  <c:v>44445</c:v>
                </c:pt>
                <c:pt idx="3660">
                  <c:v>44446</c:v>
                </c:pt>
                <c:pt idx="3661">
                  <c:v>44447</c:v>
                </c:pt>
                <c:pt idx="3662">
                  <c:v>44448</c:v>
                </c:pt>
                <c:pt idx="3663">
                  <c:v>44449</c:v>
                </c:pt>
                <c:pt idx="3664">
                  <c:v>44450</c:v>
                </c:pt>
                <c:pt idx="3665">
                  <c:v>44451</c:v>
                </c:pt>
                <c:pt idx="3666">
                  <c:v>44452</c:v>
                </c:pt>
                <c:pt idx="3667">
                  <c:v>44453</c:v>
                </c:pt>
                <c:pt idx="3668">
                  <c:v>44454</c:v>
                </c:pt>
                <c:pt idx="3669">
                  <c:v>44455</c:v>
                </c:pt>
                <c:pt idx="3670">
                  <c:v>44456</c:v>
                </c:pt>
                <c:pt idx="3671">
                  <c:v>44457</c:v>
                </c:pt>
                <c:pt idx="3672">
                  <c:v>44458</c:v>
                </c:pt>
                <c:pt idx="3673">
                  <c:v>44459</c:v>
                </c:pt>
                <c:pt idx="3674">
                  <c:v>44460</c:v>
                </c:pt>
                <c:pt idx="3675">
                  <c:v>44461</c:v>
                </c:pt>
                <c:pt idx="3676">
                  <c:v>44462</c:v>
                </c:pt>
                <c:pt idx="3677">
                  <c:v>44463</c:v>
                </c:pt>
                <c:pt idx="3678">
                  <c:v>44464</c:v>
                </c:pt>
                <c:pt idx="3679">
                  <c:v>44465</c:v>
                </c:pt>
                <c:pt idx="3680">
                  <c:v>44466</c:v>
                </c:pt>
                <c:pt idx="3681">
                  <c:v>44467</c:v>
                </c:pt>
                <c:pt idx="3682">
                  <c:v>44468</c:v>
                </c:pt>
                <c:pt idx="3683">
                  <c:v>44469</c:v>
                </c:pt>
                <c:pt idx="3684">
                  <c:v>44470</c:v>
                </c:pt>
                <c:pt idx="3685">
                  <c:v>44471</c:v>
                </c:pt>
                <c:pt idx="3686">
                  <c:v>44472</c:v>
                </c:pt>
                <c:pt idx="3687">
                  <c:v>44473</c:v>
                </c:pt>
                <c:pt idx="3688">
                  <c:v>44474</c:v>
                </c:pt>
                <c:pt idx="3689">
                  <c:v>44475</c:v>
                </c:pt>
                <c:pt idx="3690">
                  <c:v>44476</c:v>
                </c:pt>
                <c:pt idx="3691">
                  <c:v>44477</c:v>
                </c:pt>
                <c:pt idx="3692">
                  <c:v>44478</c:v>
                </c:pt>
                <c:pt idx="3693">
                  <c:v>44479</c:v>
                </c:pt>
                <c:pt idx="3694">
                  <c:v>44480</c:v>
                </c:pt>
                <c:pt idx="3695">
                  <c:v>44481</c:v>
                </c:pt>
                <c:pt idx="3696">
                  <c:v>44482</c:v>
                </c:pt>
                <c:pt idx="3697">
                  <c:v>44483</c:v>
                </c:pt>
                <c:pt idx="3698">
                  <c:v>44484</c:v>
                </c:pt>
                <c:pt idx="3699">
                  <c:v>44485</c:v>
                </c:pt>
                <c:pt idx="3700">
                  <c:v>44486</c:v>
                </c:pt>
                <c:pt idx="3701">
                  <c:v>44487</c:v>
                </c:pt>
                <c:pt idx="3702">
                  <c:v>44488</c:v>
                </c:pt>
                <c:pt idx="3703">
                  <c:v>44489</c:v>
                </c:pt>
                <c:pt idx="3704">
                  <c:v>44490</c:v>
                </c:pt>
                <c:pt idx="3705">
                  <c:v>44491</c:v>
                </c:pt>
                <c:pt idx="3706">
                  <c:v>44492</c:v>
                </c:pt>
                <c:pt idx="3707">
                  <c:v>44493</c:v>
                </c:pt>
                <c:pt idx="3708">
                  <c:v>44494</c:v>
                </c:pt>
                <c:pt idx="3709">
                  <c:v>44495</c:v>
                </c:pt>
                <c:pt idx="3710">
                  <c:v>44496</c:v>
                </c:pt>
                <c:pt idx="3711">
                  <c:v>44497</c:v>
                </c:pt>
                <c:pt idx="3712">
                  <c:v>44498</c:v>
                </c:pt>
                <c:pt idx="3713">
                  <c:v>44499</c:v>
                </c:pt>
                <c:pt idx="3714">
                  <c:v>44500</c:v>
                </c:pt>
                <c:pt idx="3715">
                  <c:v>44501</c:v>
                </c:pt>
                <c:pt idx="3716">
                  <c:v>44502</c:v>
                </c:pt>
                <c:pt idx="3717">
                  <c:v>44503</c:v>
                </c:pt>
                <c:pt idx="3718">
                  <c:v>44504</c:v>
                </c:pt>
                <c:pt idx="3719">
                  <c:v>44505</c:v>
                </c:pt>
                <c:pt idx="3720">
                  <c:v>44506</c:v>
                </c:pt>
                <c:pt idx="3721">
                  <c:v>44507</c:v>
                </c:pt>
                <c:pt idx="3722">
                  <c:v>44508</c:v>
                </c:pt>
                <c:pt idx="3723">
                  <c:v>44509</c:v>
                </c:pt>
                <c:pt idx="3724">
                  <c:v>44510</c:v>
                </c:pt>
                <c:pt idx="3725">
                  <c:v>44511</c:v>
                </c:pt>
                <c:pt idx="3726">
                  <c:v>44512</c:v>
                </c:pt>
                <c:pt idx="3727">
                  <c:v>44513</c:v>
                </c:pt>
                <c:pt idx="3728">
                  <c:v>44514</c:v>
                </c:pt>
                <c:pt idx="3729">
                  <c:v>44515</c:v>
                </c:pt>
                <c:pt idx="3730">
                  <c:v>44516</c:v>
                </c:pt>
                <c:pt idx="3731">
                  <c:v>44517</c:v>
                </c:pt>
                <c:pt idx="3732">
                  <c:v>44518</c:v>
                </c:pt>
                <c:pt idx="3733">
                  <c:v>44519</c:v>
                </c:pt>
                <c:pt idx="3734">
                  <c:v>44520</c:v>
                </c:pt>
                <c:pt idx="3735">
                  <c:v>44521</c:v>
                </c:pt>
                <c:pt idx="3736">
                  <c:v>44522</c:v>
                </c:pt>
                <c:pt idx="3737">
                  <c:v>44523</c:v>
                </c:pt>
                <c:pt idx="3738">
                  <c:v>44524</c:v>
                </c:pt>
                <c:pt idx="3739">
                  <c:v>44525</c:v>
                </c:pt>
                <c:pt idx="3740">
                  <c:v>44526</c:v>
                </c:pt>
                <c:pt idx="3741">
                  <c:v>44527</c:v>
                </c:pt>
                <c:pt idx="3742">
                  <c:v>44528</c:v>
                </c:pt>
                <c:pt idx="3743">
                  <c:v>44529</c:v>
                </c:pt>
                <c:pt idx="3744">
                  <c:v>44530</c:v>
                </c:pt>
                <c:pt idx="3745">
                  <c:v>44531</c:v>
                </c:pt>
                <c:pt idx="3746">
                  <c:v>44532</c:v>
                </c:pt>
                <c:pt idx="3747">
                  <c:v>44533</c:v>
                </c:pt>
                <c:pt idx="3748">
                  <c:v>44534</c:v>
                </c:pt>
                <c:pt idx="3749">
                  <c:v>44535</c:v>
                </c:pt>
                <c:pt idx="3750">
                  <c:v>44536</c:v>
                </c:pt>
                <c:pt idx="3751">
                  <c:v>44537</c:v>
                </c:pt>
                <c:pt idx="3752">
                  <c:v>44538</c:v>
                </c:pt>
                <c:pt idx="3753">
                  <c:v>44539</c:v>
                </c:pt>
                <c:pt idx="3754">
                  <c:v>44540</c:v>
                </c:pt>
                <c:pt idx="3755">
                  <c:v>44541</c:v>
                </c:pt>
                <c:pt idx="3756">
                  <c:v>44542</c:v>
                </c:pt>
                <c:pt idx="3757">
                  <c:v>44543</c:v>
                </c:pt>
                <c:pt idx="3758">
                  <c:v>44544</c:v>
                </c:pt>
                <c:pt idx="3759">
                  <c:v>44545</c:v>
                </c:pt>
                <c:pt idx="3760">
                  <c:v>44546</c:v>
                </c:pt>
                <c:pt idx="3761">
                  <c:v>44547</c:v>
                </c:pt>
                <c:pt idx="3762">
                  <c:v>44548</c:v>
                </c:pt>
                <c:pt idx="3763">
                  <c:v>44549</c:v>
                </c:pt>
                <c:pt idx="3764">
                  <c:v>44550</c:v>
                </c:pt>
                <c:pt idx="3765">
                  <c:v>44551</c:v>
                </c:pt>
                <c:pt idx="3766">
                  <c:v>44552</c:v>
                </c:pt>
                <c:pt idx="3767">
                  <c:v>44553</c:v>
                </c:pt>
                <c:pt idx="3768">
                  <c:v>44554</c:v>
                </c:pt>
                <c:pt idx="3769">
                  <c:v>44555</c:v>
                </c:pt>
                <c:pt idx="3770">
                  <c:v>44556</c:v>
                </c:pt>
                <c:pt idx="3771">
                  <c:v>44557</c:v>
                </c:pt>
                <c:pt idx="3772">
                  <c:v>44558</c:v>
                </c:pt>
                <c:pt idx="3773">
                  <c:v>44559</c:v>
                </c:pt>
                <c:pt idx="3774">
                  <c:v>44560</c:v>
                </c:pt>
                <c:pt idx="3775">
                  <c:v>44561</c:v>
                </c:pt>
                <c:pt idx="3776">
                  <c:v>44562</c:v>
                </c:pt>
                <c:pt idx="3777">
                  <c:v>44563</c:v>
                </c:pt>
                <c:pt idx="3778">
                  <c:v>44564</c:v>
                </c:pt>
                <c:pt idx="3779">
                  <c:v>44565</c:v>
                </c:pt>
                <c:pt idx="3780">
                  <c:v>44566</c:v>
                </c:pt>
                <c:pt idx="3781">
                  <c:v>44567</c:v>
                </c:pt>
                <c:pt idx="3782">
                  <c:v>44568</c:v>
                </c:pt>
                <c:pt idx="3783">
                  <c:v>44569</c:v>
                </c:pt>
                <c:pt idx="3784">
                  <c:v>44570</c:v>
                </c:pt>
                <c:pt idx="3785">
                  <c:v>44571</c:v>
                </c:pt>
                <c:pt idx="3786">
                  <c:v>44572</c:v>
                </c:pt>
                <c:pt idx="3787">
                  <c:v>44573</c:v>
                </c:pt>
                <c:pt idx="3788">
                  <c:v>44574</c:v>
                </c:pt>
                <c:pt idx="3789">
                  <c:v>44575</c:v>
                </c:pt>
                <c:pt idx="3790">
                  <c:v>44576</c:v>
                </c:pt>
                <c:pt idx="3791">
                  <c:v>44577</c:v>
                </c:pt>
                <c:pt idx="3792">
                  <c:v>44578</c:v>
                </c:pt>
                <c:pt idx="3793">
                  <c:v>44579</c:v>
                </c:pt>
                <c:pt idx="3794">
                  <c:v>44580</c:v>
                </c:pt>
                <c:pt idx="3795">
                  <c:v>44581</c:v>
                </c:pt>
                <c:pt idx="3796">
                  <c:v>44582</c:v>
                </c:pt>
                <c:pt idx="3797">
                  <c:v>44583</c:v>
                </c:pt>
                <c:pt idx="3798">
                  <c:v>44584</c:v>
                </c:pt>
                <c:pt idx="3799">
                  <c:v>44585</c:v>
                </c:pt>
                <c:pt idx="3800">
                  <c:v>44586</c:v>
                </c:pt>
                <c:pt idx="3801">
                  <c:v>44587</c:v>
                </c:pt>
                <c:pt idx="3802">
                  <c:v>44588</c:v>
                </c:pt>
                <c:pt idx="3803">
                  <c:v>44589</c:v>
                </c:pt>
                <c:pt idx="3804">
                  <c:v>44590</c:v>
                </c:pt>
                <c:pt idx="3805">
                  <c:v>44591</c:v>
                </c:pt>
                <c:pt idx="3806">
                  <c:v>44592</c:v>
                </c:pt>
                <c:pt idx="3807">
                  <c:v>44593</c:v>
                </c:pt>
                <c:pt idx="3808">
                  <c:v>44594</c:v>
                </c:pt>
                <c:pt idx="3809">
                  <c:v>44595</c:v>
                </c:pt>
                <c:pt idx="3810">
                  <c:v>44596</c:v>
                </c:pt>
                <c:pt idx="3811">
                  <c:v>44597</c:v>
                </c:pt>
                <c:pt idx="3812">
                  <c:v>44598</c:v>
                </c:pt>
                <c:pt idx="3813">
                  <c:v>44599</c:v>
                </c:pt>
                <c:pt idx="3814">
                  <c:v>44600</c:v>
                </c:pt>
                <c:pt idx="3815">
                  <c:v>44601</c:v>
                </c:pt>
                <c:pt idx="3816">
                  <c:v>44602</c:v>
                </c:pt>
                <c:pt idx="3817">
                  <c:v>44603</c:v>
                </c:pt>
                <c:pt idx="3818">
                  <c:v>44604</c:v>
                </c:pt>
                <c:pt idx="3819">
                  <c:v>44605</c:v>
                </c:pt>
                <c:pt idx="3820">
                  <c:v>44606</c:v>
                </c:pt>
                <c:pt idx="3821">
                  <c:v>44607</c:v>
                </c:pt>
                <c:pt idx="3822">
                  <c:v>44608</c:v>
                </c:pt>
                <c:pt idx="3823">
                  <c:v>44609</c:v>
                </c:pt>
                <c:pt idx="3824">
                  <c:v>44610</c:v>
                </c:pt>
                <c:pt idx="3825">
                  <c:v>44611</c:v>
                </c:pt>
                <c:pt idx="3826">
                  <c:v>44612</c:v>
                </c:pt>
                <c:pt idx="3827">
                  <c:v>44613</c:v>
                </c:pt>
                <c:pt idx="3828">
                  <c:v>44614</c:v>
                </c:pt>
                <c:pt idx="3829">
                  <c:v>44615</c:v>
                </c:pt>
                <c:pt idx="3830">
                  <c:v>44616</c:v>
                </c:pt>
                <c:pt idx="3831">
                  <c:v>44617</c:v>
                </c:pt>
                <c:pt idx="3832">
                  <c:v>44618</c:v>
                </c:pt>
                <c:pt idx="3833">
                  <c:v>44619</c:v>
                </c:pt>
                <c:pt idx="3834">
                  <c:v>44620</c:v>
                </c:pt>
                <c:pt idx="3835">
                  <c:v>44621</c:v>
                </c:pt>
                <c:pt idx="3836">
                  <c:v>44622</c:v>
                </c:pt>
                <c:pt idx="3837">
                  <c:v>44623</c:v>
                </c:pt>
                <c:pt idx="3838">
                  <c:v>44624</c:v>
                </c:pt>
                <c:pt idx="3839">
                  <c:v>44625</c:v>
                </c:pt>
                <c:pt idx="3840">
                  <c:v>44626</c:v>
                </c:pt>
                <c:pt idx="3841">
                  <c:v>44627</c:v>
                </c:pt>
                <c:pt idx="3842">
                  <c:v>44628</c:v>
                </c:pt>
                <c:pt idx="3843">
                  <c:v>44629</c:v>
                </c:pt>
                <c:pt idx="3844">
                  <c:v>44630</c:v>
                </c:pt>
                <c:pt idx="3845">
                  <c:v>44631</c:v>
                </c:pt>
                <c:pt idx="3846">
                  <c:v>44632</c:v>
                </c:pt>
                <c:pt idx="3847">
                  <c:v>44633</c:v>
                </c:pt>
                <c:pt idx="3848">
                  <c:v>44634</c:v>
                </c:pt>
                <c:pt idx="3849">
                  <c:v>44635</c:v>
                </c:pt>
                <c:pt idx="3850">
                  <c:v>44636</c:v>
                </c:pt>
                <c:pt idx="3851">
                  <c:v>44637</c:v>
                </c:pt>
                <c:pt idx="3852">
                  <c:v>44638</c:v>
                </c:pt>
                <c:pt idx="3853">
                  <c:v>44639</c:v>
                </c:pt>
                <c:pt idx="3854">
                  <c:v>44640</c:v>
                </c:pt>
                <c:pt idx="3855">
                  <c:v>44641</c:v>
                </c:pt>
                <c:pt idx="3856">
                  <c:v>44642</c:v>
                </c:pt>
                <c:pt idx="3857">
                  <c:v>44643</c:v>
                </c:pt>
                <c:pt idx="3858">
                  <c:v>44644</c:v>
                </c:pt>
                <c:pt idx="3859">
                  <c:v>44645</c:v>
                </c:pt>
                <c:pt idx="3860">
                  <c:v>44646</c:v>
                </c:pt>
                <c:pt idx="3861">
                  <c:v>44647</c:v>
                </c:pt>
                <c:pt idx="3862">
                  <c:v>44648</c:v>
                </c:pt>
                <c:pt idx="3863">
                  <c:v>44649</c:v>
                </c:pt>
                <c:pt idx="3864">
                  <c:v>44650</c:v>
                </c:pt>
                <c:pt idx="3865">
                  <c:v>44651</c:v>
                </c:pt>
                <c:pt idx="3866">
                  <c:v>44652</c:v>
                </c:pt>
                <c:pt idx="3867">
                  <c:v>44653</c:v>
                </c:pt>
                <c:pt idx="3868">
                  <c:v>44654</c:v>
                </c:pt>
                <c:pt idx="3869">
                  <c:v>44655</c:v>
                </c:pt>
                <c:pt idx="3870">
                  <c:v>44656</c:v>
                </c:pt>
                <c:pt idx="3871">
                  <c:v>44657</c:v>
                </c:pt>
                <c:pt idx="3872">
                  <c:v>44658</c:v>
                </c:pt>
                <c:pt idx="3873">
                  <c:v>44659</c:v>
                </c:pt>
                <c:pt idx="3874">
                  <c:v>44660</c:v>
                </c:pt>
                <c:pt idx="3875">
                  <c:v>44661</c:v>
                </c:pt>
                <c:pt idx="3876">
                  <c:v>44662</c:v>
                </c:pt>
                <c:pt idx="3877">
                  <c:v>44663</c:v>
                </c:pt>
                <c:pt idx="3878">
                  <c:v>44664</c:v>
                </c:pt>
                <c:pt idx="3879">
                  <c:v>44665</c:v>
                </c:pt>
                <c:pt idx="3880">
                  <c:v>44666</c:v>
                </c:pt>
                <c:pt idx="3881">
                  <c:v>44667</c:v>
                </c:pt>
                <c:pt idx="3882">
                  <c:v>44668</c:v>
                </c:pt>
                <c:pt idx="3883">
                  <c:v>44669</c:v>
                </c:pt>
                <c:pt idx="3884">
                  <c:v>44670</c:v>
                </c:pt>
                <c:pt idx="3885">
                  <c:v>44671</c:v>
                </c:pt>
                <c:pt idx="3886">
                  <c:v>44672</c:v>
                </c:pt>
                <c:pt idx="3887">
                  <c:v>44673</c:v>
                </c:pt>
                <c:pt idx="3888">
                  <c:v>44674</c:v>
                </c:pt>
                <c:pt idx="3889">
                  <c:v>44675</c:v>
                </c:pt>
                <c:pt idx="3890">
                  <c:v>44676</c:v>
                </c:pt>
                <c:pt idx="3891">
                  <c:v>44677</c:v>
                </c:pt>
                <c:pt idx="3892">
                  <c:v>44678</c:v>
                </c:pt>
                <c:pt idx="3893">
                  <c:v>44679</c:v>
                </c:pt>
                <c:pt idx="3894">
                  <c:v>44680</c:v>
                </c:pt>
                <c:pt idx="3895">
                  <c:v>44681</c:v>
                </c:pt>
                <c:pt idx="3896">
                  <c:v>44682</c:v>
                </c:pt>
                <c:pt idx="3897">
                  <c:v>44683</c:v>
                </c:pt>
                <c:pt idx="3898">
                  <c:v>44684</c:v>
                </c:pt>
                <c:pt idx="3899">
                  <c:v>44685</c:v>
                </c:pt>
                <c:pt idx="3900">
                  <c:v>44686</c:v>
                </c:pt>
                <c:pt idx="3901">
                  <c:v>44687</c:v>
                </c:pt>
                <c:pt idx="3902">
                  <c:v>44688</c:v>
                </c:pt>
                <c:pt idx="3903">
                  <c:v>44689</c:v>
                </c:pt>
                <c:pt idx="3904">
                  <c:v>44690</c:v>
                </c:pt>
                <c:pt idx="3905">
                  <c:v>44691</c:v>
                </c:pt>
                <c:pt idx="3906">
                  <c:v>44692</c:v>
                </c:pt>
                <c:pt idx="3907">
                  <c:v>44693</c:v>
                </c:pt>
                <c:pt idx="3908">
                  <c:v>44694</c:v>
                </c:pt>
                <c:pt idx="3909">
                  <c:v>44695</c:v>
                </c:pt>
                <c:pt idx="3910">
                  <c:v>44696</c:v>
                </c:pt>
                <c:pt idx="3911">
                  <c:v>44697</c:v>
                </c:pt>
                <c:pt idx="3912">
                  <c:v>44698</c:v>
                </c:pt>
                <c:pt idx="3913">
                  <c:v>44699</c:v>
                </c:pt>
                <c:pt idx="3914">
                  <c:v>44700</c:v>
                </c:pt>
                <c:pt idx="3915">
                  <c:v>44701</c:v>
                </c:pt>
                <c:pt idx="3916">
                  <c:v>44702</c:v>
                </c:pt>
                <c:pt idx="3917">
                  <c:v>44703</c:v>
                </c:pt>
                <c:pt idx="3918">
                  <c:v>44704</c:v>
                </c:pt>
                <c:pt idx="3919">
                  <c:v>44705</c:v>
                </c:pt>
                <c:pt idx="3920">
                  <c:v>44706</c:v>
                </c:pt>
                <c:pt idx="3921">
                  <c:v>44707</c:v>
                </c:pt>
                <c:pt idx="3922">
                  <c:v>44708</c:v>
                </c:pt>
                <c:pt idx="3923">
                  <c:v>44709</c:v>
                </c:pt>
                <c:pt idx="3924">
                  <c:v>44710</c:v>
                </c:pt>
                <c:pt idx="3925">
                  <c:v>44711</c:v>
                </c:pt>
                <c:pt idx="3926">
                  <c:v>44712</c:v>
                </c:pt>
                <c:pt idx="3927">
                  <c:v>44713</c:v>
                </c:pt>
                <c:pt idx="3928">
                  <c:v>44714</c:v>
                </c:pt>
                <c:pt idx="3929">
                  <c:v>44715</c:v>
                </c:pt>
                <c:pt idx="3930">
                  <c:v>44716</c:v>
                </c:pt>
                <c:pt idx="3931">
                  <c:v>44717</c:v>
                </c:pt>
                <c:pt idx="3932">
                  <c:v>44718</c:v>
                </c:pt>
                <c:pt idx="3933">
                  <c:v>44719</c:v>
                </c:pt>
                <c:pt idx="3934">
                  <c:v>44720</c:v>
                </c:pt>
                <c:pt idx="3935">
                  <c:v>44721</c:v>
                </c:pt>
                <c:pt idx="3936">
                  <c:v>44722</c:v>
                </c:pt>
                <c:pt idx="3937">
                  <c:v>44723</c:v>
                </c:pt>
                <c:pt idx="3938">
                  <c:v>44724</c:v>
                </c:pt>
                <c:pt idx="3939">
                  <c:v>44725</c:v>
                </c:pt>
                <c:pt idx="3940">
                  <c:v>44726</c:v>
                </c:pt>
                <c:pt idx="3941">
                  <c:v>44727</c:v>
                </c:pt>
                <c:pt idx="3942">
                  <c:v>44728</c:v>
                </c:pt>
                <c:pt idx="3943">
                  <c:v>44729</c:v>
                </c:pt>
                <c:pt idx="3944">
                  <c:v>44730</c:v>
                </c:pt>
                <c:pt idx="3945">
                  <c:v>44731</c:v>
                </c:pt>
                <c:pt idx="3946">
                  <c:v>44732</c:v>
                </c:pt>
                <c:pt idx="3947">
                  <c:v>44733</c:v>
                </c:pt>
                <c:pt idx="3948">
                  <c:v>44734</c:v>
                </c:pt>
                <c:pt idx="3949">
                  <c:v>44735</c:v>
                </c:pt>
                <c:pt idx="3950">
                  <c:v>44736</c:v>
                </c:pt>
                <c:pt idx="3951">
                  <c:v>44737</c:v>
                </c:pt>
                <c:pt idx="3952">
                  <c:v>44738</c:v>
                </c:pt>
                <c:pt idx="3953">
                  <c:v>44739</c:v>
                </c:pt>
                <c:pt idx="3954">
                  <c:v>44740</c:v>
                </c:pt>
                <c:pt idx="3955">
                  <c:v>44741</c:v>
                </c:pt>
                <c:pt idx="3956">
                  <c:v>44742</c:v>
                </c:pt>
                <c:pt idx="3957">
                  <c:v>44743</c:v>
                </c:pt>
                <c:pt idx="3958">
                  <c:v>44744</c:v>
                </c:pt>
                <c:pt idx="3959">
                  <c:v>44745</c:v>
                </c:pt>
                <c:pt idx="3960">
                  <c:v>44746</c:v>
                </c:pt>
                <c:pt idx="3961">
                  <c:v>44747</c:v>
                </c:pt>
                <c:pt idx="3962">
                  <c:v>44748</c:v>
                </c:pt>
                <c:pt idx="3963">
                  <c:v>44749</c:v>
                </c:pt>
                <c:pt idx="3964">
                  <c:v>44750</c:v>
                </c:pt>
                <c:pt idx="3965">
                  <c:v>44751</c:v>
                </c:pt>
                <c:pt idx="3966">
                  <c:v>44752</c:v>
                </c:pt>
                <c:pt idx="3967">
                  <c:v>44753</c:v>
                </c:pt>
                <c:pt idx="3968">
                  <c:v>44754</c:v>
                </c:pt>
                <c:pt idx="3969">
                  <c:v>44755</c:v>
                </c:pt>
                <c:pt idx="3970">
                  <c:v>44756</c:v>
                </c:pt>
                <c:pt idx="3971">
                  <c:v>44757</c:v>
                </c:pt>
                <c:pt idx="3972">
                  <c:v>44758</c:v>
                </c:pt>
                <c:pt idx="3973">
                  <c:v>44759</c:v>
                </c:pt>
                <c:pt idx="3974">
                  <c:v>44760</c:v>
                </c:pt>
                <c:pt idx="3975">
                  <c:v>44761</c:v>
                </c:pt>
                <c:pt idx="3976">
                  <c:v>44762</c:v>
                </c:pt>
                <c:pt idx="3977">
                  <c:v>44763</c:v>
                </c:pt>
                <c:pt idx="3978">
                  <c:v>44764</c:v>
                </c:pt>
                <c:pt idx="3979">
                  <c:v>44765</c:v>
                </c:pt>
                <c:pt idx="3980">
                  <c:v>44766</c:v>
                </c:pt>
                <c:pt idx="3981">
                  <c:v>44767</c:v>
                </c:pt>
                <c:pt idx="3982">
                  <c:v>44768</c:v>
                </c:pt>
                <c:pt idx="3983">
                  <c:v>44769</c:v>
                </c:pt>
                <c:pt idx="3984">
                  <c:v>44770</c:v>
                </c:pt>
                <c:pt idx="3985">
                  <c:v>44771</c:v>
                </c:pt>
                <c:pt idx="3986">
                  <c:v>44772</c:v>
                </c:pt>
                <c:pt idx="3987">
                  <c:v>44773</c:v>
                </c:pt>
                <c:pt idx="3988">
                  <c:v>44774</c:v>
                </c:pt>
                <c:pt idx="3989">
                  <c:v>44775</c:v>
                </c:pt>
                <c:pt idx="3990">
                  <c:v>44776</c:v>
                </c:pt>
                <c:pt idx="3991">
                  <c:v>44777</c:v>
                </c:pt>
                <c:pt idx="3992">
                  <c:v>44778</c:v>
                </c:pt>
                <c:pt idx="3993">
                  <c:v>44779</c:v>
                </c:pt>
                <c:pt idx="3994">
                  <c:v>44780</c:v>
                </c:pt>
                <c:pt idx="3995">
                  <c:v>44781</c:v>
                </c:pt>
                <c:pt idx="3996">
                  <c:v>44782</c:v>
                </c:pt>
                <c:pt idx="3997">
                  <c:v>44783</c:v>
                </c:pt>
                <c:pt idx="3998">
                  <c:v>44784</c:v>
                </c:pt>
                <c:pt idx="3999">
                  <c:v>44785</c:v>
                </c:pt>
                <c:pt idx="4000">
                  <c:v>44786</c:v>
                </c:pt>
                <c:pt idx="4001">
                  <c:v>44787</c:v>
                </c:pt>
                <c:pt idx="4002">
                  <c:v>44788</c:v>
                </c:pt>
                <c:pt idx="4003">
                  <c:v>44789</c:v>
                </c:pt>
                <c:pt idx="4004">
                  <c:v>44790</c:v>
                </c:pt>
                <c:pt idx="4005">
                  <c:v>44791</c:v>
                </c:pt>
                <c:pt idx="4006">
                  <c:v>44792</c:v>
                </c:pt>
                <c:pt idx="4007">
                  <c:v>44793</c:v>
                </c:pt>
                <c:pt idx="4008">
                  <c:v>44794</c:v>
                </c:pt>
                <c:pt idx="4009">
                  <c:v>44795</c:v>
                </c:pt>
                <c:pt idx="4010">
                  <c:v>44796</c:v>
                </c:pt>
                <c:pt idx="4011">
                  <c:v>44797</c:v>
                </c:pt>
                <c:pt idx="4012">
                  <c:v>44798</c:v>
                </c:pt>
                <c:pt idx="4013">
                  <c:v>44799</c:v>
                </c:pt>
                <c:pt idx="4014">
                  <c:v>44800</c:v>
                </c:pt>
                <c:pt idx="4015">
                  <c:v>44801</c:v>
                </c:pt>
                <c:pt idx="4016">
                  <c:v>44802</c:v>
                </c:pt>
                <c:pt idx="4017">
                  <c:v>44803</c:v>
                </c:pt>
                <c:pt idx="4018">
                  <c:v>44804</c:v>
                </c:pt>
                <c:pt idx="4019">
                  <c:v>44805</c:v>
                </c:pt>
                <c:pt idx="4020">
                  <c:v>44806</c:v>
                </c:pt>
                <c:pt idx="4021">
                  <c:v>44807</c:v>
                </c:pt>
                <c:pt idx="4022">
                  <c:v>44808</c:v>
                </c:pt>
                <c:pt idx="4023">
                  <c:v>44809</c:v>
                </c:pt>
                <c:pt idx="4024">
                  <c:v>44810</c:v>
                </c:pt>
                <c:pt idx="4025">
                  <c:v>44811</c:v>
                </c:pt>
                <c:pt idx="4026">
                  <c:v>44812</c:v>
                </c:pt>
                <c:pt idx="4027">
                  <c:v>44813</c:v>
                </c:pt>
                <c:pt idx="4028">
                  <c:v>44814</c:v>
                </c:pt>
                <c:pt idx="4029">
                  <c:v>44815</c:v>
                </c:pt>
                <c:pt idx="4030">
                  <c:v>44816</c:v>
                </c:pt>
                <c:pt idx="4031">
                  <c:v>44817</c:v>
                </c:pt>
                <c:pt idx="4032">
                  <c:v>44818</c:v>
                </c:pt>
                <c:pt idx="4033">
                  <c:v>44819</c:v>
                </c:pt>
                <c:pt idx="4034">
                  <c:v>44820</c:v>
                </c:pt>
                <c:pt idx="4035">
                  <c:v>44821</c:v>
                </c:pt>
                <c:pt idx="4036">
                  <c:v>44822</c:v>
                </c:pt>
                <c:pt idx="4037">
                  <c:v>44823</c:v>
                </c:pt>
                <c:pt idx="4038">
                  <c:v>44824</c:v>
                </c:pt>
                <c:pt idx="4039">
                  <c:v>44825</c:v>
                </c:pt>
                <c:pt idx="4040">
                  <c:v>44826</c:v>
                </c:pt>
                <c:pt idx="4041">
                  <c:v>44827</c:v>
                </c:pt>
                <c:pt idx="4042">
                  <c:v>44828</c:v>
                </c:pt>
                <c:pt idx="4043">
                  <c:v>44829</c:v>
                </c:pt>
                <c:pt idx="4044">
                  <c:v>44830</c:v>
                </c:pt>
                <c:pt idx="4045">
                  <c:v>44831</c:v>
                </c:pt>
                <c:pt idx="4046">
                  <c:v>44832</c:v>
                </c:pt>
                <c:pt idx="4047">
                  <c:v>44833</c:v>
                </c:pt>
                <c:pt idx="4048">
                  <c:v>44834</c:v>
                </c:pt>
                <c:pt idx="4049">
                  <c:v>44835</c:v>
                </c:pt>
                <c:pt idx="4050">
                  <c:v>44836</c:v>
                </c:pt>
                <c:pt idx="4051">
                  <c:v>44837</c:v>
                </c:pt>
                <c:pt idx="4052">
                  <c:v>44838</c:v>
                </c:pt>
                <c:pt idx="4053">
                  <c:v>44839</c:v>
                </c:pt>
                <c:pt idx="4054">
                  <c:v>44840</c:v>
                </c:pt>
                <c:pt idx="4055">
                  <c:v>44841</c:v>
                </c:pt>
                <c:pt idx="4056">
                  <c:v>44842</c:v>
                </c:pt>
                <c:pt idx="4057">
                  <c:v>44843</c:v>
                </c:pt>
                <c:pt idx="4058">
                  <c:v>44844</c:v>
                </c:pt>
                <c:pt idx="4059">
                  <c:v>44845</c:v>
                </c:pt>
                <c:pt idx="4060">
                  <c:v>44846</c:v>
                </c:pt>
                <c:pt idx="4061">
                  <c:v>44847</c:v>
                </c:pt>
                <c:pt idx="4062">
                  <c:v>44848</c:v>
                </c:pt>
                <c:pt idx="4063">
                  <c:v>44849</c:v>
                </c:pt>
                <c:pt idx="4064">
                  <c:v>44850</c:v>
                </c:pt>
                <c:pt idx="4065">
                  <c:v>44851</c:v>
                </c:pt>
                <c:pt idx="4066">
                  <c:v>44852</c:v>
                </c:pt>
                <c:pt idx="4067">
                  <c:v>44853</c:v>
                </c:pt>
                <c:pt idx="4068">
                  <c:v>44854</c:v>
                </c:pt>
                <c:pt idx="4069">
                  <c:v>44855</c:v>
                </c:pt>
                <c:pt idx="4070">
                  <c:v>44856</c:v>
                </c:pt>
                <c:pt idx="4071">
                  <c:v>44857</c:v>
                </c:pt>
                <c:pt idx="4072">
                  <c:v>44858</c:v>
                </c:pt>
                <c:pt idx="4073">
                  <c:v>44859</c:v>
                </c:pt>
                <c:pt idx="4074">
                  <c:v>44860</c:v>
                </c:pt>
                <c:pt idx="4075">
                  <c:v>44861</c:v>
                </c:pt>
                <c:pt idx="4076">
                  <c:v>44862</c:v>
                </c:pt>
                <c:pt idx="4077">
                  <c:v>44863</c:v>
                </c:pt>
                <c:pt idx="4078">
                  <c:v>44864</c:v>
                </c:pt>
                <c:pt idx="4079">
                  <c:v>44865</c:v>
                </c:pt>
                <c:pt idx="4080">
                  <c:v>44866</c:v>
                </c:pt>
                <c:pt idx="4081">
                  <c:v>44867</c:v>
                </c:pt>
                <c:pt idx="4082">
                  <c:v>44868</c:v>
                </c:pt>
                <c:pt idx="4083">
                  <c:v>44869</c:v>
                </c:pt>
                <c:pt idx="4084">
                  <c:v>44870</c:v>
                </c:pt>
                <c:pt idx="4085">
                  <c:v>44871</c:v>
                </c:pt>
                <c:pt idx="4086">
                  <c:v>44872</c:v>
                </c:pt>
                <c:pt idx="4087">
                  <c:v>44873</c:v>
                </c:pt>
                <c:pt idx="4088">
                  <c:v>44874</c:v>
                </c:pt>
                <c:pt idx="4089">
                  <c:v>44875</c:v>
                </c:pt>
                <c:pt idx="4090">
                  <c:v>44876</c:v>
                </c:pt>
                <c:pt idx="4091">
                  <c:v>44877</c:v>
                </c:pt>
                <c:pt idx="4092">
                  <c:v>44878</c:v>
                </c:pt>
                <c:pt idx="4093">
                  <c:v>44879</c:v>
                </c:pt>
                <c:pt idx="4094">
                  <c:v>44880</c:v>
                </c:pt>
                <c:pt idx="4095">
                  <c:v>44881</c:v>
                </c:pt>
                <c:pt idx="4096">
                  <c:v>44882</c:v>
                </c:pt>
                <c:pt idx="4097">
                  <c:v>44883</c:v>
                </c:pt>
                <c:pt idx="4098">
                  <c:v>44884</c:v>
                </c:pt>
                <c:pt idx="4099">
                  <c:v>44885</c:v>
                </c:pt>
                <c:pt idx="4100">
                  <c:v>44886</c:v>
                </c:pt>
                <c:pt idx="4101">
                  <c:v>44887</c:v>
                </c:pt>
                <c:pt idx="4102">
                  <c:v>44888</c:v>
                </c:pt>
                <c:pt idx="4103">
                  <c:v>44889</c:v>
                </c:pt>
                <c:pt idx="4104">
                  <c:v>44890</c:v>
                </c:pt>
                <c:pt idx="4105">
                  <c:v>44891</c:v>
                </c:pt>
                <c:pt idx="4106">
                  <c:v>44892</c:v>
                </c:pt>
                <c:pt idx="4107">
                  <c:v>44893</c:v>
                </c:pt>
                <c:pt idx="4108">
                  <c:v>44894</c:v>
                </c:pt>
                <c:pt idx="4109">
                  <c:v>44895</c:v>
                </c:pt>
                <c:pt idx="4110">
                  <c:v>44896</c:v>
                </c:pt>
                <c:pt idx="4111">
                  <c:v>44897</c:v>
                </c:pt>
                <c:pt idx="4112">
                  <c:v>44898</c:v>
                </c:pt>
                <c:pt idx="4113">
                  <c:v>44899</c:v>
                </c:pt>
                <c:pt idx="4114">
                  <c:v>44900</c:v>
                </c:pt>
                <c:pt idx="4115">
                  <c:v>44901</c:v>
                </c:pt>
                <c:pt idx="4116">
                  <c:v>44902</c:v>
                </c:pt>
                <c:pt idx="4117">
                  <c:v>44903</c:v>
                </c:pt>
                <c:pt idx="4118">
                  <c:v>44904</c:v>
                </c:pt>
                <c:pt idx="4119">
                  <c:v>44905</c:v>
                </c:pt>
                <c:pt idx="4120">
                  <c:v>44906</c:v>
                </c:pt>
                <c:pt idx="4121">
                  <c:v>44907</c:v>
                </c:pt>
                <c:pt idx="4122">
                  <c:v>44908</c:v>
                </c:pt>
                <c:pt idx="4123">
                  <c:v>44909</c:v>
                </c:pt>
                <c:pt idx="4124">
                  <c:v>44910</c:v>
                </c:pt>
                <c:pt idx="4125">
                  <c:v>44911</c:v>
                </c:pt>
                <c:pt idx="4126">
                  <c:v>44912</c:v>
                </c:pt>
                <c:pt idx="4127">
                  <c:v>44913</c:v>
                </c:pt>
                <c:pt idx="4128">
                  <c:v>44914</c:v>
                </c:pt>
                <c:pt idx="4129">
                  <c:v>44915</c:v>
                </c:pt>
                <c:pt idx="4130">
                  <c:v>44916</c:v>
                </c:pt>
                <c:pt idx="4131">
                  <c:v>44917</c:v>
                </c:pt>
                <c:pt idx="4132">
                  <c:v>44918</c:v>
                </c:pt>
                <c:pt idx="4133">
                  <c:v>44919</c:v>
                </c:pt>
                <c:pt idx="4134">
                  <c:v>44920</c:v>
                </c:pt>
                <c:pt idx="4135">
                  <c:v>44921</c:v>
                </c:pt>
                <c:pt idx="4136">
                  <c:v>44922</c:v>
                </c:pt>
                <c:pt idx="4137">
                  <c:v>44923</c:v>
                </c:pt>
                <c:pt idx="4138">
                  <c:v>44924</c:v>
                </c:pt>
                <c:pt idx="4139">
                  <c:v>44925</c:v>
                </c:pt>
                <c:pt idx="4140">
                  <c:v>44926</c:v>
                </c:pt>
                <c:pt idx="4141">
                  <c:v>44927</c:v>
                </c:pt>
                <c:pt idx="4142">
                  <c:v>44928</c:v>
                </c:pt>
                <c:pt idx="4143">
                  <c:v>44929</c:v>
                </c:pt>
                <c:pt idx="4144">
                  <c:v>44930</c:v>
                </c:pt>
                <c:pt idx="4145">
                  <c:v>44931</c:v>
                </c:pt>
                <c:pt idx="4146">
                  <c:v>44932</c:v>
                </c:pt>
                <c:pt idx="4147">
                  <c:v>44933</c:v>
                </c:pt>
                <c:pt idx="4148">
                  <c:v>44934</c:v>
                </c:pt>
                <c:pt idx="4149">
                  <c:v>44935</c:v>
                </c:pt>
                <c:pt idx="4150">
                  <c:v>44936</c:v>
                </c:pt>
                <c:pt idx="4151">
                  <c:v>44937</c:v>
                </c:pt>
                <c:pt idx="4152">
                  <c:v>44938</c:v>
                </c:pt>
                <c:pt idx="4153">
                  <c:v>44939</c:v>
                </c:pt>
                <c:pt idx="4154">
                  <c:v>44940</c:v>
                </c:pt>
                <c:pt idx="4155">
                  <c:v>44941</c:v>
                </c:pt>
                <c:pt idx="4156">
                  <c:v>44942</c:v>
                </c:pt>
                <c:pt idx="4157">
                  <c:v>44943</c:v>
                </c:pt>
                <c:pt idx="4158">
                  <c:v>44944</c:v>
                </c:pt>
                <c:pt idx="4159">
                  <c:v>44945</c:v>
                </c:pt>
                <c:pt idx="4160">
                  <c:v>44946</c:v>
                </c:pt>
                <c:pt idx="4161">
                  <c:v>44947</c:v>
                </c:pt>
                <c:pt idx="4162">
                  <c:v>44948</c:v>
                </c:pt>
                <c:pt idx="4163">
                  <c:v>44949</c:v>
                </c:pt>
                <c:pt idx="4164">
                  <c:v>44950</c:v>
                </c:pt>
                <c:pt idx="4165">
                  <c:v>44951</c:v>
                </c:pt>
                <c:pt idx="4166">
                  <c:v>44952</c:v>
                </c:pt>
                <c:pt idx="4167">
                  <c:v>44953</c:v>
                </c:pt>
                <c:pt idx="4168">
                  <c:v>44954</c:v>
                </c:pt>
                <c:pt idx="4169">
                  <c:v>44955</c:v>
                </c:pt>
                <c:pt idx="4170">
                  <c:v>44956</c:v>
                </c:pt>
                <c:pt idx="4171">
                  <c:v>44957</c:v>
                </c:pt>
                <c:pt idx="4172">
                  <c:v>44958</c:v>
                </c:pt>
                <c:pt idx="4173">
                  <c:v>44959</c:v>
                </c:pt>
                <c:pt idx="4174">
                  <c:v>44960</c:v>
                </c:pt>
                <c:pt idx="4175">
                  <c:v>44961</c:v>
                </c:pt>
                <c:pt idx="4176">
                  <c:v>44962</c:v>
                </c:pt>
                <c:pt idx="4177">
                  <c:v>44963</c:v>
                </c:pt>
                <c:pt idx="4178">
                  <c:v>44964</c:v>
                </c:pt>
                <c:pt idx="4179">
                  <c:v>44965</c:v>
                </c:pt>
                <c:pt idx="4180">
                  <c:v>44966</c:v>
                </c:pt>
                <c:pt idx="4181">
                  <c:v>44967</c:v>
                </c:pt>
                <c:pt idx="4182">
                  <c:v>44968</c:v>
                </c:pt>
                <c:pt idx="4183">
                  <c:v>44969</c:v>
                </c:pt>
                <c:pt idx="4184">
                  <c:v>44970</c:v>
                </c:pt>
                <c:pt idx="4185">
                  <c:v>44971</c:v>
                </c:pt>
                <c:pt idx="4186">
                  <c:v>44972</c:v>
                </c:pt>
                <c:pt idx="4187">
                  <c:v>44973</c:v>
                </c:pt>
                <c:pt idx="4188">
                  <c:v>44974</c:v>
                </c:pt>
                <c:pt idx="4189">
                  <c:v>44975</c:v>
                </c:pt>
                <c:pt idx="4190">
                  <c:v>44976</c:v>
                </c:pt>
                <c:pt idx="4191">
                  <c:v>44977</c:v>
                </c:pt>
                <c:pt idx="4192">
                  <c:v>44978</c:v>
                </c:pt>
                <c:pt idx="4193">
                  <c:v>44979</c:v>
                </c:pt>
                <c:pt idx="4194">
                  <c:v>44980</c:v>
                </c:pt>
                <c:pt idx="4195">
                  <c:v>44981</c:v>
                </c:pt>
                <c:pt idx="4196">
                  <c:v>44982</c:v>
                </c:pt>
                <c:pt idx="4197">
                  <c:v>44983</c:v>
                </c:pt>
                <c:pt idx="4198">
                  <c:v>44984</c:v>
                </c:pt>
                <c:pt idx="4199">
                  <c:v>44985</c:v>
                </c:pt>
                <c:pt idx="4200">
                  <c:v>44986</c:v>
                </c:pt>
                <c:pt idx="4201">
                  <c:v>44987</c:v>
                </c:pt>
                <c:pt idx="4202">
                  <c:v>44988</c:v>
                </c:pt>
                <c:pt idx="4203">
                  <c:v>44989</c:v>
                </c:pt>
                <c:pt idx="4204">
                  <c:v>44990</c:v>
                </c:pt>
                <c:pt idx="4205">
                  <c:v>44991</c:v>
                </c:pt>
                <c:pt idx="4206">
                  <c:v>44992</c:v>
                </c:pt>
                <c:pt idx="4207">
                  <c:v>44993</c:v>
                </c:pt>
                <c:pt idx="4208">
                  <c:v>44994</c:v>
                </c:pt>
                <c:pt idx="4209">
                  <c:v>44995</c:v>
                </c:pt>
                <c:pt idx="4210">
                  <c:v>44996</c:v>
                </c:pt>
                <c:pt idx="4211">
                  <c:v>44997</c:v>
                </c:pt>
                <c:pt idx="4212">
                  <c:v>44998</c:v>
                </c:pt>
                <c:pt idx="4213">
                  <c:v>44999</c:v>
                </c:pt>
                <c:pt idx="4214">
                  <c:v>45000</c:v>
                </c:pt>
                <c:pt idx="4215">
                  <c:v>45001</c:v>
                </c:pt>
                <c:pt idx="4216">
                  <c:v>45002</c:v>
                </c:pt>
                <c:pt idx="4217">
                  <c:v>45003</c:v>
                </c:pt>
                <c:pt idx="4218">
                  <c:v>45004</c:v>
                </c:pt>
                <c:pt idx="4219">
                  <c:v>45005</c:v>
                </c:pt>
                <c:pt idx="4220">
                  <c:v>45006</c:v>
                </c:pt>
                <c:pt idx="4221">
                  <c:v>45007</c:v>
                </c:pt>
                <c:pt idx="4222">
                  <c:v>45008</c:v>
                </c:pt>
                <c:pt idx="4223">
                  <c:v>45009</c:v>
                </c:pt>
                <c:pt idx="4224">
                  <c:v>45010</c:v>
                </c:pt>
                <c:pt idx="4225">
                  <c:v>45011</c:v>
                </c:pt>
                <c:pt idx="4226">
                  <c:v>45012</c:v>
                </c:pt>
                <c:pt idx="4227">
                  <c:v>45013</c:v>
                </c:pt>
                <c:pt idx="4228">
                  <c:v>45014</c:v>
                </c:pt>
                <c:pt idx="4229">
                  <c:v>45015</c:v>
                </c:pt>
                <c:pt idx="4230">
                  <c:v>45016</c:v>
                </c:pt>
                <c:pt idx="4231">
                  <c:v>45017</c:v>
                </c:pt>
                <c:pt idx="4232">
                  <c:v>45018</c:v>
                </c:pt>
                <c:pt idx="4233">
                  <c:v>45019</c:v>
                </c:pt>
                <c:pt idx="4234">
                  <c:v>45020</c:v>
                </c:pt>
                <c:pt idx="4235">
                  <c:v>45021</c:v>
                </c:pt>
                <c:pt idx="4236">
                  <c:v>45022</c:v>
                </c:pt>
                <c:pt idx="4237">
                  <c:v>45023</c:v>
                </c:pt>
                <c:pt idx="4238">
                  <c:v>45024</c:v>
                </c:pt>
                <c:pt idx="4239">
                  <c:v>45025</c:v>
                </c:pt>
                <c:pt idx="4240">
                  <c:v>45026</c:v>
                </c:pt>
                <c:pt idx="4241">
                  <c:v>45027</c:v>
                </c:pt>
                <c:pt idx="4242">
                  <c:v>45028</c:v>
                </c:pt>
                <c:pt idx="4243">
                  <c:v>45029</c:v>
                </c:pt>
                <c:pt idx="4244">
                  <c:v>45030</c:v>
                </c:pt>
                <c:pt idx="4245">
                  <c:v>45031</c:v>
                </c:pt>
                <c:pt idx="4246">
                  <c:v>45032</c:v>
                </c:pt>
                <c:pt idx="4247">
                  <c:v>45033</c:v>
                </c:pt>
                <c:pt idx="4248">
                  <c:v>45034</c:v>
                </c:pt>
                <c:pt idx="4249">
                  <c:v>45035</c:v>
                </c:pt>
                <c:pt idx="4250">
                  <c:v>45036</c:v>
                </c:pt>
                <c:pt idx="4251">
                  <c:v>45037</c:v>
                </c:pt>
                <c:pt idx="4252">
                  <c:v>45038</c:v>
                </c:pt>
                <c:pt idx="4253">
                  <c:v>45039</c:v>
                </c:pt>
                <c:pt idx="4254">
                  <c:v>45040</c:v>
                </c:pt>
                <c:pt idx="4255">
                  <c:v>45041</c:v>
                </c:pt>
                <c:pt idx="4256">
                  <c:v>45042</c:v>
                </c:pt>
                <c:pt idx="4257">
                  <c:v>45043</c:v>
                </c:pt>
                <c:pt idx="4258">
                  <c:v>45044</c:v>
                </c:pt>
                <c:pt idx="4259">
                  <c:v>45045</c:v>
                </c:pt>
                <c:pt idx="4260">
                  <c:v>45046</c:v>
                </c:pt>
                <c:pt idx="4261">
                  <c:v>45047</c:v>
                </c:pt>
                <c:pt idx="4262">
                  <c:v>45048</c:v>
                </c:pt>
                <c:pt idx="4263">
                  <c:v>45049</c:v>
                </c:pt>
                <c:pt idx="4264">
                  <c:v>45050</c:v>
                </c:pt>
                <c:pt idx="4265">
                  <c:v>45051</c:v>
                </c:pt>
                <c:pt idx="4266">
                  <c:v>45052</c:v>
                </c:pt>
                <c:pt idx="4267">
                  <c:v>45053</c:v>
                </c:pt>
                <c:pt idx="4268">
                  <c:v>45054</c:v>
                </c:pt>
                <c:pt idx="4269">
                  <c:v>45055</c:v>
                </c:pt>
                <c:pt idx="4270">
                  <c:v>45056</c:v>
                </c:pt>
                <c:pt idx="4271">
                  <c:v>45057</c:v>
                </c:pt>
                <c:pt idx="4272">
                  <c:v>45058</c:v>
                </c:pt>
                <c:pt idx="4273">
                  <c:v>45059</c:v>
                </c:pt>
                <c:pt idx="4274">
                  <c:v>45060</c:v>
                </c:pt>
                <c:pt idx="4275">
                  <c:v>45061</c:v>
                </c:pt>
                <c:pt idx="4276">
                  <c:v>45062</c:v>
                </c:pt>
                <c:pt idx="4277">
                  <c:v>45063</c:v>
                </c:pt>
                <c:pt idx="4278">
                  <c:v>45064</c:v>
                </c:pt>
                <c:pt idx="4279">
                  <c:v>45065</c:v>
                </c:pt>
                <c:pt idx="4280">
                  <c:v>45066</c:v>
                </c:pt>
                <c:pt idx="4281">
                  <c:v>45067</c:v>
                </c:pt>
                <c:pt idx="4282">
                  <c:v>45068</c:v>
                </c:pt>
                <c:pt idx="4283">
                  <c:v>45069</c:v>
                </c:pt>
                <c:pt idx="4284">
                  <c:v>45070</c:v>
                </c:pt>
                <c:pt idx="4285">
                  <c:v>45071</c:v>
                </c:pt>
                <c:pt idx="4286">
                  <c:v>45072</c:v>
                </c:pt>
                <c:pt idx="4287">
                  <c:v>45073</c:v>
                </c:pt>
                <c:pt idx="4288">
                  <c:v>45074</c:v>
                </c:pt>
                <c:pt idx="4289">
                  <c:v>45075</c:v>
                </c:pt>
                <c:pt idx="4290">
                  <c:v>45076</c:v>
                </c:pt>
                <c:pt idx="4291">
                  <c:v>45077</c:v>
                </c:pt>
                <c:pt idx="4292">
                  <c:v>45078</c:v>
                </c:pt>
                <c:pt idx="4293">
                  <c:v>45079</c:v>
                </c:pt>
                <c:pt idx="4294">
                  <c:v>45080</c:v>
                </c:pt>
                <c:pt idx="4295">
                  <c:v>45081</c:v>
                </c:pt>
                <c:pt idx="4296">
                  <c:v>45082</c:v>
                </c:pt>
                <c:pt idx="4297">
                  <c:v>45083</c:v>
                </c:pt>
                <c:pt idx="4298">
                  <c:v>45084</c:v>
                </c:pt>
                <c:pt idx="4299">
                  <c:v>45085</c:v>
                </c:pt>
                <c:pt idx="4300">
                  <c:v>45086</c:v>
                </c:pt>
                <c:pt idx="4301">
                  <c:v>45087</c:v>
                </c:pt>
                <c:pt idx="4302">
                  <c:v>45088</c:v>
                </c:pt>
                <c:pt idx="4303">
                  <c:v>45089</c:v>
                </c:pt>
                <c:pt idx="4304">
                  <c:v>45090</c:v>
                </c:pt>
                <c:pt idx="4305">
                  <c:v>45091</c:v>
                </c:pt>
                <c:pt idx="4306">
                  <c:v>45092</c:v>
                </c:pt>
                <c:pt idx="4307">
                  <c:v>45093</c:v>
                </c:pt>
                <c:pt idx="4308">
                  <c:v>45094</c:v>
                </c:pt>
                <c:pt idx="4309">
                  <c:v>45095</c:v>
                </c:pt>
                <c:pt idx="4310">
                  <c:v>45096</c:v>
                </c:pt>
                <c:pt idx="4311">
                  <c:v>45097</c:v>
                </c:pt>
                <c:pt idx="4312">
                  <c:v>45098</c:v>
                </c:pt>
                <c:pt idx="4313">
                  <c:v>45099</c:v>
                </c:pt>
                <c:pt idx="4314">
                  <c:v>45100</c:v>
                </c:pt>
                <c:pt idx="4315">
                  <c:v>45101</c:v>
                </c:pt>
                <c:pt idx="4316">
                  <c:v>45102</c:v>
                </c:pt>
                <c:pt idx="4317">
                  <c:v>45103</c:v>
                </c:pt>
                <c:pt idx="4318">
                  <c:v>45104</c:v>
                </c:pt>
                <c:pt idx="4319">
                  <c:v>45105</c:v>
                </c:pt>
                <c:pt idx="4320">
                  <c:v>45106</c:v>
                </c:pt>
                <c:pt idx="4321">
                  <c:v>45107</c:v>
                </c:pt>
                <c:pt idx="4322">
                  <c:v>45108</c:v>
                </c:pt>
                <c:pt idx="4323">
                  <c:v>45109</c:v>
                </c:pt>
                <c:pt idx="4324">
                  <c:v>45110</c:v>
                </c:pt>
                <c:pt idx="4325">
                  <c:v>45111</c:v>
                </c:pt>
                <c:pt idx="4326">
                  <c:v>45112</c:v>
                </c:pt>
                <c:pt idx="4327">
                  <c:v>45113</c:v>
                </c:pt>
                <c:pt idx="4328">
                  <c:v>45114</c:v>
                </c:pt>
                <c:pt idx="4329">
                  <c:v>45115</c:v>
                </c:pt>
                <c:pt idx="4330">
                  <c:v>45116</c:v>
                </c:pt>
                <c:pt idx="4331">
                  <c:v>45117</c:v>
                </c:pt>
                <c:pt idx="4332">
                  <c:v>45118</c:v>
                </c:pt>
                <c:pt idx="4333">
                  <c:v>45119</c:v>
                </c:pt>
                <c:pt idx="4334">
                  <c:v>45120</c:v>
                </c:pt>
                <c:pt idx="4335">
                  <c:v>45121</c:v>
                </c:pt>
                <c:pt idx="4336">
                  <c:v>45122</c:v>
                </c:pt>
                <c:pt idx="4337">
                  <c:v>45123</c:v>
                </c:pt>
                <c:pt idx="4338">
                  <c:v>45124</c:v>
                </c:pt>
                <c:pt idx="4339">
                  <c:v>45125</c:v>
                </c:pt>
                <c:pt idx="4340">
                  <c:v>45126</c:v>
                </c:pt>
                <c:pt idx="4341">
                  <c:v>45127</c:v>
                </c:pt>
                <c:pt idx="4342">
                  <c:v>45128</c:v>
                </c:pt>
                <c:pt idx="4343">
                  <c:v>45129</c:v>
                </c:pt>
                <c:pt idx="4344">
                  <c:v>45130</c:v>
                </c:pt>
                <c:pt idx="4345">
                  <c:v>45131</c:v>
                </c:pt>
                <c:pt idx="4346">
                  <c:v>45132</c:v>
                </c:pt>
                <c:pt idx="4347">
                  <c:v>45133</c:v>
                </c:pt>
                <c:pt idx="4348">
                  <c:v>45134</c:v>
                </c:pt>
                <c:pt idx="4349">
                  <c:v>45135</c:v>
                </c:pt>
                <c:pt idx="4350">
                  <c:v>45136</c:v>
                </c:pt>
                <c:pt idx="4351">
                  <c:v>45137</c:v>
                </c:pt>
                <c:pt idx="4352">
                  <c:v>45138</c:v>
                </c:pt>
                <c:pt idx="4353">
                  <c:v>45139</c:v>
                </c:pt>
                <c:pt idx="4354">
                  <c:v>45140</c:v>
                </c:pt>
                <c:pt idx="4355">
                  <c:v>45141</c:v>
                </c:pt>
                <c:pt idx="4356">
                  <c:v>45142</c:v>
                </c:pt>
                <c:pt idx="4357">
                  <c:v>45143</c:v>
                </c:pt>
                <c:pt idx="4358">
                  <c:v>45144</c:v>
                </c:pt>
                <c:pt idx="4359">
                  <c:v>45145</c:v>
                </c:pt>
                <c:pt idx="4360">
                  <c:v>45146</c:v>
                </c:pt>
                <c:pt idx="4361">
                  <c:v>45147</c:v>
                </c:pt>
                <c:pt idx="4362">
                  <c:v>45148</c:v>
                </c:pt>
                <c:pt idx="4363">
                  <c:v>45149</c:v>
                </c:pt>
                <c:pt idx="4364">
                  <c:v>45150</c:v>
                </c:pt>
                <c:pt idx="4365">
                  <c:v>45151</c:v>
                </c:pt>
                <c:pt idx="4366">
                  <c:v>45152</c:v>
                </c:pt>
                <c:pt idx="4367">
                  <c:v>45153</c:v>
                </c:pt>
                <c:pt idx="4368">
                  <c:v>45154</c:v>
                </c:pt>
                <c:pt idx="4369">
                  <c:v>45155</c:v>
                </c:pt>
                <c:pt idx="4370">
                  <c:v>45156</c:v>
                </c:pt>
                <c:pt idx="4371">
                  <c:v>45157</c:v>
                </c:pt>
                <c:pt idx="4372">
                  <c:v>45158</c:v>
                </c:pt>
                <c:pt idx="4373">
                  <c:v>45159</c:v>
                </c:pt>
                <c:pt idx="4374">
                  <c:v>45160</c:v>
                </c:pt>
                <c:pt idx="4375">
                  <c:v>45161</c:v>
                </c:pt>
                <c:pt idx="4376">
                  <c:v>45162</c:v>
                </c:pt>
                <c:pt idx="4377">
                  <c:v>45163</c:v>
                </c:pt>
                <c:pt idx="4378">
                  <c:v>45164</c:v>
                </c:pt>
                <c:pt idx="4379">
                  <c:v>45165</c:v>
                </c:pt>
                <c:pt idx="4380">
                  <c:v>45166</c:v>
                </c:pt>
                <c:pt idx="4381">
                  <c:v>45167</c:v>
                </c:pt>
                <c:pt idx="4382">
                  <c:v>45168</c:v>
                </c:pt>
                <c:pt idx="4383">
                  <c:v>45169</c:v>
                </c:pt>
                <c:pt idx="4384">
                  <c:v>45170</c:v>
                </c:pt>
                <c:pt idx="4385">
                  <c:v>45171</c:v>
                </c:pt>
                <c:pt idx="4386">
                  <c:v>45172</c:v>
                </c:pt>
                <c:pt idx="4387">
                  <c:v>45173</c:v>
                </c:pt>
                <c:pt idx="4388">
                  <c:v>45174</c:v>
                </c:pt>
                <c:pt idx="4389">
                  <c:v>45175</c:v>
                </c:pt>
                <c:pt idx="4390">
                  <c:v>45176</c:v>
                </c:pt>
                <c:pt idx="4391">
                  <c:v>45177</c:v>
                </c:pt>
                <c:pt idx="4392">
                  <c:v>45178</c:v>
                </c:pt>
                <c:pt idx="4393">
                  <c:v>45179</c:v>
                </c:pt>
                <c:pt idx="4394">
                  <c:v>45180</c:v>
                </c:pt>
                <c:pt idx="4395">
                  <c:v>45181</c:v>
                </c:pt>
                <c:pt idx="4396">
                  <c:v>45182</c:v>
                </c:pt>
                <c:pt idx="4397">
                  <c:v>45183</c:v>
                </c:pt>
                <c:pt idx="4398">
                  <c:v>45184</c:v>
                </c:pt>
                <c:pt idx="4399">
                  <c:v>45185</c:v>
                </c:pt>
                <c:pt idx="4400">
                  <c:v>45186</c:v>
                </c:pt>
                <c:pt idx="4401">
                  <c:v>45187</c:v>
                </c:pt>
                <c:pt idx="4402">
                  <c:v>45188</c:v>
                </c:pt>
                <c:pt idx="4403">
                  <c:v>45189</c:v>
                </c:pt>
                <c:pt idx="4404">
                  <c:v>45190</c:v>
                </c:pt>
                <c:pt idx="4405">
                  <c:v>45191</c:v>
                </c:pt>
                <c:pt idx="4406">
                  <c:v>45192</c:v>
                </c:pt>
                <c:pt idx="4407">
                  <c:v>45193</c:v>
                </c:pt>
                <c:pt idx="4408">
                  <c:v>45194</c:v>
                </c:pt>
                <c:pt idx="4409">
                  <c:v>45195</c:v>
                </c:pt>
                <c:pt idx="4410">
                  <c:v>45196</c:v>
                </c:pt>
                <c:pt idx="4411">
                  <c:v>45197</c:v>
                </c:pt>
                <c:pt idx="4412">
                  <c:v>45198</c:v>
                </c:pt>
                <c:pt idx="4413">
                  <c:v>45199</c:v>
                </c:pt>
                <c:pt idx="4414">
                  <c:v>45200</c:v>
                </c:pt>
                <c:pt idx="4415">
                  <c:v>45201</c:v>
                </c:pt>
                <c:pt idx="4416">
                  <c:v>45202</c:v>
                </c:pt>
                <c:pt idx="4417">
                  <c:v>45203</c:v>
                </c:pt>
                <c:pt idx="4418">
                  <c:v>45204</c:v>
                </c:pt>
                <c:pt idx="4419">
                  <c:v>45205</c:v>
                </c:pt>
                <c:pt idx="4420">
                  <c:v>45206</c:v>
                </c:pt>
                <c:pt idx="4421">
                  <c:v>45207</c:v>
                </c:pt>
                <c:pt idx="4422">
                  <c:v>45208</c:v>
                </c:pt>
                <c:pt idx="4423">
                  <c:v>45209</c:v>
                </c:pt>
                <c:pt idx="4424">
                  <c:v>45210</c:v>
                </c:pt>
                <c:pt idx="4425">
                  <c:v>45211</c:v>
                </c:pt>
                <c:pt idx="4426">
                  <c:v>45212</c:v>
                </c:pt>
                <c:pt idx="4427">
                  <c:v>45213</c:v>
                </c:pt>
                <c:pt idx="4428">
                  <c:v>45214</c:v>
                </c:pt>
                <c:pt idx="4429">
                  <c:v>45215</c:v>
                </c:pt>
                <c:pt idx="4430">
                  <c:v>45216</c:v>
                </c:pt>
                <c:pt idx="4431">
                  <c:v>45217</c:v>
                </c:pt>
                <c:pt idx="4432">
                  <c:v>45218</c:v>
                </c:pt>
                <c:pt idx="4433">
                  <c:v>45219</c:v>
                </c:pt>
                <c:pt idx="4434">
                  <c:v>45220</c:v>
                </c:pt>
                <c:pt idx="4435">
                  <c:v>45221</c:v>
                </c:pt>
                <c:pt idx="4436">
                  <c:v>45222</c:v>
                </c:pt>
                <c:pt idx="4437">
                  <c:v>45223</c:v>
                </c:pt>
                <c:pt idx="4438">
                  <c:v>45224</c:v>
                </c:pt>
                <c:pt idx="4439">
                  <c:v>45225</c:v>
                </c:pt>
                <c:pt idx="4440">
                  <c:v>45226</c:v>
                </c:pt>
                <c:pt idx="4441">
                  <c:v>45227</c:v>
                </c:pt>
                <c:pt idx="4442">
                  <c:v>45228</c:v>
                </c:pt>
                <c:pt idx="4443">
                  <c:v>45229</c:v>
                </c:pt>
                <c:pt idx="4444">
                  <c:v>45230</c:v>
                </c:pt>
                <c:pt idx="4445">
                  <c:v>45231</c:v>
                </c:pt>
                <c:pt idx="4446">
                  <c:v>45232</c:v>
                </c:pt>
                <c:pt idx="4447">
                  <c:v>45233</c:v>
                </c:pt>
                <c:pt idx="4448">
                  <c:v>45234</c:v>
                </c:pt>
                <c:pt idx="4449">
                  <c:v>45235</c:v>
                </c:pt>
                <c:pt idx="4450">
                  <c:v>45236</c:v>
                </c:pt>
                <c:pt idx="4451">
                  <c:v>45237</c:v>
                </c:pt>
                <c:pt idx="4452">
                  <c:v>45238</c:v>
                </c:pt>
                <c:pt idx="4453">
                  <c:v>45239</c:v>
                </c:pt>
                <c:pt idx="4454">
                  <c:v>45240</c:v>
                </c:pt>
                <c:pt idx="4455">
                  <c:v>45241</c:v>
                </c:pt>
                <c:pt idx="4456">
                  <c:v>45242</c:v>
                </c:pt>
                <c:pt idx="4457">
                  <c:v>45243</c:v>
                </c:pt>
                <c:pt idx="4458">
                  <c:v>45244</c:v>
                </c:pt>
                <c:pt idx="4459">
                  <c:v>45245</c:v>
                </c:pt>
                <c:pt idx="4460">
                  <c:v>45246</c:v>
                </c:pt>
                <c:pt idx="4461">
                  <c:v>45247</c:v>
                </c:pt>
                <c:pt idx="4462">
                  <c:v>45248</c:v>
                </c:pt>
                <c:pt idx="4463">
                  <c:v>45249</c:v>
                </c:pt>
                <c:pt idx="4464">
                  <c:v>45250</c:v>
                </c:pt>
                <c:pt idx="4465">
                  <c:v>45251</c:v>
                </c:pt>
                <c:pt idx="4466">
                  <c:v>45252</c:v>
                </c:pt>
                <c:pt idx="4467">
                  <c:v>45253</c:v>
                </c:pt>
                <c:pt idx="4468">
                  <c:v>45254</c:v>
                </c:pt>
                <c:pt idx="4469">
                  <c:v>45255</c:v>
                </c:pt>
                <c:pt idx="4470">
                  <c:v>45256</c:v>
                </c:pt>
                <c:pt idx="4471">
                  <c:v>45257</c:v>
                </c:pt>
                <c:pt idx="4472">
                  <c:v>45258</c:v>
                </c:pt>
                <c:pt idx="4473">
                  <c:v>45259</c:v>
                </c:pt>
                <c:pt idx="4474">
                  <c:v>45260</c:v>
                </c:pt>
                <c:pt idx="4475">
                  <c:v>45261</c:v>
                </c:pt>
                <c:pt idx="4476">
                  <c:v>45262</c:v>
                </c:pt>
                <c:pt idx="4477">
                  <c:v>45263</c:v>
                </c:pt>
                <c:pt idx="4478">
                  <c:v>45264</c:v>
                </c:pt>
                <c:pt idx="4479">
                  <c:v>45265</c:v>
                </c:pt>
                <c:pt idx="4480">
                  <c:v>45266</c:v>
                </c:pt>
                <c:pt idx="4481">
                  <c:v>45267</c:v>
                </c:pt>
                <c:pt idx="4482">
                  <c:v>45268</c:v>
                </c:pt>
                <c:pt idx="4483">
                  <c:v>45269</c:v>
                </c:pt>
                <c:pt idx="4484">
                  <c:v>45270</c:v>
                </c:pt>
                <c:pt idx="4485">
                  <c:v>45271</c:v>
                </c:pt>
                <c:pt idx="4486">
                  <c:v>45272</c:v>
                </c:pt>
                <c:pt idx="4487">
                  <c:v>45273</c:v>
                </c:pt>
                <c:pt idx="4488">
                  <c:v>45274</c:v>
                </c:pt>
                <c:pt idx="4489">
                  <c:v>45275</c:v>
                </c:pt>
                <c:pt idx="4490">
                  <c:v>45276</c:v>
                </c:pt>
                <c:pt idx="4491">
                  <c:v>45277</c:v>
                </c:pt>
                <c:pt idx="4492">
                  <c:v>45278</c:v>
                </c:pt>
                <c:pt idx="4493">
                  <c:v>45279</c:v>
                </c:pt>
                <c:pt idx="4494">
                  <c:v>45280</c:v>
                </c:pt>
                <c:pt idx="4495">
                  <c:v>45281</c:v>
                </c:pt>
                <c:pt idx="4496">
                  <c:v>45282</c:v>
                </c:pt>
                <c:pt idx="4497">
                  <c:v>45283</c:v>
                </c:pt>
                <c:pt idx="4498">
                  <c:v>45284</c:v>
                </c:pt>
                <c:pt idx="4499">
                  <c:v>45285</c:v>
                </c:pt>
                <c:pt idx="4500">
                  <c:v>45286</c:v>
                </c:pt>
                <c:pt idx="4501">
                  <c:v>45287</c:v>
                </c:pt>
                <c:pt idx="4502">
                  <c:v>45288</c:v>
                </c:pt>
                <c:pt idx="4503">
                  <c:v>45289</c:v>
                </c:pt>
                <c:pt idx="4504">
                  <c:v>45290</c:v>
                </c:pt>
                <c:pt idx="4505">
                  <c:v>45291</c:v>
                </c:pt>
                <c:pt idx="4506">
                  <c:v>45292</c:v>
                </c:pt>
                <c:pt idx="4507">
                  <c:v>45293</c:v>
                </c:pt>
                <c:pt idx="4508">
                  <c:v>45294</c:v>
                </c:pt>
                <c:pt idx="4509">
                  <c:v>45295</c:v>
                </c:pt>
                <c:pt idx="4510">
                  <c:v>45296</c:v>
                </c:pt>
                <c:pt idx="4511">
                  <c:v>45297</c:v>
                </c:pt>
                <c:pt idx="4512">
                  <c:v>45298</c:v>
                </c:pt>
                <c:pt idx="4513">
                  <c:v>45299</c:v>
                </c:pt>
                <c:pt idx="4514">
                  <c:v>45300</c:v>
                </c:pt>
                <c:pt idx="4515">
                  <c:v>45301</c:v>
                </c:pt>
                <c:pt idx="4516">
                  <c:v>45302</c:v>
                </c:pt>
                <c:pt idx="4517">
                  <c:v>45303</c:v>
                </c:pt>
                <c:pt idx="4518">
                  <c:v>45304</c:v>
                </c:pt>
                <c:pt idx="4519">
                  <c:v>45305</c:v>
                </c:pt>
                <c:pt idx="4520">
                  <c:v>45306</c:v>
                </c:pt>
                <c:pt idx="4521">
                  <c:v>45307</c:v>
                </c:pt>
                <c:pt idx="4522">
                  <c:v>45308</c:v>
                </c:pt>
                <c:pt idx="4523">
                  <c:v>45309</c:v>
                </c:pt>
                <c:pt idx="4524">
                  <c:v>45310</c:v>
                </c:pt>
                <c:pt idx="4525">
                  <c:v>45311</c:v>
                </c:pt>
                <c:pt idx="4526">
                  <c:v>45312</c:v>
                </c:pt>
                <c:pt idx="4527">
                  <c:v>45313</c:v>
                </c:pt>
                <c:pt idx="4528">
                  <c:v>45314</c:v>
                </c:pt>
                <c:pt idx="4529">
                  <c:v>45315</c:v>
                </c:pt>
                <c:pt idx="4530">
                  <c:v>45316</c:v>
                </c:pt>
                <c:pt idx="4531">
                  <c:v>45317</c:v>
                </c:pt>
                <c:pt idx="4532">
                  <c:v>45318</c:v>
                </c:pt>
                <c:pt idx="4533">
                  <c:v>45319</c:v>
                </c:pt>
                <c:pt idx="4534">
                  <c:v>45320</c:v>
                </c:pt>
                <c:pt idx="4535">
                  <c:v>45321</c:v>
                </c:pt>
                <c:pt idx="4536">
                  <c:v>45322</c:v>
                </c:pt>
                <c:pt idx="4537">
                  <c:v>45323</c:v>
                </c:pt>
                <c:pt idx="4538">
                  <c:v>45324</c:v>
                </c:pt>
                <c:pt idx="4539">
                  <c:v>45325</c:v>
                </c:pt>
                <c:pt idx="4540">
                  <c:v>45326</c:v>
                </c:pt>
                <c:pt idx="4541">
                  <c:v>45327</c:v>
                </c:pt>
                <c:pt idx="4542">
                  <c:v>45328</c:v>
                </c:pt>
                <c:pt idx="4543">
                  <c:v>45329</c:v>
                </c:pt>
                <c:pt idx="4544">
                  <c:v>45330</c:v>
                </c:pt>
                <c:pt idx="4545">
                  <c:v>45331</c:v>
                </c:pt>
                <c:pt idx="4546">
                  <c:v>45332</c:v>
                </c:pt>
                <c:pt idx="4547">
                  <c:v>45333</c:v>
                </c:pt>
                <c:pt idx="4548">
                  <c:v>45334</c:v>
                </c:pt>
                <c:pt idx="4549">
                  <c:v>45335</c:v>
                </c:pt>
                <c:pt idx="4550">
                  <c:v>45336</c:v>
                </c:pt>
                <c:pt idx="4551">
                  <c:v>45337</c:v>
                </c:pt>
                <c:pt idx="4552">
                  <c:v>45338</c:v>
                </c:pt>
                <c:pt idx="4553">
                  <c:v>45339</c:v>
                </c:pt>
                <c:pt idx="4554">
                  <c:v>45340</c:v>
                </c:pt>
                <c:pt idx="4555">
                  <c:v>45341</c:v>
                </c:pt>
                <c:pt idx="4556">
                  <c:v>45342</c:v>
                </c:pt>
                <c:pt idx="4557">
                  <c:v>45343</c:v>
                </c:pt>
                <c:pt idx="4558">
                  <c:v>45344</c:v>
                </c:pt>
                <c:pt idx="4559">
                  <c:v>45345</c:v>
                </c:pt>
                <c:pt idx="4560">
                  <c:v>45346</c:v>
                </c:pt>
                <c:pt idx="4561">
                  <c:v>45347</c:v>
                </c:pt>
                <c:pt idx="4562">
                  <c:v>45348</c:v>
                </c:pt>
                <c:pt idx="4563">
                  <c:v>45349</c:v>
                </c:pt>
                <c:pt idx="4564">
                  <c:v>45350</c:v>
                </c:pt>
                <c:pt idx="4565">
                  <c:v>45351</c:v>
                </c:pt>
                <c:pt idx="4566">
                  <c:v>45352</c:v>
                </c:pt>
                <c:pt idx="4567">
                  <c:v>45353</c:v>
                </c:pt>
                <c:pt idx="4568">
                  <c:v>45354</c:v>
                </c:pt>
                <c:pt idx="4569">
                  <c:v>45355</c:v>
                </c:pt>
                <c:pt idx="4570">
                  <c:v>45356</c:v>
                </c:pt>
                <c:pt idx="4571">
                  <c:v>45357</c:v>
                </c:pt>
                <c:pt idx="4572">
                  <c:v>45358</c:v>
                </c:pt>
                <c:pt idx="4573">
                  <c:v>45359</c:v>
                </c:pt>
                <c:pt idx="4574">
                  <c:v>45360</c:v>
                </c:pt>
                <c:pt idx="4575">
                  <c:v>45361</c:v>
                </c:pt>
                <c:pt idx="4576">
                  <c:v>45362</c:v>
                </c:pt>
                <c:pt idx="4577">
                  <c:v>45363</c:v>
                </c:pt>
                <c:pt idx="4578">
                  <c:v>45364</c:v>
                </c:pt>
                <c:pt idx="4579">
                  <c:v>45365</c:v>
                </c:pt>
                <c:pt idx="4580">
                  <c:v>45366</c:v>
                </c:pt>
                <c:pt idx="4581">
                  <c:v>45367</c:v>
                </c:pt>
                <c:pt idx="4582">
                  <c:v>45368</c:v>
                </c:pt>
                <c:pt idx="4583">
                  <c:v>45369</c:v>
                </c:pt>
                <c:pt idx="4584">
                  <c:v>45370</c:v>
                </c:pt>
                <c:pt idx="4585">
                  <c:v>45371</c:v>
                </c:pt>
                <c:pt idx="4586">
                  <c:v>45372</c:v>
                </c:pt>
                <c:pt idx="4587">
                  <c:v>45373</c:v>
                </c:pt>
                <c:pt idx="4588">
                  <c:v>45374</c:v>
                </c:pt>
                <c:pt idx="4589">
                  <c:v>45375</c:v>
                </c:pt>
                <c:pt idx="4590">
                  <c:v>45376</c:v>
                </c:pt>
                <c:pt idx="4591">
                  <c:v>45377</c:v>
                </c:pt>
                <c:pt idx="4592">
                  <c:v>45378</c:v>
                </c:pt>
                <c:pt idx="4593">
                  <c:v>45379</c:v>
                </c:pt>
                <c:pt idx="4594">
                  <c:v>45380</c:v>
                </c:pt>
                <c:pt idx="4595">
                  <c:v>45381</c:v>
                </c:pt>
                <c:pt idx="4596">
                  <c:v>45382</c:v>
                </c:pt>
                <c:pt idx="4597">
                  <c:v>45383</c:v>
                </c:pt>
                <c:pt idx="4598">
                  <c:v>45384</c:v>
                </c:pt>
                <c:pt idx="4599">
                  <c:v>45385</c:v>
                </c:pt>
                <c:pt idx="4600">
                  <c:v>45386</c:v>
                </c:pt>
                <c:pt idx="4601">
                  <c:v>45387</c:v>
                </c:pt>
                <c:pt idx="4602">
                  <c:v>45388</c:v>
                </c:pt>
                <c:pt idx="4603">
                  <c:v>45389</c:v>
                </c:pt>
                <c:pt idx="4604">
                  <c:v>45390</c:v>
                </c:pt>
                <c:pt idx="4605">
                  <c:v>45391</c:v>
                </c:pt>
                <c:pt idx="4606">
                  <c:v>45392</c:v>
                </c:pt>
                <c:pt idx="4607">
                  <c:v>45393</c:v>
                </c:pt>
                <c:pt idx="4608">
                  <c:v>45394</c:v>
                </c:pt>
                <c:pt idx="4609">
                  <c:v>45395</c:v>
                </c:pt>
                <c:pt idx="4610">
                  <c:v>45396</c:v>
                </c:pt>
                <c:pt idx="4611">
                  <c:v>45397</c:v>
                </c:pt>
                <c:pt idx="4612">
                  <c:v>45398</c:v>
                </c:pt>
                <c:pt idx="4613">
                  <c:v>45399</c:v>
                </c:pt>
                <c:pt idx="4614">
                  <c:v>45400</c:v>
                </c:pt>
                <c:pt idx="4615">
                  <c:v>45401</c:v>
                </c:pt>
                <c:pt idx="4616">
                  <c:v>45402</c:v>
                </c:pt>
                <c:pt idx="4617">
                  <c:v>45403</c:v>
                </c:pt>
                <c:pt idx="4618">
                  <c:v>45404</c:v>
                </c:pt>
                <c:pt idx="4619">
                  <c:v>45405</c:v>
                </c:pt>
                <c:pt idx="4620">
                  <c:v>45406</c:v>
                </c:pt>
                <c:pt idx="4621">
                  <c:v>45407</c:v>
                </c:pt>
                <c:pt idx="4622">
                  <c:v>45408</c:v>
                </c:pt>
                <c:pt idx="4623">
                  <c:v>45409</c:v>
                </c:pt>
                <c:pt idx="4624">
                  <c:v>45410</c:v>
                </c:pt>
                <c:pt idx="4625">
                  <c:v>45411</c:v>
                </c:pt>
                <c:pt idx="4626">
                  <c:v>45412</c:v>
                </c:pt>
                <c:pt idx="4627">
                  <c:v>45413</c:v>
                </c:pt>
                <c:pt idx="4628">
                  <c:v>45414</c:v>
                </c:pt>
                <c:pt idx="4629">
                  <c:v>45415</c:v>
                </c:pt>
                <c:pt idx="4630">
                  <c:v>45416</c:v>
                </c:pt>
                <c:pt idx="4631">
                  <c:v>45417</c:v>
                </c:pt>
                <c:pt idx="4632">
                  <c:v>45418</c:v>
                </c:pt>
                <c:pt idx="4633">
                  <c:v>45419</c:v>
                </c:pt>
                <c:pt idx="4634">
                  <c:v>45420</c:v>
                </c:pt>
                <c:pt idx="4635">
                  <c:v>45421</c:v>
                </c:pt>
                <c:pt idx="4636">
                  <c:v>45422</c:v>
                </c:pt>
                <c:pt idx="4637">
                  <c:v>45423</c:v>
                </c:pt>
                <c:pt idx="4638">
                  <c:v>45424</c:v>
                </c:pt>
                <c:pt idx="4639">
                  <c:v>45425</c:v>
                </c:pt>
                <c:pt idx="4640">
                  <c:v>45426</c:v>
                </c:pt>
                <c:pt idx="4641">
                  <c:v>45427</c:v>
                </c:pt>
                <c:pt idx="4642">
                  <c:v>45428</c:v>
                </c:pt>
                <c:pt idx="4643">
                  <c:v>45429</c:v>
                </c:pt>
                <c:pt idx="4644">
                  <c:v>45430</c:v>
                </c:pt>
                <c:pt idx="4645">
                  <c:v>45431</c:v>
                </c:pt>
                <c:pt idx="4646">
                  <c:v>45432</c:v>
                </c:pt>
                <c:pt idx="4647">
                  <c:v>45433</c:v>
                </c:pt>
                <c:pt idx="4648">
                  <c:v>45434</c:v>
                </c:pt>
                <c:pt idx="4649">
                  <c:v>45435</c:v>
                </c:pt>
                <c:pt idx="4650">
                  <c:v>45436</c:v>
                </c:pt>
                <c:pt idx="4651">
                  <c:v>45437</c:v>
                </c:pt>
                <c:pt idx="4652">
                  <c:v>45438</c:v>
                </c:pt>
                <c:pt idx="4653">
                  <c:v>45439</c:v>
                </c:pt>
                <c:pt idx="4654">
                  <c:v>45440</c:v>
                </c:pt>
                <c:pt idx="4655">
                  <c:v>45441</c:v>
                </c:pt>
                <c:pt idx="4656">
                  <c:v>45442</c:v>
                </c:pt>
                <c:pt idx="4657">
                  <c:v>45443</c:v>
                </c:pt>
                <c:pt idx="4658">
                  <c:v>45444</c:v>
                </c:pt>
                <c:pt idx="4659">
                  <c:v>45445</c:v>
                </c:pt>
                <c:pt idx="4660">
                  <c:v>45446</c:v>
                </c:pt>
                <c:pt idx="4661">
                  <c:v>45447</c:v>
                </c:pt>
                <c:pt idx="4662">
                  <c:v>45448</c:v>
                </c:pt>
                <c:pt idx="4663">
                  <c:v>45449</c:v>
                </c:pt>
                <c:pt idx="4664">
                  <c:v>45450</c:v>
                </c:pt>
                <c:pt idx="4665">
                  <c:v>45451</c:v>
                </c:pt>
                <c:pt idx="4666">
                  <c:v>45452</c:v>
                </c:pt>
                <c:pt idx="4667">
                  <c:v>45453</c:v>
                </c:pt>
                <c:pt idx="4668">
                  <c:v>45454</c:v>
                </c:pt>
                <c:pt idx="4669">
                  <c:v>45455</c:v>
                </c:pt>
                <c:pt idx="4670">
                  <c:v>45456</c:v>
                </c:pt>
                <c:pt idx="4671">
                  <c:v>45457</c:v>
                </c:pt>
                <c:pt idx="4672">
                  <c:v>45458</c:v>
                </c:pt>
                <c:pt idx="4673">
                  <c:v>45459</c:v>
                </c:pt>
                <c:pt idx="4674">
                  <c:v>45460</c:v>
                </c:pt>
                <c:pt idx="4675">
                  <c:v>45461</c:v>
                </c:pt>
                <c:pt idx="4676">
                  <c:v>45462</c:v>
                </c:pt>
                <c:pt idx="4677">
                  <c:v>45463</c:v>
                </c:pt>
                <c:pt idx="4678">
                  <c:v>45464</c:v>
                </c:pt>
                <c:pt idx="4679">
                  <c:v>45465</c:v>
                </c:pt>
                <c:pt idx="4680">
                  <c:v>45466</c:v>
                </c:pt>
                <c:pt idx="4681">
                  <c:v>45467</c:v>
                </c:pt>
                <c:pt idx="4682">
                  <c:v>45468</c:v>
                </c:pt>
                <c:pt idx="4683">
                  <c:v>45469</c:v>
                </c:pt>
                <c:pt idx="4684">
                  <c:v>45470</c:v>
                </c:pt>
                <c:pt idx="4685">
                  <c:v>45471</c:v>
                </c:pt>
                <c:pt idx="4686">
                  <c:v>45472</c:v>
                </c:pt>
                <c:pt idx="4687">
                  <c:v>45473</c:v>
                </c:pt>
                <c:pt idx="4688">
                  <c:v>45474</c:v>
                </c:pt>
                <c:pt idx="4689">
                  <c:v>45475</c:v>
                </c:pt>
                <c:pt idx="4690">
                  <c:v>45476</c:v>
                </c:pt>
                <c:pt idx="4691">
                  <c:v>45477</c:v>
                </c:pt>
                <c:pt idx="4692">
                  <c:v>45478</c:v>
                </c:pt>
                <c:pt idx="4693">
                  <c:v>45479</c:v>
                </c:pt>
                <c:pt idx="4694">
                  <c:v>45480</c:v>
                </c:pt>
                <c:pt idx="4695">
                  <c:v>45481</c:v>
                </c:pt>
                <c:pt idx="4696">
                  <c:v>45482</c:v>
                </c:pt>
                <c:pt idx="4697">
                  <c:v>45483</c:v>
                </c:pt>
                <c:pt idx="4698">
                  <c:v>45484</c:v>
                </c:pt>
                <c:pt idx="4699">
                  <c:v>45485</c:v>
                </c:pt>
                <c:pt idx="4700">
                  <c:v>45486</c:v>
                </c:pt>
                <c:pt idx="4701">
                  <c:v>45487</c:v>
                </c:pt>
                <c:pt idx="4702">
                  <c:v>45488</c:v>
                </c:pt>
                <c:pt idx="4703">
                  <c:v>45489</c:v>
                </c:pt>
                <c:pt idx="4704">
                  <c:v>45490</c:v>
                </c:pt>
                <c:pt idx="4705">
                  <c:v>45491</c:v>
                </c:pt>
                <c:pt idx="4706">
                  <c:v>45492</c:v>
                </c:pt>
                <c:pt idx="4707">
                  <c:v>45493</c:v>
                </c:pt>
                <c:pt idx="4708">
                  <c:v>45494</c:v>
                </c:pt>
                <c:pt idx="4709">
                  <c:v>45495</c:v>
                </c:pt>
                <c:pt idx="4710">
                  <c:v>45496</c:v>
                </c:pt>
                <c:pt idx="4711">
                  <c:v>45497</c:v>
                </c:pt>
                <c:pt idx="4712">
                  <c:v>45498</c:v>
                </c:pt>
                <c:pt idx="4713">
                  <c:v>45499</c:v>
                </c:pt>
                <c:pt idx="4714">
                  <c:v>45500</c:v>
                </c:pt>
                <c:pt idx="4715">
                  <c:v>45501</c:v>
                </c:pt>
                <c:pt idx="4716">
                  <c:v>45502</c:v>
                </c:pt>
                <c:pt idx="4717">
                  <c:v>45503</c:v>
                </c:pt>
                <c:pt idx="4718">
                  <c:v>45504</c:v>
                </c:pt>
                <c:pt idx="4719">
                  <c:v>45505</c:v>
                </c:pt>
                <c:pt idx="4720">
                  <c:v>45506</c:v>
                </c:pt>
                <c:pt idx="4721">
                  <c:v>45507</c:v>
                </c:pt>
                <c:pt idx="4722">
                  <c:v>45508</c:v>
                </c:pt>
                <c:pt idx="4723">
                  <c:v>45509</c:v>
                </c:pt>
                <c:pt idx="4724">
                  <c:v>45510</c:v>
                </c:pt>
                <c:pt idx="4725">
                  <c:v>45511</c:v>
                </c:pt>
                <c:pt idx="4726">
                  <c:v>45512</c:v>
                </c:pt>
                <c:pt idx="4727">
                  <c:v>45513</c:v>
                </c:pt>
                <c:pt idx="4728">
                  <c:v>45514</c:v>
                </c:pt>
                <c:pt idx="4729">
                  <c:v>45515</c:v>
                </c:pt>
                <c:pt idx="4730">
                  <c:v>45516</c:v>
                </c:pt>
                <c:pt idx="4731">
                  <c:v>45517</c:v>
                </c:pt>
                <c:pt idx="4732">
                  <c:v>45518</c:v>
                </c:pt>
                <c:pt idx="4733">
                  <c:v>45519</c:v>
                </c:pt>
                <c:pt idx="4734">
                  <c:v>45520</c:v>
                </c:pt>
                <c:pt idx="4735">
                  <c:v>45521</c:v>
                </c:pt>
                <c:pt idx="4736">
                  <c:v>45522</c:v>
                </c:pt>
                <c:pt idx="4737">
                  <c:v>45523</c:v>
                </c:pt>
                <c:pt idx="4738">
                  <c:v>45524</c:v>
                </c:pt>
                <c:pt idx="4739">
                  <c:v>45525</c:v>
                </c:pt>
                <c:pt idx="4740">
                  <c:v>45526</c:v>
                </c:pt>
                <c:pt idx="4741">
                  <c:v>45527</c:v>
                </c:pt>
                <c:pt idx="4742">
                  <c:v>45528</c:v>
                </c:pt>
                <c:pt idx="4743">
                  <c:v>45529</c:v>
                </c:pt>
                <c:pt idx="4744">
                  <c:v>45530</c:v>
                </c:pt>
                <c:pt idx="4745">
                  <c:v>45531</c:v>
                </c:pt>
                <c:pt idx="4746">
                  <c:v>45532</c:v>
                </c:pt>
                <c:pt idx="4747">
                  <c:v>45533</c:v>
                </c:pt>
                <c:pt idx="4748">
                  <c:v>45534</c:v>
                </c:pt>
                <c:pt idx="4749">
                  <c:v>45535</c:v>
                </c:pt>
              </c:numCache>
            </c:numRef>
          </c:cat>
          <c:val>
            <c:numRef>
              <c:f>Data!$D$9:$D$4758</c:f>
              <c:numCache>
                <c:formatCode>General</c:formatCode>
                <c:ptCount val="4750"/>
                <c:pt idx="0">
                  <c:v>100</c:v>
                </c:pt>
                <c:pt idx="1">
                  <c:v>100.02144611225137</c:v>
                </c:pt>
                <c:pt idx="2">
                  <c:v>100.04289682386005</c:v>
                </c:pt>
                <c:pt idx="3">
                  <c:v>100.06435213581241</c:v>
                </c:pt>
                <c:pt idx="4">
                  <c:v>100.08581204909507</c:v>
                </c:pt>
                <c:pt idx="5">
                  <c:v>100.10727656469481</c:v>
                </c:pt>
                <c:pt idx="6">
                  <c:v>100.12874568359867</c:v>
                </c:pt>
                <c:pt idx="7">
                  <c:v>100.15021940679385</c:v>
                </c:pt>
                <c:pt idx="8">
                  <c:v>100.17169773526783</c:v>
                </c:pt>
                <c:pt idx="9">
                  <c:v>100.19318067000823</c:v>
                </c:pt>
                <c:pt idx="10">
                  <c:v>100.21466821200293</c:v>
                </c:pt>
                <c:pt idx="11">
                  <c:v>100.23616036224001</c:v>
                </c:pt>
                <c:pt idx="12">
                  <c:v>100.25765712170777</c:v>
                </c:pt>
                <c:pt idx="13">
                  <c:v>100.27915849139468</c:v>
                </c:pt>
                <c:pt idx="14">
                  <c:v>100.30066447228947</c:v>
                </c:pt>
                <c:pt idx="15">
                  <c:v>100.32217506538106</c:v>
                </c:pt>
                <c:pt idx="16">
                  <c:v>100.34369027165859</c:v>
                </c:pt>
                <c:pt idx="17">
                  <c:v>100.36521009211141</c:v>
                </c:pt>
                <c:pt idx="18">
                  <c:v>100.38673452772909</c:v>
                </c:pt>
                <c:pt idx="19">
                  <c:v>100.40826357950139</c:v>
                </c:pt>
                <c:pt idx="20">
                  <c:v>100.4297972484183</c:v>
                </c:pt>
                <c:pt idx="21">
                  <c:v>100.45133553547001</c:v>
                </c:pt>
                <c:pt idx="22">
                  <c:v>100.47287844164694</c:v>
                </c:pt>
                <c:pt idx="23">
                  <c:v>100.49442596793972</c:v>
                </c:pt>
                <c:pt idx="24">
                  <c:v>100.51597811533917</c:v>
                </c:pt>
                <c:pt idx="25">
                  <c:v>100.53753488483635</c:v>
                </c:pt>
                <c:pt idx="26">
                  <c:v>100.55909627742251</c:v>
                </c:pt>
                <c:pt idx="27">
                  <c:v>100.58066229408912</c:v>
                </c:pt>
                <c:pt idx="28">
                  <c:v>100.60223293582789</c:v>
                </c:pt>
                <c:pt idx="29">
                  <c:v>100.62380820363069</c:v>
                </c:pt>
                <c:pt idx="30">
                  <c:v>100.64538809848963</c:v>
                </c:pt>
                <c:pt idx="31">
                  <c:v>100.66697262139706</c:v>
                </c:pt>
                <c:pt idx="32">
                  <c:v>100.6885617733455</c:v>
                </c:pt>
                <c:pt idx="33">
                  <c:v>100.7101555553277</c:v>
                </c:pt>
                <c:pt idx="34">
                  <c:v>100.73175396833662</c:v>
                </c:pt>
                <c:pt idx="35">
                  <c:v>100.75335701336545</c:v>
                </c:pt>
                <c:pt idx="36">
                  <c:v>100.77496469140755</c:v>
                </c:pt>
                <c:pt idx="37">
                  <c:v>100.79657700345655</c:v>
                </c:pt>
                <c:pt idx="38">
                  <c:v>100.81819395050624</c:v>
                </c:pt>
                <c:pt idx="39">
                  <c:v>100.83981553355066</c:v>
                </c:pt>
                <c:pt idx="40">
                  <c:v>100.86144175358406</c:v>
                </c:pt>
                <c:pt idx="41">
                  <c:v>100.88307261160088</c:v>
                </c:pt>
                <c:pt idx="42">
                  <c:v>100.9047081085958</c:v>
                </c:pt>
                <c:pt idx="43">
                  <c:v>100.92634824556369</c:v>
                </c:pt>
                <c:pt idx="44">
                  <c:v>100.94799302349963</c:v>
                </c:pt>
                <c:pt idx="45">
                  <c:v>100.96964244339895</c:v>
                </c:pt>
                <c:pt idx="46">
                  <c:v>100.99129650625717</c:v>
                </c:pt>
                <c:pt idx="47">
                  <c:v>101.01295521307001</c:v>
                </c:pt>
                <c:pt idx="48">
                  <c:v>101.03461856483344</c:v>
                </c:pt>
                <c:pt idx="49">
                  <c:v>101.05628656254359</c:v>
                </c:pt>
                <c:pt idx="50">
                  <c:v>101.07795920719686</c:v>
                </c:pt>
                <c:pt idx="51">
                  <c:v>101.09963649978982</c:v>
                </c:pt>
                <c:pt idx="52">
                  <c:v>101.12131844131929</c:v>
                </c:pt>
                <c:pt idx="53">
                  <c:v>101.14300503278227</c:v>
                </c:pt>
                <c:pt idx="54">
                  <c:v>101.164696275176</c:v>
                </c:pt>
                <c:pt idx="55">
                  <c:v>101.18639216949792</c:v>
                </c:pt>
                <c:pt idx="56">
                  <c:v>101.2080927167457</c:v>
                </c:pt>
                <c:pt idx="57">
                  <c:v>101.2297979179172</c:v>
                </c:pt>
                <c:pt idx="58">
                  <c:v>101.25150777401051</c:v>
                </c:pt>
                <c:pt idx="59">
                  <c:v>101.27322228602392</c:v>
                </c:pt>
                <c:pt idx="60">
                  <c:v>101.29494145495596</c:v>
                </c:pt>
                <c:pt idx="61">
                  <c:v>101.31666528180534</c:v>
                </c:pt>
                <c:pt idx="62">
                  <c:v>101.33839376757102</c:v>
                </c:pt>
                <c:pt idx="63">
                  <c:v>101.36012691325215</c:v>
                </c:pt>
                <c:pt idx="64">
                  <c:v>101.38186471984808</c:v>
                </c:pt>
                <c:pt idx="65">
                  <c:v>101.40360718835844</c:v>
                </c:pt>
                <c:pt idx="66">
                  <c:v>101.42535431978298</c:v>
                </c:pt>
                <c:pt idx="67">
                  <c:v>101.44710611512176</c:v>
                </c:pt>
                <c:pt idx="68">
                  <c:v>101.46886257537497</c:v>
                </c:pt>
                <c:pt idx="69">
                  <c:v>101.49062370154307</c:v>
                </c:pt>
                <c:pt idx="70">
                  <c:v>101.51238949462672</c:v>
                </c:pt>
                <c:pt idx="71">
                  <c:v>101.53415995562678</c:v>
                </c:pt>
                <c:pt idx="72">
                  <c:v>101.55593508554435</c:v>
                </c:pt>
                <c:pt idx="73">
                  <c:v>101.57771488538071</c:v>
                </c:pt>
                <c:pt idx="74">
                  <c:v>101.5994993561374</c:v>
                </c:pt>
                <c:pt idx="75">
                  <c:v>101.62128849881614</c:v>
                </c:pt>
                <c:pt idx="76">
                  <c:v>101.64308231441888</c:v>
                </c:pt>
                <c:pt idx="77">
                  <c:v>101.66488080394778</c:v>
                </c:pt>
                <c:pt idx="78">
                  <c:v>101.68668396840522</c:v>
                </c:pt>
                <c:pt idx="79">
                  <c:v>101.70849180879378</c:v>
                </c:pt>
                <c:pt idx="80">
                  <c:v>101.73030432611627</c:v>
                </c:pt>
                <c:pt idx="81">
                  <c:v>101.7521215213757</c:v>
                </c:pt>
                <c:pt idx="82">
                  <c:v>101.77394339557532</c:v>
                </c:pt>
                <c:pt idx="83">
                  <c:v>101.79576994971858</c:v>
                </c:pt>
                <c:pt idx="84">
                  <c:v>101.81760118480913</c:v>
                </c:pt>
                <c:pt idx="85">
                  <c:v>101.83943710185088</c:v>
                </c:pt>
                <c:pt idx="86">
                  <c:v>101.8612777018479</c:v>
                </c:pt>
                <c:pt idx="87">
                  <c:v>101.8831229858045</c:v>
                </c:pt>
                <c:pt idx="88">
                  <c:v>101.90497295472524</c:v>
                </c:pt>
                <c:pt idx="89">
                  <c:v>101.92682760961483</c:v>
                </c:pt>
                <c:pt idx="90">
                  <c:v>101.94868695147825</c:v>
                </c:pt>
                <c:pt idx="91">
                  <c:v>101.97055098132066</c:v>
                </c:pt>
                <c:pt idx="92">
                  <c:v>101.99241970014745</c:v>
                </c:pt>
                <c:pt idx="93">
                  <c:v>102.01429310896422</c:v>
                </c:pt>
                <c:pt idx="94">
                  <c:v>102.03617120877681</c:v>
                </c:pt>
                <c:pt idx="95">
                  <c:v>102.05805400059124</c:v>
                </c:pt>
                <c:pt idx="96">
                  <c:v>102.07994148541377</c:v>
                </c:pt>
                <c:pt idx="97">
                  <c:v>102.10183366425086</c:v>
                </c:pt>
                <c:pt idx="98">
                  <c:v>102.1237305381092</c:v>
                </c:pt>
                <c:pt idx="99">
                  <c:v>102.14563210799568</c:v>
                </c:pt>
                <c:pt idx="100">
                  <c:v>102.16753837491743</c:v>
                </c:pt>
                <c:pt idx="101">
                  <c:v>102.18944933988178</c:v>
                </c:pt>
                <c:pt idx="102">
                  <c:v>102.21136500389626</c:v>
                </c:pt>
                <c:pt idx="103">
                  <c:v>102.23328536796865</c:v>
                </c:pt>
                <c:pt idx="104">
                  <c:v>102.25521043310692</c:v>
                </c:pt>
                <c:pt idx="105">
                  <c:v>102.27714020031928</c:v>
                </c:pt>
                <c:pt idx="106">
                  <c:v>102.29907467061413</c:v>
                </c:pt>
                <c:pt idx="107">
                  <c:v>102.3210138450001</c:v>
                </c:pt>
                <c:pt idx="108">
                  <c:v>102.34295772448603</c:v>
                </c:pt>
                <c:pt idx="109">
                  <c:v>102.36490631008098</c:v>
                </c:pt>
                <c:pt idx="110">
                  <c:v>102.38685960279425</c:v>
                </c:pt>
                <c:pt idx="111">
                  <c:v>102.40881760363531</c:v>
                </c:pt>
                <c:pt idx="112">
                  <c:v>102.43078031361388</c:v>
                </c:pt>
                <c:pt idx="113">
                  <c:v>102.45274773373988</c:v>
                </c:pt>
                <c:pt idx="114">
                  <c:v>102.47471986502347</c:v>
                </c:pt>
                <c:pt idx="115">
                  <c:v>102.496696708475</c:v>
                </c:pt>
                <c:pt idx="116">
                  <c:v>102.51867826510504</c:v>
                </c:pt>
                <c:pt idx="117">
                  <c:v>102.54066453592439</c:v>
                </c:pt>
                <c:pt idx="118">
                  <c:v>102.56265552194407</c:v>
                </c:pt>
                <c:pt idx="119">
                  <c:v>102.58465122417529</c:v>
                </c:pt>
                <c:pt idx="120">
                  <c:v>102.6066516436295</c:v>
                </c:pt>
                <c:pt idx="121">
                  <c:v>102.62865678131837</c:v>
                </c:pt>
                <c:pt idx="122">
                  <c:v>102.65066663825377</c:v>
                </c:pt>
                <c:pt idx="123">
                  <c:v>102.67268121544778</c:v>
                </c:pt>
                <c:pt idx="124">
                  <c:v>102.69470051391274</c:v>
                </c:pt>
                <c:pt idx="125">
                  <c:v>102.71672453466115</c:v>
                </c:pt>
                <c:pt idx="126">
                  <c:v>102.73875327870579</c:v>
                </c:pt>
                <c:pt idx="127">
                  <c:v>102.7607867470596</c:v>
                </c:pt>
                <c:pt idx="128">
                  <c:v>102.78282494073576</c:v>
                </c:pt>
                <c:pt idx="129">
                  <c:v>102.80486786074768</c:v>
                </c:pt>
                <c:pt idx="130">
                  <c:v>102.82691550810897</c:v>
                </c:pt>
                <c:pt idx="131">
                  <c:v>102.84896788383345</c:v>
                </c:pt>
                <c:pt idx="132">
                  <c:v>102.87102498893519</c:v>
                </c:pt>
                <c:pt idx="133">
                  <c:v>102.89308682442845</c:v>
                </c:pt>
                <c:pt idx="134">
                  <c:v>102.91515339132772</c:v>
                </c:pt>
                <c:pt idx="135">
                  <c:v>102.9372246906477</c:v>
                </c:pt>
                <c:pt idx="136">
                  <c:v>102.95930072340329</c:v>
                </c:pt>
                <c:pt idx="137">
                  <c:v>102.98138149060965</c:v>
                </c:pt>
                <c:pt idx="138">
                  <c:v>103.00346699328213</c:v>
                </c:pt>
                <c:pt idx="139">
                  <c:v>103.02555723243631</c:v>
                </c:pt>
                <c:pt idx="140">
                  <c:v>103.04765220908797</c:v>
                </c:pt>
                <c:pt idx="141">
                  <c:v>103.06975192425313</c:v>
                </c:pt>
                <c:pt idx="142">
                  <c:v>103.09185637894801</c:v>
                </c:pt>
                <c:pt idx="143">
                  <c:v>103.11396557418905</c:v>
                </c:pt>
                <c:pt idx="144">
                  <c:v>103.13607951099293</c:v>
                </c:pt>
                <c:pt idx="145">
                  <c:v>103.15819819037651</c:v>
                </c:pt>
                <c:pt idx="146">
                  <c:v>103.18032161335691</c:v>
                </c:pt>
                <c:pt idx="147">
                  <c:v>103.20244978095143</c:v>
                </c:pt>
                <c:pt idx="148">
                  <c:v>103.22458269417761</c:v>
                </c:pt>
                <c:pt idx="149">
                  <c:v>103.24672035405321</c:v>
                </c:pt>
                <c:pt idx="150">
                  <c:v>103.2688627615962</c:v>
                </c:pt>
                <c:pt idx="151">
                  <c:v>103.29100991782475</c:v>
                </c:pt>
                <c:pt idx="152">
                  <c:v>103.3131618237573</c:v>
                </c:pt>
                <c:pt idx="153">
                  <c:v>103.33531848041245</c:v>
                </c:pt>
                <c:pt idx="154">
                  <c:v>103.35747988880907</c:v>
                </c:pt>
                <c:pt idx="155">
                  <c:v>103.3796460499662</c:v>
                </c:pt>
                <c:pt idx="156">
                  <c:v>103.40181696490313</c:v>
                </c:pt>
                <c:pt idx="157">
                  <c:v>103.42399263463938</c:v>
                </c:pt>
                <c:pt idx="158">
                  <c:v>103.44617306019465</c:v>
                </c:pt>
                <c:pt idx="159">
                  <c:v>103.46835824258889</c:v>
                </c:pt>
                <c:pt idx="160">
                  <c:v>103.49054818284225</c:v>
                </c:pt>
                <c:pt idx="161">
                  <c:v>103.5127428819751</c:v>
                </c:pt>
                <c:pt idx="162">
                  <c:v>103.53494234100803</c:v>
                </c:pt>
                <c:pt idx="163">
                  <c:v>103.55714656096187</c:v>
                </c:pt>
                <c:pt idx="164">
                  <c:v>103.57935554285764</c:v>
                </c:pt>
                <c:pt idx="165">
                  <c:v>103.6015692877166</c:v>
                </c:pt>
                <c:pt idx="166">
                  <c:v>103.62378779656022</c:v>
                </c:pt>
                <c:pt idx="167">
                  <c:v>103.6460110704102</c:v>
                </c:pt>
                <c:pt idx="168">
                  <c:v>103.66823911028843</c:v>
                </c:pt>
                <c:pt idx="169">
                  <c:v>103.69047191721704</c:v>
                </c:pt>
                <c:pt idx="170">
                  <c:v>103.71270949221838</c:v>
                </c:pt>
                <c:pt idx="171">
                  <c:v>103.73495183631502</c:v>
                </c:pt>
                <c:pt idx="172">
                  <c:v>103.75719895052974</c:v>
                </c:pt>
                <c:pt idx="173">
                  <c:v>103.77945083588554</c:v>
                </c:pt>
                <c:pt idx="174">
                  <c:v>103.80170749340566</c:v>
                </c:pt>
                <c:pt idx="175">
                  <c:v>103.82396892411353</c:v>
                </c:pt>
                <c:pt idx="176">
                  <c:v>103.84623512903282</c:v>
                </c:pt>
                <c:pt idx="177">
                  <c:v>103.86850610918741</c:v>
                </c:pt>
                <c:pt idx="178">
                  <c:v>103.8907818656014</c:v>
                </c:pt>
                <c:pt idx="179">
                  <c:v>103.91306239929912</c:v>
                </c:pt>
                <c:pt idx="180">
                  <c:v>103.93534771130511</c:v>
                </c:pt>
                <c:pt idx="181">
                  <c:v>103.95763780264413</c:v>
                </c:pt>
                <c:pt idx="182">
                  <c:v>103.97993267434116</c:v>
                </c:pt>
                <c:pt idx="183">
                  <c:v>104.0022323274214</c:v>
                </c:pt>
                <c:pt idx="184">
                  <c:v>104.02453676291026</c:v>
                </c:pt>
                <c:pt idx="185">
                  <c:v>104.0468459818334</c:v>
                </c:pt>
                <c:pt idx="186">
                  <c:v>104.06915998521667</c:v>
                </c:pt>
                <c:pt idx="187">
                  <c:v>104.09147877408616</c:v>
                </c:pt>
                <c:pt idx="188">
                  <c:v>104.11380234946816</c:v>
                </c:pt>
                <c:pt idx="189">
                  <c:v>104.13613071238919</c:v>
                </c:pt>
                <c:pt idx="190">
                  <c:v>104.15846386387599</c:v>
                </c:pt>
                <c:pt idx="191">
                  <c:v>104.18080180495554</c:v>
                </c:pt>
                <c:pt idx="192">
                  <c:v>104.203144536655</c:v>
                </c:pt>
                <c:pt idx="193">
                  <c:v>104.22549206000178</c:v>
                </c:pt>
                <c:pt idx="194">
                  <c:v>104.24784437602351</c:v>
                </c:pt>
                <c:pt idx="195">
                  <c:v>104.27020148574802</c:v>
                </c:pt>
                <c:pt idx="196">
                  <c:v>104.29256339020338</c:v>
                </c:pt>
                <c:pt idx="197">
                  <c:v>104.31493009041787</c:v>
                </c:pt>
                <c:pt idx="198">
                  <c:v>104.33730158742</c:v>
                </c:pt>
                <c:pt idx="199">
                  <c:v>104.35967788223849</c:v>
                </c:pt>
                <c:pt idx="200">
                  <c:v>104.38205897590228</c:v>
                </c:pt>
                <c:pt idx="201">
                  <c:v>104.40444486944054</c:v>
                </c:pt>
                <c:pt idx="202">
                  <c:v>104.42683556388266</c:v>
                </c:pt>
                <c:pt idx="203">
                  <c:v>104.44923106025824</c:v>
                </c:pt>
                <c:pt idx="204">
                  <c:v>104.47163135959711</c:v>
                </c:pt>
                <c:pt idx="205">
                  <c:v>104.49403646292933</c:v>
                </c:pt>
                <c:pt idx="206">
                  <c:v>104.51644637128516</c:v>
                </c:pt>
                <c:pt idx="207">
                  <c:v>104.53886108569507</c:v>
                </c:pt>
                <c:pt idx="208">
                  <c:v>104.56128060718981</c:v>
                </c:pt>
                <c:pt idx="209">
                  <c:v>104.5837049368003</c:v>
                </c:pt>
                <c:pt idx="210">
                  <c:v>104.60613407555769</c:v>
                </c:pt>
                <c:pt idx="211">
                  <c:v>104.62856802449335</c:v>
                </c:pt>
                <c:pt idx="212">
                  <c:v>104.65100678463888</c:v>
                </c:pt>
                <c:pt idx="213">
                  <c:v>104.6734503570261</c:v>
                </c:pt>
                <c:pt idx="214">
                  <c:v>104.69589874268705</c:v>
                </c:pt>
                <c:pt idx="215">
                  <c:v>104.71835194265398</c:v>
                </c:pt>
                <c:pt idx="216">
                  <c:v>104.74080995795939</c:v>
                </c:pt>
                <c:pt idx="217">
                  <c:v>104.76327278963596</c:v>
                </c:pt>
                <c:pt idx="218">
                  <c:v>104.78574043871663</c:v>
                </c:pt>
                <c:pt idx="219">
                  <c:v>104.80821290623454</c:v>
                </c:pt>
                <c:pt idx="220">
                  <c:v>104.83069019322306</c:v>
                </c:pt>
                <c:pt idx="221">
                  <c:v>104.85317230071578</c:v>
                </c:pt>
                <c:pt idx="222">
                  <c:v>104.87565922974652</c:v>
                </c:pt>
                <c:pt idx="223">
                  <c:v>104.89815098134929</c:v>
                </c:pt>
                <c:pt idx="224">
                  <c:v>104.92064755655835</c:v>
                </c:pt>
                <c:pt idx="225">
                  <c:v>104.94314895640819</c:v>
                </c:pt>
                <c:pt idx="226">
                  <c:v>104.9656551819335</c:v>
                </c:pt>
                <c:pt idx="227">
                  <c:v>104.9881662341692</c:v>
                </c:pt>
                <c:pt idx="228">
                  <c:v>105.01068211415043</c:v>
                </c:pt>
                <c:pt idx="229">
                  <c:v>105.03320282291256</c:v>
                </c:pt>
                <c:pt idx="230">
                  <c:v>105.05572836149116</c:v>
                </c:pt>
                <c:pt idx="231">
                  <c:v>105.07825873092206</c:v>
                </c:pt>
                <c:pt idx="232">
                  <c:v>105.10079393224127</c:v>
                </c:pt>
                <c:pt idx="233">
                  <c:v>105.12333396648506</c:v>
                </c:pt>
                <c:pt idx="234">
                  <c:v>105.1458788346899</c:v>
                </c:pt>
                <c:pt idx="235">
                  <c:v>105.16842853789247</c:v>
                </c:pt>
                <c:pt idx="236">
                  <c:v>105.1909830771297</c:v>
                </c:pt>
                <c:pt idx="237">
                  <c:v>105.21354245343873</c:v>
                </c:pt>
                <c:pt idx="238">
                  <c:v>105.23610666785694</c:v>
                </c:pt>
                <c:pt idx="239">
                  <c:v>105.25867572142189</c:v>
                </c:pt>
                <c:pt idx="240">
                  <c:v>105.28124961517142</c:v>
                </c:pt>
                <c:pt idx="241">
                  <c:v>105.30382835014353</c:v>
                </c:pt>
                <c:pt idx="242">
                  <c:v>105.3264119273765</c:v>
                </c:pt>
                <c:pt idx="243">
                  <c:v>105.34900034790878</c:v>
                </c:pt>
                <c:pt idx="244">
                  <c:v>105.37159361277909</c:v>
                </c:pt>
                <c:pt idx="245">
                  <c:v>105.39419172302634</c:v>
                </c:pt>
                <c:pt idx="246">
                  <c:v>105.41679467968967</c:v>
                </c:pt>
                <c:pt idx="247">
                  <c:v>105.43940248380846</c:v>
                </c:pt>
                <c:pt idx="248">
                  <c:v>105.46201513642231</c:v>
                </c:pt>
                <c:pt idx="249">
                  <c:v>105.48463263857101</c:v>
                </c:pt>
                <c:pt idx="250">
                  <c:v>105.50725499129463</c:v>
                </c:pt>
                <c:pt idx="251">
                  <c:v>105.52988219563341</c:v>
                </c:pt>
                <c:pt idx="252">
                  <c:v>105.55251425262782</c:v>
                </c:pt>
                <c:pt idx="253">
                  <c:v>105.57515116331858</c:v>
                </c:pt>
                <c:pt idx="254">
                  <c:v>105.59779292874661</c:v>
                </c:pt>
                <c:pt idx="255">
                  <c:v>105.62043954995308</c:v>
                </c:pt>
                <c:pt idx="256">
                  <c:v>105.64309102797935</c:v>
                </c:pt>
                <c:pt idx="257">
                  <c:v>105.66574736386703</c:v>
                </c:pt>
                <c:pt idx="258">
                  <c:v>105.68840855865793</c:v>
                </c:pt>
                <c:pt idx="259">
                  <c:v>105.7110746133941</c:v>
                </c:pt>
                <c:pt idx="260">
                  <c:v>105.73374552911781</c:v>
                </c:pt>
                <c:pt idx="261">
                  <c:v>105.75642130687156</c:v>
                </c:pt>
                <c:pt idx="262">
                  <c:v>105.77910194769805</c:v>
                </c:pt>
                <c:pt idx="263">
                  <c:v>105.80178745264024</c:v>
                </c:pt>
                <c:pt idx="264">
                  <c:v>105.82447782274129</c:v>
                </c:pt>
                <c:pt idx="265">
                  <c:v>105.84717305904458</c:v>
                </c:pt>
                <c:pt idx="266">
                  <c:v>105.86987316259372</c:v>
                </c:pt>
                <c:pt idx="267">
                  <c:v>105.89257813443255</c:v>
                </c:pt>
                <c:pt idx="268">
                  <c:v>105.91528797560512</c:v>
                </c:pt>
                <c:pt idx="269">
                  <c:v>105.93800268715573</c:v>
                </c:pt>
                <c:pt idx="270">
                  <c:v>105.96072227012887</c:v>
                </c:pt>
                <c:pt idx="271">
                  <c:v>104.01104651803114</c:v>
                </c:pt>
                <c:pt idx="272">
                  <c:v>104.03335284382122</c:v>
                </c:pt>
                <c:pt idx="273">
                  <c:v>104.05566395345096</c:v>
                </c:pt>
                <c:pt idx="274">
                  <c:v>104.07797984794632</c:v>
                </c:pt>
                <c:pt idx="275">
                  <c:v>104.10030052833346</c:v>
                </c:pt>
                <c:pt idx="276">
                  <c:v>104.12262599563878</c:v>
                </c:pt>
                <c:pt idx="277">
                  <c:v>104.14495625088888</c:v>
                </c:pt>
                <c:pt idx="278">
                  <c:v>104.16729129511059</c:v>
                </c:pt>
                <c:pt idx="279">
                  <c:v>104.18963112933095</c:v>
                </c:pt>
                <c:pt idx="280">
                  <c:v>104.21197575457722</c:v>
                </c:pt>
                <c:pt idx="281">
                  <c:v>104.23432517187692</c:v>
                </c:pt>
                <c:pt idx="282">
                  <c:v>104.25667938225773</c:v>
                </c:pt>
                <c:pt idx="283">
                  <c:v>104.2790383867476</c:v>
                </c:pt>
                <c:pt idx="284">
                  <c:v>104.30140218637467</c:v>
                </c:pt>
                <c:pt idx="285">
                  <c:v>104.32377078216732</c:v>
                </c:pt>
                <c:pt idx="286">
                  <c:v>104.34614417515412</c:v>
                </c:pt>
                <c:pt idx="287">
                  <c:v>104.36852236636391</c:v>
                </c:pt>
                <c:pt idx="288">
                  <c:v>104.39090535682568</c:v>
                </c:pt>
                <c:pt idx="289">
                  <c:v>104.41329314756872</c:v>
                </c:pt>
                <c:pt idx="290">
                  <c:v>104.4356857396225</c:v>
                </c:pt>
                <c:pt idx="291">
                  <c:v>104.4580831340167</c:v>
                </c:pt>
                <c:pt idx="292">
                  <c:v>104.48048533178125</c:v>
                </c:pt>
                <c:pt idx="293">
                  <c:v>104.50289233394628</c:v>
                </c:pt>
                <c:pt idx="294">
                  <c:v>104.52530414154214</c:v>
                </c:pt>
                <c:pt idx="295">
                  <c:v>104.54772075559941</c:v>
                </c:pt>
                <c:pt idx="296">
                  <c:v>104.57014217714891</c:v>
                </c:pt>
                <c:pt idx="297">
                  <c:v>104.59256840722163</c:v>
                </c:pt>
                <c:pt idx="298">
                  <c:v>104.61499944684883</c:v>
                </c:pt>
                <c:pt idx="299">
                  <c:v>104.63743529706197</c:v>
                </c:pt>
                <c:pt idx="300">
                  <c:v>104.65987595889273</c:v>
                </c:pt>
                <c:pt idx="301">
                  <c:v>104.682321433373</c:v>
                </c:pt>
                <c:pt idx="302">
                  <c:v>104.70477172153494</c:v>
                </c:pt>
                <c:pt idx="303">
                  <c:v>104.72722682441088</c:v>
                </c:pt>
                <c:pt idx="304">
                  <c:v>104.74968674303338</c:v>
                </c:pt>
                <c:pt idx="305">
                  <c:v>104.77215147843525</c:v>
                </c:pt>
                <c:pt idx="306">
                  <c:v>104.79462103164948</c:v>
                </c:pt>
                <c:pt idx="307">
                  <c:v>104.81709540370933</c:v>
                </c:pt>
                <c:pt idx="308">
                  <c:v>104.83957459564823</c:v>
                </c:pt>
                <c:pt idx="309">
                  <c:v>104.86205860849986</c:v>
                </c:pt>
                <c:pt idx="310">
                  <c:v>104.88454744329813</c:v>
                </c:pt>
                <c:pt idx="311">
                  <c:v>104.90704110107716</c:v>
                </c:pt>
                <c:pt idx="312">
                  <c:v>104.92953958287129</c:v>
                </c:pt>
                <c:pt idx="313">
                  <c:v>104.95204288971507</c:v>
                </c:pt>
                <c:pt idx="314">
                  <c:v>104.97455102264331</c:v>
                </c:pt>
                <c:pt idx="315">
                  <c:v>104.99706398269099</c:v>
                </c:pt>
                <c:pt idx="316">
                  <c:v>105.01958177089335</c:v>
                </c:pt>
                <c:pt idx="317">
                  <c:v>105.04210438828585</c:v>
                </c:pt>
                <c:pt idx="318">
                  <c:v>105.06463183590417</c:v>
                </c:pt>
                <c:pt idx="319">
                  <c:v>105.08716411478417</c:v>
                </c:pt>
                <c:pt idx="320">
                  <c:v>105.10970122596201</c:v>
                </c:pt>
                <c:pt idx="321">
                  <c:v>105.13224317047401</c:v>
                </c:pt>
                <c:pt idx="322">
                  <c:v>105.15478994935673</c:v>
                </c:pt>
                <c:pt idx="323">
                  <c:v>105.17734156364695</c:v>
                </c:pt>
                <c:pt idx="324">
                  <c:v>105.19989801438169</c:v>
                </c:pt>
                <c:pt idx="325">
                  <c:v>105.22245930259818</c:v>
                </c:pt>
                <c:pt idx="326">
                  <c:v>105.24502542933386</c:v>
                </c:pt>
                <c:pt idx="327">
                  <c:v>105.26759639562641</c:v>
                </c:pt>
                <c:pt idx="328">
                  <c:v>105.29017220251373</c:v>
                </c:pt>
                <c:pt idx="329">
                  <c:v>105.31275285103393</c:v>
                </c:pt>
                <c:pt idx="330">
                  <c:v>105.33533834222537</c:v>
                </c:pt>
                <c:pt idx="331">
                  <c:v>105.35792867712659</c:v>
                </c:pt>
                <c:pt idx="332">
                  <c:v>105.38052385677641</c:v>
                </c:pt>
                <c:pt idx="333">
                  <c:v>105.40312388221381</c:v>
                </c:pt>
                <c:pt idx="334">
                  <c:v>105.42572875447803</c:v>
                </c:pt>
                <c:pt idx="335">
                  <c:v>105.44833847460853</c:v>
                </c:pt>
                <c:pt idx="336">
                  <c:v>105.470953043645</c:v>
                </c:pt>
                <c:pt idx="337">
                  <c:v>105.49357246262733</c:v>
                </c:pt>
                <c:pt idx="338">
                  <c:v>105.51619673259565</c:v>
                </c:pt>
                <c:pt idx="339">
                  <c:v>105.53882585459029</c:v>
                </c:pt>
                <c:pt idx="340">
                  <c:v>105.56145982965184</c:v>
                </c:pt>
                <c:pt idx="341">
                  <c:v>105.58409865882109</c:v>
                </c:pt>
                <c:pt idx="342">
                  <c:v>105.60674234313906</c:v>
                </c:pt>
                <c:pt idx="343">
                  <c:v>105.62939088364698</c:v>
                </c:pt>
                <c:pt idx="344">
                  <c:v>105.65204428138632</c:v>
                </c:pt>
                <c:pt idx="345">
                  <c:v>105.67470253739877</c:v>
                </c:pt>
                <c:pt idx="346">
                  <c:v>105.69736565272625</c:v>
                </c:pt>
                <c:pt idx="347">
                  <c:v>105.72003362841087</c:v>
                </c:pt>
                <c:pt idx="348">
                  <c:v>105.742706465495</c:v>
                </c:pt>
                <c:pt idx="349">
                  <c:v>105.76538416502123</c:v>
                </c:pt>
                <c:pt idx="350">
                  <c:v>105.78806672803235</c:v>
                </c:pt>
                <c:pt idx="351">
                  <c:v>105.81075415557139</c:v>
                </c:pt>
                <c:pt idx="352">
                  <c:v>105.83344644868161</c:v>
                </c:pt>
                <c:pt idx="353">
                  <c:v>105.85614360840648</c:v>
                </c:pt>
                <c:pt idx="354">
                  <c:v>105.87884563578972</c:v>
                </c:pt>
                <c:pt idx="355">
                  <c:v>105.90155253187523</c:v>
                </c:pt>
                <c:pt idx="356">
                  <c:v>105.92426429770715</c:v>
                </c:pt>
                <c:pt idx="357">
                  <c:v>105.94698093432987</c:v>
                </c:pt>
                <c:pt idx="358">
                  <c:v>105.96970244278798</c:v>
                </c:pt>
                <c:pt idx="359">
                  <c:v>105.99242882412629</c:v>
                </c:pt>
                <c:pt idx="360">
                  <c:v>106.01516007938986</c:v>
                </c:pt>
                <c:pt idx="361">
                  <c:v>106.03789620962395</c:v>
                </c:pt>
                <c:pt idx="362">
                  <c:v>106.06063721587405</c:v>
                </c:pt>
                <c:pt idx="363">
                  <c:v>106.08338309918588</c:v>
                </c:pt>
                <c:pt idx="364">
                  <c:v>106.10613386060538</c:v>
                </c:pt>
                <c:pt idx="365">
                  <c:v>106.12888950117872</c:v>
                </c:pt>
                <c:pt idx="366">
                  <c:v>106.15165002195226</c:v>
                </c:pt>
                <c:pt idx="367">
                  <c:v>106.17441542397265</c:v>
                </c:pt>
                <c:pt idx="368">
                  <c:v>106.19718570828671</c:v>
                </c:pt>
                <c:pt idx="369">
                  <c:v>106.2199608759415</c:v>
                </c:pt>
                <c:pt idx="370">
                  <c:v>106.24274092798431</c:v>
                </c:pt>
                <c:pt idx="371">
                  <c:v>106.26552586546266</c:v>
                </c:pt>
                <c:pt idx="372">
                  <c:v>106.28831568942428</c:v>
                </c:pt>
                <c:pt idx="373">
                  <c:v>106.31111040091712</c:v>
                </c:pt>
                <c:pt idx="374">
                  <c:v>106.33391000098938</c:v>
                </c:pt>
                <c:pt idx="375">
                  <c:v>106.35671449068946</c:v>
                </c:pt>
                <c:pt idx="376">
                  <c:v>106.379523871066</c:v>
                </c:pt>
                <c:pt idx="377">
                  <c:v>106.40233814316785</c:v>
                </c:pt>
                <c:pt idx="378">
                  <c:v>106.42515730804412</c:v>
                </c:pt>
                <c:pt idx="379">
                  <c:v>106.4479813667441</c:v>
                </c:pt>
                <c:pt idx="380">
                  <c:v>106.47081032031733</c:v>
                </c:pt>
                <c:pt idx="381">
                  <c:v>106.49364416981356</c:v>
                </c:pt>
                <c:pt idx="382">
                  <c:v>106.5164829162828</c:v>
                </c:pt>
                <c:pt idx="383">
                  <c:v>106.53932656077524</c:v>
                </c:pt>
                <c:pt idx="384">
                  <c:v>106.56217510434131</c:v>
                </c:pt>
                <c:pt idx="385">
                  <c:v>106.58502854803169</c:v>
                </c:pt>
                <c:pt idx="386">
                  <c:v>106.60788689289726</c:v>
                </c:pt>
                <c:pt idx="387">
                  <c:v>106.63075013998912</c:v>
                </c:pt>
                <c:pt idx="388">
                  <c:v>106.65361829035861</c:v>
                </c:pt>
                <c:pt idx="389">
                  <c:v>106.6764913450573</c:v>
                </c:pt>
                <c:pt idx="390">
                  <c:v>106.69936930513698</c:v>
                </c:pt>
                <c:pt idx="391">
                  <c:v>106.72225217164966</c:v>
                </c:pt>
                <c:pt idx="392">
                  <c:v>106.74513994564758</c:v>
                </c:pt>
                <c:pt idx="393">
                  <c:v>106.76803262818321</c:v>
                </c:pt>
                <c:pt idx="394">
                  <c:v>106.79093022030922</c:v>
                </c:pt>
                <c:pt idx="395">
                  <c:v>106.81383272307855</c:v>
                </c:pt>
                <c:pt idx="396">
                  <c:v>106.83674013754433</c:v>
                </c:pt>
                <c:pt idx="397">
                  <c:v>106.85965246475992</c:v>
                </c:pt>
                <c:pt idx="398">
                  <c:v>106.88256970577893</c:v>
                </c:pt>
                <c:pt idx="399">
                  <c:v>106.90549186165518</c:v>
                </c:pt>
                <c:pt idx="400">
                  <c:v>106.9284189334427</c:v>
                </c:pt>
                <c:pt idx="401">
                  <c:v>106.95135092219577</c:v>
                </c:pt>
                <c:pt idx="402">
                  <c:v>106.9742878289689</c:v>
                </c:pt>
                <c:pt idx="403">
                  <c:v>106.99722965481679</c:v>
                </c:pt>
                <c:pt idx="404">
                  <c:v>107.02017640079441</c:v>
                </c:pt>
                <c:pt idx="405">
                  <c:v>107.04312806795694</c:v>
                </c:pt>
                <c:pt idx="406">
                  <c:v>107.06608465735977</c:v>
                </c:pt>
                <c:pt idx="407">
                  <c:v>107.08904617005852</c:v>
                </c:pt>
                <c:pt idx="408">
                  <c:v>107.11201260710907</c:v>
                </c:pt>
                <c:pt idx="409">
                  <c:v>107.13498396956749</c:v>
                </c:pt>
                <c:pt idx="410">
                  <c:v>107.15796025849008</c:v>
                </c:pt>
                <c:pt idx="411">
                  <c:v>107.18094147493339</c:v>
                </c:pt>
                <c:pt idx="412">
                  <c:v>107.20392761995417</c:v>
                </c:pt>
                <c:pt idx="413">
                  <c:v>107.22691869460942</c:v>
                </c:pt>
                <c:pt idx="414">
                  <c:v>107.24991469995635</c:v>
                </c:pt>
                <c:pt idx="415">
                  <c:v>107.27291563705239</c:v>
                </c:pt>
                <c:pt idx="416">
                  <c:v>107.29592150695522</c:v>
                </c:pt>
                <c:pt idx="417">
                  <c:v>107.31893231072274</c:v>
                </c:pt>
                <c:pt idx="418">
                  <c:v>107.34194804941306</c:v>
                </c:pt>
                <c:pt idx="419">
                  <c:v>107.36496872408455</c:v>
                </c:pt>
                <c:pt idx="420">
                  <c:v>107.38799433579575</c:v>
                </c:pt>
                <c:pt idx="421">
                  <c:v>107.4110248856055</c:v>
                </c:pt>
                <c:pt idx="422">
                  <c:v>107.43406037457281</c:v>
                </c:pt>
                <c:pt idx="423">
                  <c:v>107.45710080375694</c:v>
                </c:pt>
                <c:pt idx="424">
                  <c:v>107.48014617421738</c:v>
                </c:pt>
                <c:pt idx="425">
                  <c:v>107.50319648701384</c:v>
                </c:pt>
                <c:pt idx="426">
                  <c:v>107.52625174320625</c:v>
                </c:pt>
                <c:pt idx="427">
                  <c:v>107.54931194385478</c:v>
                </c:pt>
                <c:pt idx="428">
                  <c:v>107.57237709001983</c:v>
                </c:pt>
                <c:pt idx="429">
                  <c:v>107.59544718276202</c:v>
                </c:pt>
                <c:pt idx="430">
                  <c:v>107.61852222314219</c:v>
                </c:pt>
                <c:pt idx="431">
                  <c:v>107.64160221222143</c:v>
                </c:pt>
                <c:pt idx="432">
                  <c:v>107.66468715106103</c:v>
                </c:pt>
                <c:pt idx="433">
                  <c:v>107.68777704072254</c:v>
                </c:pt>
                <c:pt idx="434">
                  <c:v>107.7108718822677</c:v>
                </c:pt>
                <c:pt idx="435">
                  <c:v>107.73397167675849</c:v>
                </c:pt>
                <c:pt idx="436">
                  <c:v>107.75707642525714</c:v>
                </c:pt>
                <c:pt idx="437">
                  <c:v>107.78018612882609</c:v>
                </c:pt>
                <c:pt idx="438">
                  <c:v>107.80330078852801</c:v>
                </c:pt>
                <c:pt idx="439">
                  <c:v>107.82642040542579</c:v>
                </c:pt>
                <c:pt idx="440">
                  <c:v>107.84954498058256</c:v>
                </c:pt>
                <c:pt idx="441">
                  <c:v>107.87267451506169</c:v>
                </c:pt>
                <c:pt idx="442">
                  <c:v>107.89580900992674</c:v>
                </c:pt>
                <c:pt idx="443">
                  <c:v>107.91894846624153</c:v>
                </c:pt>
                <c:pt idx="444">
                  <c:v>107.9420928850701</c:v>
                </c:pt>
                <c:pt idx="445">
                  <c:v>107.9652422674767</c:v>
                </c:pt>
                <c:pt idx="446">
                  <c:v>107.98839661452584</c:v>
                </c:pt>
                <c:pt idx="447">
                  <c:v>108.01155592728225</c:v>
                </c:pt>
                <c:pt idx="448">
                  <c:v>108.03472020681086</c:v>
                </c:pt>
                <c:pt idx="449">
                  <c:v>108.05788945417686</c:v>
                </c:pt>
                <c:pt idx="450">
                  <c:v>108.08106367044566</c:v>
                </c:pt>
                <c:pt idx="451">
                  <c:v>108.10424285668289</c:v>
                </c:pt>
                <c:pt idx="452">
                  <c:v>108.12742701395442</c:v>
                </c:pt>
                <c:pt idx="453">
                  <c:v>108.15061614332635</c:v>
                </c:pt>
                <c:pt idx="454">
                  <c:v>108.17381024586498</c:v>
                </c:pt>
                <c:pt idx="455">
                  <c:v>108.19700932263689</c:v>
                </c:pt>
                <c:pt idx="456">
                  <c:v>108.22021337470885</c:v>
                </c:pt>
                <c:pt idx="457">
                  <c:v>108.24342240314786</c:v>
                </c:pt>
                <c:pt idx="458">
                  <c:v>108.26663640902116</c:v>
                </c:pt>
                <c:pt idx="459">
                  <c:v>108.28985539339622</c:v>
                </c:pt>
                <c:pt idx="460">
                  <c:v>108.31307935734074</c:v>
                </c:pt>
                <c:pt idx="461">
                  <c:v>108.33630830192263</c:v>
                </c:pt>
                <c:pt idx="462">
                  <c:v>108.35954222821005</c:v>
                </c:pt>
                <c:pt idx="463">
                  <c:v>108.38278113727138</c:v>
                </c:pt>
                <c:pt idx="464">
                  <c:v>108.40602503017523</c:v>
                </c:pt>
                <c:pt idx="465">
                  <c:v>108.42927390799045</c:v>
                </c:pt>
                <c:pt idx="466">
                  <c:v>108.45252777178609</c:v>
                </c:pt>
                <c:pt idx="467">
                  <c:v>108.47578662263147</c:v>
                </c:pt>
                <c:pt idx="468">
                  <c:v>108.49905046159611</c:v>
                </c:pt>
                <c:pt idx="469">
                  <c:v>108.52231928974977</c:v>
                </c:pt>
                <c:pt idx="470">
                  <c:v>108.54559310816244</c:v>
                </c:pt>
                <c:pt idx="471">
                  <c:v>108.56887191790432</c:v>
                </c:pt>
                <c:pt idx="472">
                  <c:v>108.59215572004588</c:v>
                </c:pt>
                <c:pt idx="473">
                  <c:v>108.61544451565779</c:v>
                </c:pt>
                <c:pt idx="474">
                  <c:v>108.63873830581093</c:v>
                </c:pt>
                <c:pt idx="475">
                  <c:v>108.66203709157647</c:v>
                </c:pt>
                <c:pt idx="476">
                  <c:v>108.68534087402574</c:v>
                </c:pt>
                <c:pt idx="477">
                  <c:v>108.70864965423037</c:v>
                </c:pt>
                <c:pt idx="478">
                  <c:v>108.73196343326217</c:v>
                </c:pt>
                <c:pt idx="479">
                  <c:v>108.75528221219318</c:v>
                </c:pt>
                <c:pt idx="480">
                  <c:v>108.77860599209569</c:v>
                </c:pt>
                <c:pt idx="481">
                  <c:v>108.80193477404222</c:v>
                </c:pt>
                <c:pt idx="482">
                  <c:v>108.82526855910552</c:v>
                </c:pt>
                <c:pt idx="483">
                  <c:v>108.84860734835856</c:v>
                </c:pt>
                <c:pt idx="484">
                  <c:v>108.87195114287454</c:v>
                </c:pt>
                <c:pt idx="485">
                  <c:v>108.8952999437269</c:v>
                </c:pt>
                <c:pt idx="486">
                  <c:v>108.9186537519893</c:v>
                </c:pt>
                <c:pt idx="487">
                  <c:v>108.94201256873562</c:v>
                </c:pt>
                <c:pt idx="488">
                  <c:v>108.96537639504001</c:v>
                </c:pt>
                <c:pt idx="489">
                  <c:v>108.98874523197682</c:v>
                </c:pt>
                <c:pt idx="490">
                  <c:v>109.01211908062062</c:v>
                </c:pt>
                <c:pt idx="491">
                  <c:v>109.03549794204625</c:v>
                </c:pt>
                <c:pt idx="492">
                  <c:v>109.05888181732874</c:v>
                </c:pt>
                <c:pt idx="493">
                  <c:v>109.08227070754337</c:v>
                </c:pt>
                <c:pt idx="494">
                  <c:v>109.10566461376565</c:v>
                </c:pt>
                <c:pt idx="495">
                  <c:v>109.12906353707132</c:v>
                </c:pt>
                <c:pt idx="496">
                  <c:v>109.15246747853634</c:v>
                </c:pt>
                <c:pt idx="497">
                  <c:v>109.17587643923692</c:v>
                </c:pt>
                <c:pt idx="498">
                  <c:v>109.19929042024948</c:v>
                </c:pt>
                <c:pt idx="499">
                  <c:v>109.22270942265071</c:v>
                </c:pt>
                <c:pt idx="500">
                  <c:v>109.24613344751748</c:v>
                </c:pt>
                <c:pt idx="501">
                  <c:v>109.26956249592691</c:v>
                </c:pt>
                <c:pt idx="502">
                  <c:v>109.29299656895635</c:v>
                </c:pt>
                <c:pt idx="503">
                  <c:v>109.31643566768342</c:v>
                </c:pt>
                <c:pt idx="504">
                  <c:v>109.3398797931859</c:v>
                </c:pt>
                <c:pt idx="505">
                  <c:v>109.36332894654186</c:v>
                </c:pt>
                <c:pt idx="506">
                  <c:v>109.38678312882956</c:v>
                </c:pt>
                <c:pt idx="507">
                  <c:v>109.41024234112753</c:v>
                </c:pt>
                <c:pt idx="508">
                  <c:v>109.4337065845145</c:v>
                </c:pt>
                <c:pt idx="509">
                  <c:v>109.45717586006944</c:v>
                </c:pt>
                <c:pt idx="510">
                  <c:v>109.48065016887156</c:v>
                </c:pt>
                <c:pt idx="511">
                  <c:v>109.5041295120003</c:v>
                </c:pt>
                <c:pt idx="512">
                  <c:v>109.52761389053533</c:v>
                </c:pt>
                <c:pt idx="513">
                  <c:v>109.55110330555654</c:v>
                </c:pt>
                <c:pt idx="514">
                  <c:v>109.57459775814405</c:v>
                </c:pt>
                <c:pt idx="515">
                  <c:v>109.59809724937824</c:v>
                </c:pt>
                <c:pt idx="516">
                  <c:v>109.6216017803397</c:v>
                </c:pt>
                <c:pt idx="517">
                  <c:v>109.64511135210925</c:v>
                </c:pt>
                <c:pt idx="518">
                  <c:v>109.66862596576796</c:v>
                </c:pt>
                <c:pt idx="519">
                  <c:v>109.69214562239711</c:v>
                </c:pt>
                <c:pt idx="520">
                  <c:v>109.71567032307821</c:v>
                </c:pt>
                <c:pt idx="521">
                  <c:v>109.73920006889304</c:v>
                </c:pt>
                <c:pt idx="522">
                  <c:v>109.76273486092357</c:v>
                </c:pt>
                <c:pt idx="523">
                  <c:v>109.78627470025202</c:v>
                </c:pt>
                <c:pt idx="524">
                  <c:v>109.80981958796083</c:v>
                </c:pt>
                <c:pt idx="525">
                  <c:v>109.83336952513268</c:v>
                </c:pt>
                <c:pt idx="526">
                  <c:v>109.8569245128505</c:v>
                </c:pt>
                <c:pt idx="527">
                  <c:v>109.88048455219742</c:v>
                </c:pt>
                <c:pt idx="528">
                  <c:v>109.90404964425683</c:v>
                </c:pt>
                <c:pt idx="529">
                  <c:v>109.92761979011233</c:v>
                </c:pt>
                <c:pt idx="530">
                  <c:v>109.95119499084777</c:v>
                </c:pt>
                <c:pt idx="531">
                  <c:v>109.97477524754723</c:v>
                </c:pt>
                <c:pt idx="532">
                  <c:v>109.998360561295</c:v>
                </c:pt>
                <c:pt idx="533">
                  <c:v>110.02195093317565</c:v>
                </c:pt>
                <c:pt idx="534">
                  <c:v>110.04554636427392</c:v>
                </c:pt>
                <c:pt idx="535">
                  <c:v>110.06914685567483</c:v>
                </c:pt>
                <c:pt idx="536">
                  <c:v>110.09275240846362</c:v>
                </c:pt>
                <c:pt idx="537">
                  <c:v>110.11636302372577</c:v>
                </c:pt>
                <c:pt idx="538">
                  <c:v>110.13997870254695</c:v>
                </c:pt>
                <c:pt idx="539">
                  <c:v>110.16359944601314</c:v>
                </c:pt>
                <c:pt idx="540">
                  <c:v>110.18722525521048</c:v>
                </c:pt>
                <c:pt idx="541">
                  <c:v>110.21085613122537</c:v>
                </c:pt>
                <c:pt idx="542">
                  <c:v>110.23449207514446</c:v>
                </c:pt>
                <c:pt idx="543">
                  <c:v>110.25813308805462</c:v>
                </c:pt>
                <c:pt idx="544">
                  <c:v>110.28177917104294</c:v>
                </c:pt>
                <c:pt idx="545">
                  <c:v>110.30543032519677</c:v>
                </c:pt>
                <c:pt idx="546">
                  <c:v>110.32908655160367</c:v>
                </c:pt>
                <c:pt idx="547">
                  <c:v>110.35274785135142</c:v>
                </c:pt>
                <c:pt idx="548">
                  <c:v>110.37641422552809</c:v>
                </c:pt>
                <c:pt idx="549">
                  <c:v>110.40008567522193</c:v>
                </c:pt>
                <c:pt idx="550">
                  <c:v>110.42376220152144</c:v>
                </c:pt>
                <c:pt idx="551">
                  <c:v>110.44744380551536</c:v>
                </c:pt>
                <c:pt idx="552">
                  <c:v>110.47113048829266</c:v>
                </c:pt>
                <c:pt idx="553">
                  <c:v>110.49482225094253</c:v>
                </c:pt>
                <c:pt idx="554">
                  <c:v>110.51851909455442</c:v>
                </c:pt>
                <c:pt idx="555">
                  <c:v>110.54222102021798</c:v>
                </c:pt>
                <c:pt idx="556">
                  <c:v>110.56592802902313</c:v>
                </c:pt>
                <c:pt idx="557">
                  <c:v>110.58964012205999</c:v>
                </c:pt>
                <c:pt idx="558">
                  <c:v>110.61335730041895</c:v>
                </c:pt>
                <c:pt idx="559">
                  <c:v>110.6370795651906</c:v>
                </c:pt>
                <c:pt idx="560">
                  <c:v>110.66080691746579</c:v>
                </c:pt>
                <c:pt idx="561">
                  <c:v>110.68453935833558</c:v>
                </c:pt>
                <c:pt idx="562">
                  <c:v>110.70827688889128</c:v>
                </c:pt>
                <c:pt idx="563">
                  <c:v>110.73201951022442</c:v>
                </c:pt>
                <c:pt idx="564">
                  <c:v>110.75576722342679</c:v>
                </c:pt>
                <c:pt idx="565">
                  <c:v>110.77952002959039</c:v>
                </c:pt>
                <c:pt idx="566">
                  <c:v>110.80327792980746</c:v>
                </c:pt>
                <c:pt idx="567">
                  <c:v>110.82704092517048</c:v>
                </c:pt>
                <c:pt idx="568">
                  <c:v>110.85080901677216</c:v>
                </c:pt>
                <c:pt idx="569">
                  <c:v>110.87458220570545</c:v>
                </c:pt>
                <c:pt idx="570">
                  <c:v>110.89836049306352</c:v>
                </c:pt>
                <c:pt idx="571">
                  <c:v>110.92214387993978</c:v>
                </c:pt>
                <c:pt idx="572">
                  <c:v>110.9459323674279</c:v>
                </c:pt>
                <c:pt idx="573">
                  <c:v>110.96972595662174</c:v>
                </c:pt>
                <c:pt idx="574">
                  <c:v>110.99352464861543</c:v>
                </c:pt>
                <c:pt idx="575">
                  <c:v>111.01732844450332</c:v>
                </c:pt>
                <c:pt idx="576">
                  <c:v>111.04113734537999</c:v>
                </c:pt>
                <c:pt idx="577">
                  <c:v>111.06495135234027</c:v>
                </c:pt>
                <c:pt idx="578">
                  <c:v>111.08877046647922</c:v>
                </c:pt>
                <c:pt idx="579">
                  <c:v>111.11259468889212</c:v>
                </c:pt>
                <c:pt idx="580">
                  <c:v>111.1364240206745</c:v>
                </c:pt>
                <c:pt idx="581">
                  <c:v>111.16025846292213</c:v>
                </c:pt>
                <c:pt idx="582">
                  <c:v>111.184098016731</c:v>
                </c:pt>
                <c:pt idx="583">
                  <c:v>111.20794268319733</c:v>
                </c:pt>
                <c:pt idx="584">
                  <c:v>111.23179246341761</c:v>
                </c:pt>
                <c:pt idx="585">
                  <c:v>111.25564735848852</c:v>
                </c:pt>
                <c:pt idx="586">
                  <c:v>111.279507369507</c:v>
                </c:pt>
                <c:pt idx="587">
                  <c:v>111.30337249757024</c:v>
                </c:pt>
                <c:pt idx="588">
                  <c:v>111.32724274377563</c:v>
                </c:pt>
                <c:pt idx="589">
                  <c:v>111.35111810922081</c:v>
                </c:pt>
                <c:pt idx="590">
                  <c:v>111.37499859500366</c:v>
                </c:pt>
                <c:pt idx="591">
                  <c:v>111.39888420222231</c:v>
                </c:pt>
                <c:pt idx="592">
                  <c:v>111.42277493197508</c:v>
                </c:pt>
                <c:pt idx="593">
                  <c:v>111.44667078536058</c:v>
                </c:pt>
                <c:pt idx="594">
                  <c:v>111.47057176347762</c:v>
                </c:pt>
                <c:pt idx="595">
                  <c:v>111.49447786742526</c:v>
                </c:pt>
                <c:pt idx="596">
                  <c:v>111.51838909830278</c:v>
                </c:pt>
                <c:pt idx="597">
                  <c:v>111.54230545720971</c:v>
                </c:pt>
                <c:pt idx="598">
                  <c:v>111.56622694524582</c:v>
                </c:pt>
                <c:pt idx="599">
                  <c:v>111.59015356351111</c:v>
                </c:pt>
                <c:pt idx="600">
                  <c:v>111.61408531310582</c:v>
                </c:pt>
                <c:pt idx="601">
                  <c:v>111.6380221951304</c:v>
                </c:pt>
                <c:pt idx="602">
                  <c:v>111.66196421068558</c:v>
                </c:pt>
                <c:pt idx="603">
                  <c:v>111.68591136087228</c:v>
                </c:pt>
                <c:pt idx="604">
                  <c:v>111.7098636467917</c:v>
                </c:pt>
                <c:pt idx="605">
                  <c:v>111.73382106954524</c:v>
                </c:pt>
                <c:pt idx="606">
                  <c:v>111.75778363023456</c:v>
                </c:pt>
                <c:pt idx="607">
                  <c:v>111.78175132996154</c:v>
                </c:pt>
                <c:pt idx="608">
                  <c:v>111.80572416982831</c:v>
                </c:pt>
                <c:pt idx="609">
                  <c:v>111.82970215093722</c:v>
                </c:pt>
                <c:pt idx="610">
                  <c:v>111.85368527439088</c:v>
                </c:pt>
                <c:pt idx="611">
                  <c:v>111.87767354129213</c:v>
                </c:pt>
                <c:pt idx="612">
                  <c:v>111.90166695274401</c:v>
                </c:pt>
                <c:pt idx="613">
                  <c:v>111.92566550984985</c:v>
                </c:pt>
                <c:pt idx="614">
                  <c:v>111.94966921371318</c:v>
                </c:pt>
                <c:pt idx="615">
                  <c:v>111.97367806543778</c:v>
                </c:pt>
                <c:pt idx="616">
                  <c:v>111.99769206612768</c:v>
                </c:pt>
                <c:pt idx="617">
                  <c:v>112.02171121688713</c:v>
                </c:pt>
                <c:pt idx="618">
                  <c:v>112.04573551882061</c:v>
                </c:pt>
                <c:pt idx="619">
                  <c:v>112.06976497303285</c:v>
                </c:pt>
                <c:pt idx="620">
                  <c:v>112.09379958062881</c:v>
                </c:pt>
                <c:pt idx="621">
                  <c:v>112.11783934271369</c:v>
                </c:pt>
                <c:pt idx="622">
                  <c:v>112.14188426039294</c:v>
                </c:pt>
                <c:pt idx="623">
                  <c:v>112.16593433477222</c:v>
                </c:pt>
                <c:pt idx="624">
                  <c:v>112.18998956695745</c:v>
                </c:pt>
                <c:pt idx="625">
                  <c:v>112.21404995805477</c:v>
                </c:pt>
                <c:pt idx="626">
                  <c:v>112.23811550917058</c:v>
                </c:pt>
                <c:pt idx="627">
                  <c:v>112.2621862214115</c:v>
                </c:pt>
                <c:pt idx="628">
                  <c:v>112.28626209588438</c:v>
                </c:pt>
                <c:pt idx="629">
                  <c:v>112.31034313369634</c:v>
                </c:pt>
                <c:pt idx="630">
                  <c:v>112.33442933595468</c:v>
                </c:pt>
                <c:pt idx="631">
                  <c:v>116.31112645792219</c:v>
                </c:pt>
                <c:pt idx="632">
                  <c:v>116.33607067266318</c:v>
                </c:pt>
                <c:pt idx="633">
                  <c:v>116.36102023696847</c:v>
                </c:pt>
                <c:pt idx="634">
                  <c:v>116.38597515198532</c:v>
                </c:pt>
                <c:pt idx="635">
                  <c:v>116.41093541886126</c:v>
                </c:pt>
                <c:pt idx="636">
                  <c:v>116.43590103874405</c:v>
                </c:pt>
                <c:pt idx="637">
                  <c:v>116.46087201278171</c:v>
                </c:pt>
                <c:pt idx="638">
                  <c:v>116.48584834212249</c:v>
                </c:pt>
                <c:pt idx="639">
                  <c:v>116.51083002791491</c:v>
                </c:pt>
                <c:pt idx="640">
                  <c:v>116.53581707130769</c:v>
                </c:pt>
                <c:pt idx="641">
                  <c:v>116.56080947344985</c:v>
                </c:pt>
                <c:pt idx="642">
                  <c:v>116.58580723549063</c:v>
                </c:pt>
                <c:pt idx="643">
                  <c:v>116.61081035857951</c:v>
                </c:pt>
                <c:pt idx="644">
                  <c:v>116.63581884386625</c:v>
                </c:pt>
                <c:pt idx="645">
                  <c:v>116.6608326925008</c:v>
                </c:pt>
                <c:pt idx="646">
                  <c:v>116.68585190563341</c:v>
                </c:pt>
                <c:pt idx="647">
                  <c:v>116.71087648441456</c:v>
                </c:pt>
                <c:pt idx="648">
                  <c:v>116.73590642999496</c:v>
                </c:pt>
                <c:pt idx="649">
                  <c:v>116.76094174352558</c:v>
                </c:pt>
                <c:pt idx="650">
                  <c:v>116.78598242615764</c:v>
                </c:pt>
                <c:pt idx="651">
                  <c:v>116.81102847904262</c:v>
                </c:pt>
                <c:pt idx="652">
                  <c:v>116.83607990333221</c:v>
                </c:pt>
                <c:pt idx="653">
                  <c:v>116.86113670017836</c:v>
                </c:pt>
                <c:pt idx="654">
                  <c:v>116.88619887073331</c:v>
                </c:pt>
                <c:pt idx="655">
                  <c:v>116.91126641614949</c:v>
                </c:pt>
                <c:pt idx="656">
                  <c:v>116.93633933757958</c:v>
                </c:pt>
                <c:pt idx="657">
                  <c:v>116.96141763617656</c:v>
                </c:pt>
                <c:pt idx="658">
                  <c:v>116.98650131309361</c:v>
                </c:pt>
                <c:pt idx="659">
                  <c:v>117.01159036948417</c:v>
                </c:pt>
                <c:pt idx="660">
                  <c:v>117.03668480650191</c:v>
                </c:pt>
                <c:pt idx="661">
                  <c:v>117.06178462530079</c:v>
                </c:pt>
                <c:pt idx="662">
                  <c:v>117.08688982703498</c:v>
                </c:pt>
                <c:pt idx="663">
                  <c:v>117.11200041285892</c:v>
                </c:pt>
                <c:pt idx="664">
                  <c:v>117.13711638392728</c:v>
                </c:pt>
                <c:pt idx="665">
                  <c:v>117.16223774139499</c:v>
                </c:pt>
                <c:pt idx="666">
                  <c:v>117.18736448641722</c:v>
                </c:pt>
                <c:pt idx="667">
                  <c:v>117.21249662014939</c:v>
                </c:pt>
                <c:pt idx="668">
                  <c:v>117.23763414374719</c:v>
                </c:pt>
                <c:pt idx="669">
                  <c:v>117.2627770583665</c:v>
                </c:pt>
                <c:pt idx="670">
                  <c:v>117.2879253651635</c:v>
                </c:pt>
                <c:pt idx="671">
                  <c:v>117.31307906529462</c:v>
                </c:pt>
                <c:pt idx="672">
                  <c:v>117.3382381599165</c:v>
                </c:pt>
                <c:pt idx="673">
                  <c:v>117.36340265018605</c:v>
                </c:pt>
                <c:pt idx="674">
                  <c:v>117.38857253726043</c:v>
                </c:pt>
                <c:pt idx="675">
                  <c:v>117.41374782229705</c:v>
                </c:pt>
                <c:pt idx="676">
                  <c:v>117.43892850645356</c:v>
                </c:pt>
                <c:pt idx="677">
                  <c:v>117.46411459088786</c:v>
                </c:pt>
                <c:pt idx="678">
                  <c:v>117.4893060767581</c:v>
                </c:pt>
                <c:pt idx="679">
                  <c:v>117.51450296522268</c:v>
                </c:pt>
                <c:pt idx="680">
                  <c:v>117.53970525744023</c:v>
                </c:pt>
                <c:pt idx="681">
                  <c:v>117.56491295456966</c:v>
                </c:pt>
                <c:pt idx="682">
                  <c:v>117.59012605777012</c:v>
                </c:pt>
                <c:pt idx="683">
                  <c:v>117.615344568201</c:v>
                </c:pt>
                <c:pt idx="684">
                  <c:v>117.64056848702192</c:v>
                </c:pt>
                <c:pt idx="685">
                  <c:v>117.66579781539279</c:v>
                </c:pt>
                <c:pt idx="686">
                  <c:v>117.69103255447375</c:v>
                </c:pt>
                <c:pt idx="687">
                  <c:v>117.71627270542517</c:v>
                </c:pt>
                <c:pt idx="688">
                  <c:v>117.74151826940771</c:v>
                </c:pt>
                <c:pt idx="689">
                  <c:v>117.76676924758223</c:v>
                </c:pt>
                <c:pt idx="690">
                  <c:v>117.79202564110987</c:v>
                </c:pt>
                <c:pt idx="691">
                  <c:v>117.81728745115203</c:v>
                </c:pt>
                <c:pt idx="692">
                  <c:v>117.84255467887031</c:v>
                </c:pt>
                <c:pt idx="693">
                  <c:v>117.86782732542662</c:v>
                </c:pt>
                <c:pt idx="694">
                  <c:v>117.89310539198307</c:v>
                </c:pt>
                <c:pt idx="695">
                  <c:v>117.91838887970205</c:v>
                </c:pt>
                <c:pt idx="696">
                  <c:v>117.94367778974619</c:v>
                </c:pt>
                <c:pt idx="697">
                  <c:v>117.96897212327836</c:v>
                </c:pt>
                <c:pt idx="698">
                  <c:v>117.9942718814617</c:v>
                </c:pt>
                <c:pt idx="699">
                  <c:v>118.01957706545959</c:v>
                </c:pt>
                <c:pt idx="700">
                  <c:v>118.04488767643564</c:v>
                </c:pt>
                <c:pt idx="701">
                  <c:v>118.07020371555372</c:v>
                </c:pt>
                <c:pt idx="702">
                  <c:v>118.09552518397797</c:v>
                </c:pt>
                <c:pt idx="703">
                  <c:v>118.12085208287277</c:v>
                </c:pt>
                <c:pt idx="704">
                  <c:v>118.14618441340274</c:v>
                </c:pt>
                <c:pt idx="705">
                  <c:v>118.17152217673274</c:v>
                </c:pt>
                <c:pt idx="706">
                  <c:v>118.19686537402791</c:v>
                </c:pt>
                <c:pt idx="707">
                  <c:v>118.22221400645361</c:v>
                </c:pt>
                <c:pt idx="708">
                  <c:v>118.24756807517549</c:v>
                </c:pt>
                <c:pt idx="709">
                  <c:v>118.27292758135941</c:v>
                </c:pt>
                <c:pt idx="710">
                  <c:v>118.29829252617149</c:v>
                </c:pt>
                <c:pt idx="711">
                  <c:v>118.32366291077811</c:v>
                </c:pt>
                <c:pt idx="712">
                  <c:v>118.34903873634589</c:v>
                </c:pt>
                <c:pt idx="713">
                  <c:v>118.3744200040417</c:v>
                </c:pt>
                <c:pt idx="714">
                  <c:v>118.39980671503267</c:v>
                </c:pt>
                <c:pt idx="715">
                  <c:v>118.42519887048617</c:v>
                </c:pt>
                <c:pt idx="716">
                  <c:v>118.45059647156984</c:v>
                </c:pt>
                <c:pt idx="717">
                  <c:v>118.47599951945155</c:v>
                </c:pt>
                <c:pt idx="718">
                  <c:v>118.50140801529942</c:v>
                </c:pt>
                <c:pt idx="719">
                  <c:v>118.52682196028184</c:v>
                </c:pt>
                <c:pt idx="720">
                  <c:v>118.55224135556742</c:v>
                </c:pt>
                <c:pt idx="721">
                  <c:v>118.57766620232505</c:v>
                </c:pt>
                <c:pt idx="722">
                  <c:v>118.60309650172385</c:v>
                </c:pt>
                <c:pt idx="723">
                  <c:v>118.62853225493321</c:v>
                </c:pt>
                <c:pt idx="724">
                  <c:v>118.65397346312275</c:v>
                </c:pt>
                <c:pt idx="725">
                  <c:v>118.67942012746236</c:v>
                </c:pt>
                <c:pt idx="726">
                  <c:v>118.70487224912218</c:v>
                </c:pt>
                <c:pt idx="727">
                  <c:v>118.73032982927256</c:v>
                </c:pt>
                <c:pt idx="728">
                  <c:v>118.75579286908416</c:v>
                </c:pt>
                <c:pt idx="729">
                  <c:v>118.78126136972786</c:v>
                </c:pt>
                <c:pt idx="730">
                  <c:v>118.8067353323748</c:v>
                </c:pt>
                <c:pt idx="731">
                  <c:v>118.83221475819636</c:v>
                </c:pt>
                <c:pt idx="732">
                  <c:v>118.85769964836419</c:v>
                </c:pt>
                <c:pt idx="733">
                  <c:v>118.88319000405016</c:v>
                </c:pt>
                <c:pt idx="734">
                  <c:v>118.90868582642644</c:v>
                </c:pt>
                <c:pt idx="735">
                  <c:v>118.9341871166654</c:v>
                </c:pt>
                <c:pt idx="736">
                  <c:v>118.95969387593969</c:v>
                </c:pt>
                <c:pt idx="737">
                  <c:v>118.98520610542221</c:v>
                </c:pt>
                <c:pt idx="738">
                  <c:v>119.01072380628609</c:v>
                </c:pt>
                <c:pt idx="739">
                  <c:v>119.03624697970476</c:v>
                </c:pt>
                <c:pt idx="740">
                  <c:v>119.06177562685184</c:v>
                </c:pt>
                <c:pt idx="741">
                  <c:v>119.08730974890125</c:v>
                </c:pt>
                <c:pt idx="742">
                  <c:v>119.11284934702714</c:v>
                </c:pt>
                <c:pt idx="743">
                  <c:v>119.13839442240391</c:v>
                </c:pt>
                <c:pt idx="744">
                  <c:v>119.16394497620621</c:v>
                </c:pt>
                <c:pt idx="745">
                  <c:v>119.18950100960896</c:v>
                </c:pt>
                <c:pt idx="746">
                  <c:v>119.21506252378732</c:v>
                </c:pt>
                <c:pt idx="747">
                  <c:v>119.24062951991671</c:v>
                </c:pt>
                <c:pt idx="748">
                  <c:v>119.26620199917279</c:v>
                </c:pt>
                <c:pt idx="749">
                  <c:v>119.29177996273148</c:v>
                </c:pt>
                <c:pt idx="750">
                  <c:v>119.31736341176894</c:v>
                </c:pt>
                <c:pt idx="751">
                  <c:v>119.34295234746159</c:v>
                </c:pt>
                <c:pt idx="752">
                  <c:v>119.36854677098613</c:v>
                </c:pt>
                <c:pt idx="753">
                  <c:v>119.39414668351947</c:v>
                </c:pt>
                <c:pt idx="754">
                  <c:v>119.41975208623877</c:v>
                </c:pt>
                <c:pt idx="755">
                  <c:v>119.44536298032149</c:v>
                </c:pt>
                <c:pt idx="756">
                  <c:v>119.4709793669453</c:v>
                </c:pt>
                <c:pt idx="757">
                  <c:v>119.49660124728814</c:v>
                </c:pt>
                <c:pt idx="758">
                  <c:v>119.5222286225282</c:v>
                </c:pt>
                <c:pt idx="759">
                  <c:v>119.54786149384393</c:v>
                </c:pt>
                <c:pt idx="760">
                  <c:v>119.573499862414</c:v>
                </c:pt>
                <c:pt idx="761">
                  <c:v>119.59914372941738</c:v>
                </c:pt>
                <c:pt idx="762">
                  <c:v>119.62479309603326</c:v>
                </c:pt>
                <c:pt idx="763">
                  <c:v>119.6504479634411</c:v>
                </c:pt>
                <c:pt idx="764">
                  <c:v>119.6761083328206</c:v>
                </c:pt>
                <c:pt idx="765">
                  <c:v>119.70177420535173</c:v>
                </c:pt>
                <c:pt idx="766">
                  <c:v>119.72744558221468</c:v>
                </c:pt>
                <c:pt idx="767">
                  <c:v>119.75312246458994</c:v>
                </c:pt>
                <c:pt idx="768">
                  <c:v>119.7788048536582</c:v>
                </c:pt>
                <c:pt idx="769">
                  <c:v>119.80449275060046</c:v>
                </c:pt>
                <c:pt idx="770">
                  <c:v>119.83018615659793</c:v>
                </c:pt>
                <c:pt idx="771">
                  <c:v>119.85588507283209</c:v>
                </c:pt>
                <c:pt idx="772">
                  <c:v>119.88158950048468</c:v>
                </c:pt>
                <c:pt idx="773">
                  <c:v>119.90729944073767</c:v>
                </c:pt>
                <c:pt idx="774">
                  <c:v>119.93301489477332</c:v>
                </c:pt>
                <c:pt idx="775">
                  <c:v>119.95873586377411</c:v>
                </c:pt>
                <c:pt idx="776">
                  <c:v>119.98446234892278</c:v>
                </c:pt>
                <c:pt idx="777">
                  <c:v>120.01019435140232</c:v>
                </c:pt>
                <c:pt idx="778">
                  <c:v>120.03593187239601</c:v>
                </c:pt>
                <c:pt idx="779">
                  <c:v>120.06167491308733</c:v>
                </c:pt>
                <c:pt idx="780">
                  <c:v>120.08742347466006</c:v>
                </c:pt>
                <c:pt idx="781">
                  <c:v>120.1131775582982</c:v>
                </c:pt>
                <c:pt idx="782">
                  <c:v>120.13893716518604</c:v>
                </c:pt>
                <c:pt idx="783">
                  <c:v>120.16470229650808</c:v>
                </c:pt>
                <c:pt idx="784">
                  <c:v>120.19047295344912</c:v>
                </c:pt>
                <c:pt idx="785">
                  <c:v>120.21624913719417</c:v>
                </c:pt>
                <c:pt idx="786">
                  <c:v>120.24203084892851</c:v>
                </c:pt>
                <c:pt idx="787">
                  <c:v>120.26781808983769</c:v>
                </c:pt>
                <c:pt idx="788">
                  <c:v>120.29361086110751</c:v>
                </c:pt>
                <c:pt idx="789">
                  <c:v>120.31940916392401</c:v>
                </c:pt>
                <c:pt idx="790">
                  <c:v>120.34521299947349</c:v>
                </c:pt>
                <c:pt idx="791">
                  <c:v>120.3710223689425</c:v>
                </c:pt>
                <c:pt idx="792">
                  <c:v>120.39683727351786</c:v>
                </c:pt>
                <c:pt idx="793">
                  <c:v>120.42265771438663</c:v>
                </c:pt>
                <c:pt idx="794">
                  <c:v>120.44848369273613</c:v>
                </c:pt>
                <c:pt idx="795">
                  <c:v>120.47431520975394</c:v>
                </c:pt>
                <c:pt idx="796">
                  <c:v>120.50015226662789</c:v>
                </c:pt>
                <c:pt idx="797">
                  <c:v>120.52599486454606</c:v>
                </c:pt>
                <c:pt idx="798">
                  <c:v>120.55184300469679</c:v>
                </c:pt>
                <c:pt idx="799">
                  <c:v>120.57769668826867</c:v>
                </c:pt>
                <c:pt idx="800">
                  <c:v>120.60355591645055</c:v>
                </c:pt>
                <c:pt idx="801">
                  <c:v>120.62942069043153</c:v>
                </c:pt>
                <c:pt idx="802">
                  <c:v>120.65529101140098</c:v>
                </c:pt>
                <c:pt idx="803">
                  <c:v>120.68116688054849</c:v>
                </c:pt>
                <c:pt idx="804">
                  <c:v>120.70704829906396</c:v>
                </c:pt>
                <c:pt idx="805">
                  <c:v>120.73293526813748</c:v>
                </c:pt>
                <c:pt idx="806">
                  <c:v>120.75882778895945</c:v>
                </c:pt>
                <c:pt idx="807">
                  <c:v>120.78472586272051</c:v>
                </c:pt>
                <c:pt idx="808">
                  <c:v>120.81062949061153</c:v>
                </c:pt>
                <c:pt idx="809">
                  <c:v>120.83653867382367</c:v>
                </c:pt>
                <c:pt idx="810">
                  <c:v>120.86245341354832</c:v>
                </c:pt>
                <c:pt idx="811">
                  <c:v>120.88837371097715</c:v>
                </c:pt>
                <c:pt idx="812">
                  <c:v>120.91429956730205</c:v>
                </c:pt>
                <c:pt idx="813">
                  <c:v>120.94023098371521</c:v>
                </c:pt>
                <c:pt idx="814">
                  <c:v>120.96616796140904</c:v>
                </c:pt>
                <c:pt idx="815">
                  <c:v>120.99211050157622</c:v>
                </c:pt>
                <c:pt idx="816">
                  <c:v>121.01805860540969</c:v>
                </c:pt>
                <c:pt idx="817">
                  <c:v>121.04401227410263</c:v>
                </c:pt>
                <c:pt idx="818">
                  <c:v>121.06997150884848</c:v>
                </c:pt>
                <c:pt idx="819">
                  <c:v>121.09593631084097</c:v>
                </c:pt>
                <c:pt idx="820">
                  <c:v>121.12190668127404</c:v>
                </c:pt>
                <c:pt idx="821">
                  <c:v>121.14788262134191</c:v>
                </c:pt>
                <c:pt idx="822">
                  <c:v>121.17386413223903</c:v>
                </c:pt>
                <c:pt idx="823">
                  <c:v>121.19985121516015</c:v>
                </c:pt>
                <c:pt idx="824">
                  <c:v>121.22584387130024</c:v>
                </c:pt>
                <c:pt idx="825">
                  <c:v>121.25184210185455</c:v>
                </c:pt>
                <c:pt idx="826">
                  <c:v>121.27784590801856</c:v>
                </c:pt>
                <c:pt idx="827">
                  <c:v>121.30385529098804</c:v>
                </c:pt>
                <c:pt idx="828">
                  <c:v>121.32987025195898</c:v>
                </c:pt>
                <c:pt idx="829">
                  <c:v>121.35589079212765</c:v>
                </c:pt>
                <c:pt idx="830">
                  <c:v>121.38191691269058</c:v>
                </c:pt>
                <c:pt idx="831">
                  <c:v>121.40794861484454</c:v>
                </c:pt>
                <c:pt idx="832">
                  <c:v>121.43398589978656</c:v>
                </c:pt>
                <c:pt idx="833">
                  <c:v>121.46002876871394</c:v>
                </c:pt>
                <c:pt idx="834">
                  <c:v>121.48607722282422</c:v>
                </c:pt>
                <c:pt idx="835">
                  <c:v>121.51213126331521</c:v>
                </c:pt>
                <c:pt idx="836">
                  <c:v>121.53819089138497</c:v>
                </c:pt>
                <c:pt idx="837">
                  <c:v>121.56425610823182</c:v>
                </c:pt>
                <c:pt idx="838">
                  <c:v>121.59032691505433</c:v>
                </c:pt>
                <c:pt idx="839">
                  <c:v>121.61640331305134</c:v>
                </c:pt>
                <c:pt idx="840">
                  <c:v>121.64248530342192</c:v>
                </c:pt>
                <c:pt idx="841">
                  <c:v>121.66857288736544</c:v>
                </c:pt>
                <c:pt idx="842">
                  <c:v>121.6946660660815</c:v>
                </c:pt>
                <c:pt idx="843">
                  <c:v>121.72076484076996</c:v>
                </c:pt>
                <c:pt idx="844">
                  <c:v>121.74686921263093</c:v>
                </c:pt>
                <c:pt idx="845">
                  <c:v>121.77297918286479</c:v>
                </c:pt>
                <c:pt idx="846">
                  <c:v>121.79909475267218</c:v>
                </c:pt>
                <c:pt idx="847">
                  <c:v>121.82521592325398</c:v>
                </c:pt>
                <c:pt idx="848">
                  <c:v>121.85134269581135</c:v>
                </c:pt>
                <c:pt idx="849">
                  <c:v>121.87747507154569</c:v>
                </c:pt>
                <c:pt idx="850">
                  <c:v>121.90361305165867</c:v>
                </c:pt>
                <c:pt idx="851">
                  <c:v>121.9297566373522</c:v>
                </c:pt>
                <c:pt idx="852">
                  <c:v>121.95590582982847</c:v>
                </c:pt>
                <c:pt idx="853">
                  <c:v>121.98206063028991</c:v>
                </c:pt>
                <c:pt idx="854">
                  <c:v>122.00822103993922</c:v>
                </c:pt>
                <c:pt idx="855">
                  <c:v>122.03438705997934</c:v>
                </c:pt>
                <c:pt idx="856">
                  <c:v>122.06055869161349</c:v>
                </c:pt>
                <c:pt idx="857">
                  <c:v>122.08673593604514</c:v>
                </c:pt>
                <c:pt idx="858">
                  <c:v>122.11291879447802</c:v>
                </c:pt>
                <c:pt idx="859">
                  <c:v>122.13910726811611</c:v>
                </c:pt>
                <c:pt idx="860">
                  <c:v>122.16530135816365</c:v>
                </c:pt>
                <c:pt idx="861">
                  <c:v>122.19150106582514</c:v>
                </c:pt>
                <c:pt idx="862">
                  <c:v>122.21770639230535</c:v>
                </c:pt>
                <c:pt idx="863">
                  <c:v>122.24391733880928</c:v>
                </c:pt>
                <c:pt idx="864">
                  <c:v>122.27013390654223</c:v>
                </c:pt>
                <c:pt idx="865">
                  <c:v>122.29635609670972</c:v>
                </c:pt>
                <c:pt idx="866">
                  <c:v>122.32258391051755</c:v>
                </c:pt>
                <c:pt idx="867">
                  <c:v>122.34881734917177</c:v>
                </c:pt>
                <c:pt idx="868">
                  <c:v>122.3750564138787</c:v>
                </c:pt>
                <c:pt idx="869">
                  <c:v>122.40130110584489</c:v>
                </c:pt>
                <c:pt idx="870">
                  <c:v>122.42755142627719</c:v>
                </c:pt>
                <c:pt idx="871">
                  <c:v>122.45380737638267</c:v>
                </c:pt>
                <c:pt idx="872">
                  <c:v>122.48006895736869</c:v>
                </c:pt>
                <c:pt idx="873">
                  <c:v>122.50633617044284</c:v>
                </c:pt>
                <c:pt idx="874">
                  <c:v>122.53260901681298</c:v>
                </c:pt>
                <c:pt idx="875">
                  <c:v>122.55888749768725</c:v>
                </c:pt>
                <c:pt idx="876">
                  <c:v>122.58517161427403</c:v>
                </c:pt>
                <c:pt idx="877">
                  <c:v>122.61146136778196</c:v>
                </c:pt>
                <c:pt idx="878">
                  <c:v>122.63775675941993</c:v>
                </c:pt>
                <c:pt idx="879">
                  <c:v>122.66405779039711</c:v>
                </c:pt>
                <c:pt idx="880">
                  <c:v>122.69036446192293</c:v>
                </c:pt>
                <c:pt idx="881">
                  <c:v>122.71667677520703</c:v>
                </c:pt>
                <c:pt idx="882">
                  <c:v>122.74299473145939</c:v>
                </c:pt>
                <c:pt idx="883">
                  <c:v>122.76931833189019</c:v>
                </c:pt>
                <c:pt idx="884">
                  <c:v>122.79564757770989</c:v>
                </c:pt>
                <c:pt idx="885">
                  <c:v>122.8219824701292</c:v>
                </c:pt>
                <c:pt idx="886">
                  <c:v>122.8483230103591</c:v>
                </c:pt>
                <c:pt idx="887">
                  <c:v>122.87466919961082</c:v>
                </c:pt>
                <c:pt idx="888">
                  <c:v>122.90102103909587</c:v>
                </c:pt>
                <c:pt idx="889">
                  <c:v>122.92737853002599</c:v>
                </c:pt>
                <c:pt idx="890">
                  <c:v>122.95374167361321</c:v>
                </c:pt>
                <c:pt idx="891">
                  <c:v>122.98011047106979</c:v>
                </c:pt>
                <c:pt idx="892">
                  <c:v>123.00648492360827</c:v>
                </c:pt>
                <c:pt idx="893">
                  <c:v>123.03286503244145</c:v>
                </c:pt>
                <c:pt idx="894">
                  <c:v>123.05925079878237</c:v>
                </c:pt>
                <c:pt idx="895">
                  <c:v>123.08564222384437</c:v>
                </c:pt>
                <c:pt idx="896">
                  <c:v>123.11203930884102</c:v>
                </c:pt>
                <c:pt idx="897">
                  <c:v>123.13844205498614</c:v>
                </c:pt>
                <c:pt idx="898">
                  <c:v>123.16485046349383</c:v>
                </c:pt>
                <c:pt idx="899">
                  <c:v>123.19126453557847</c:v>
                </c:pt>
                <c:pt idx="900">
                  <c:v>123.21768427245465</c:v>
                </c:pt>
                <c:pt idx="901">
                  <c:v>123.24410967533726</c:v>
                </c:pt>
                <c:pt idx="902">
                  <c:v>123.27054074544142</c:v>
                </c:pt>
                <c:pt idx="903">
                  <c:v>123.29697748398256</c:v>
                </c:pt>
                <c:pt idx="904">
                  <c:v>123.32341989217632</c:v>
                </c:pt>
                <c:pt idx="905">
                  <c:v>123.34986797123862</c:v>
                </c:pt>
                <c:pt idx="906">
                  <c:v>123.37632172238565</c:v>
                </c:pt>
                <c:pt idx="907">
                  <c:v>123.40278114683385</c:v>
                </c:pt>
                <c:pt idx="908">
                  <c:v>123.4292462457999</c:v>
                </c:pt>
                <c:pt idx="909">
                  <c:v>123.45571702050078</c:v>
                </c:pt>
                <c:pt idx="910">
                  <c:v>123.48219347215372</c:v>
                </c:pt>
                <c:pt idx="911">
                  <c:v>123.50867560197621</c:v>
                </c:pt>
                <c:pt idx="912">
                  <c:v>123.53516341118598</c:v>
                </c:pt>
                <c:pt idx="913">
                  <c:v>123.56165690100104</c:v>
                </c:pt>
                <c:pt idx="914">
                  <c:v>123.58815607263968</c:v>
                </c:pt>
                <c:pt idx="915">
                  <c:v>123.61466092732041</c:v>
                </c:pt>
                <c:pt idx="916">
                  <c:v>123.64117146626204</c:v>
                </c:pt>
                <c:pt idx="917">
                  <c:v>123.66768769068359</c:v>
                </c:pt>
                <c:pt idx="918">
                  <c:v>123.6942096018044</c:v>
                </c:pt>
                <c:pt idx="919">
                  <c:v>123.72073720084404</c:v>
                </c:pt>
                <c:pt idx="920">
                  <c:v>123.74727048902236</c:v>
                </c:pt>
                <c:pt idx="921">
                  <c:v>123.77380946755943</c:v>
                </c:pt>
                <c:pt idx="922">
                  <c:v>123.80035413767564</c:v>
                </c:pt>
                <c:pt idx="923">
                  <c:v>123.8269045005916</c:v>
                </c:pt>
                <c:pt idx="924">
                  <c:v>123.85346055752818</c:v>
                </c:pt>
                <c:pt idx="925">
                  <c:v>123.88002230970655</c:v>
                </c:pt>
                <c:pt idx="926">
                  <c:v>123.9065897583481</c:v>
                </c:pt>
                <c:pt idx="927">
                  <c:v>123.93316290467452</c:v>
                </c:pt>
                <c:pt idx="928">
                  <c:v>123.95974174990772</c:v>
                </c:pt>
                <c:pt idx="929">
                  <c:v>123.9863262952699</c:v>
                </c:pt>
                <c:pt idx="930">
                  <c:v>124.01291654198353</c:v>
                </c:pt>
                <c:pt idx="931">
                  <c:v>124.03951249127131</c:v>
                </c:pt>
                <c:pt idx="932">
                  <c:v>124.06611414435623</c:v>
                </c:pt>
                <c:pt idx="933">
                  <c:v>124.09272150246154</c:v>
                </c:pt>
                <c:pt idx="934">
                  <c:v>124.11933456681074</c:v>
                </c:pt>
                <c:pt idx="935">
                  <c:v>124.14595333862758</c:v>
                </c:pt>
                <c:pt idx="936">
                  <c:v>124.17257781913611</c:v>
                </c:pt>
                <c:pt idx="937">
                  <c:v>124.19920800956062</c:v>
                </c:pt>
                <c:pt idx="938">
                  <c:v>124.22584391112566</c:v>
                </c:pt>
                <c:pt idx="939">
                  <c:v>124.25248552505606</c:v>
                </c:pt>
                <c:pt idx="940">
                  <c:v>124.27913285257688</c:v>
                </c:pt>
                <c:pt idx="941">
                  <c:v>124.30578589491347</c:v>
                </c:pt>
                <c:pt idx="942">
                  <c:v>124.33244465329143</c:v>
                </c:pt>
                <c:pt idx="943">
                  <c:v>124.35910912893665</c:v>
                </c:pt>
                <c:pt idx="944">
                  <c:v>124.38577932307524</c:v>
                </c:pt>
                <c:pt idx="945">
                  <c:v>124.41245523693361</c:v>
                </c:pt>
                <c:pt idx="946">
                  <c:v>124.4391368717384</c:v>
                </c:pt>
                <c:pt idx="947">
                  <c:v>124.46582422871654</c:v>
                </c:pt>
                <c:pt idx="948">
                  <c:v>124.49251730909522</c:v>
                </c:pt>
                <c:pt idx="949">
                  <c:v>124.51921611410188</c:v>
                </c:pt>
                <c:pt idx="950">
                  <c:v>124.54592064496423</c:v>
                </c:pt>
                <c:pt idx="951">
                  <c:v>124.57263090291025</c:v>
                </c:pt>
                <c:pt idx="952">
                  <c:v>124.59934688916816</c:v>
                </c:pt>
                <c:pt idx="953">
                  <c:v>124.62606860496648</c:v>
                </c:pt>
                <c:pt idx="954">
                  <c:v>124.65279605153397</c:v>
                </c:pt>
                <c:pt idx="955">
                  <c:v>124.67952923009965</c:v>
                </c:pt>
                <c:pt idx="956">
                  <c:v>124.70626814189281</c:v>
                </c:pt>
                <c:pt idx="957">
                  <c:v>124.733012788143</c:v>
                </c:pt>
                <c:pt idx="958">
                  <c:v>124.75976317008006</c:v>
                </c:pt>
                <c:pt idx="959">
                  <c:v>124.78651928893406</c:v>
                </c:pt>
                <c:pt idx="960">
                  <c:v>124.81328114593533</c:v>
                </c:pt>
                <c:pt idx="961">
                  <c:v>124.84004874231451</c:v>
                </c:pt>
                <c:pt idx="962">
                  <c:v>124.86682207930245</c:v>
                </c:pt>
                <c:pt idx="963">
                  <c:v>124.89360115813029</c:v>
                </c:pt>
                <c:pt idx="964">
                  <c:v>124.92038598002944</c:v>
                </c:pt>
                <c:pt idx="965">
                  <c:v>124.94717654623156</c:v>
                </c:pt>
                <c:pt idx="966">
                  <c:v>124.97397285796858</c:v>
                </c:pt>
                <c:pt idx="967">
                  <c:v>125.00077491647269</c:v>
                </c:pt>
                <c:pt idx="968">
                  <c:v>125.02758272297636</c:v>
                </c:pt>
                <c:pt idx="969">
                  <c:v>125.0543962787123</c:v>
                </c:pt>
                <c:pt idx="970">
                  <c:v>125.08121558491351</c:v>
                </c:pt>
                <c:pt idx="971">
                  <c:v>125.10804064281322</c:v>
                </c:pt>
                <c:pt idx="972">
                  <c:v>125.13487145364496</c:v>
                </c:pt>
                <c:pt idx="973">
                  <c:v>125.16170801864251</c:v>
                </c:pt>
                <c:pt idx="974">
                  <c:v>125.18855033903992</c:v>
                </c:pt>
                <c:pt idx="975">
                  <c:v>125.21539841607149</c:v>
                </c:pt>
                <c:pt idx="976">
                  <c:v>125.2422522509718</c:v>
                </c:pt>
                <c:pt idx="977">
                  <c:v>125.26911184497568</c:v>
                </c:pt>
                <c:pt idx="978">
                  <c:v>125.29597719931824</c:v>
                </c:pt>
                <c:pt idx="979">
                  <c:v>125.32284831523485</c:v>
                </c:pt>
                <c:pt idx="980">
                  <c:v>125.34972519396115</c:v>
                </c:pt>
                <c:pt idx="981">
                  <c:v>125.37660783673303</c:v>
                </c:pt>
                <c:pt idx="982">
                  <c:v>125.40349624478665</c:v>
                </c:pt>
                <c:pt idx="983">
                  <c:v>125.43039041935845</c:v>
                </c:pt>
                <c:pt idx="984">
                  <c:v>125.45729036168511</c:v>
                </c:pt>
                <c:pt idx="985">
                  <c:v>125.4841960730036</c:v>
                </c:pt>
                <c:pt idx="986">
                  <c:v>125.51110755455115</c:v>
                </c:pt>
                <c:pt idx="987">
                  <c:v>125.53802480756522</c:v>
                </c:pt>
                <c:pt idx="988">
                  <c:v>125.5649478332836</c:v>
                </c:pt>
                <c:pt idx="989">
                  <c:v>125.59187663294429</c:v>
                </c:pt>
                <c:pt idx="990">
                  <c:v>125.6188112077856</c:v>
                </c:pt>
                <c:pt idx="991">
                  <c:v>125.64575155904605</c:v>
                </c:pt>
                <c:pt idx="992">
                  <c:v>125.67269768796447</c:v>
                </c:pt>
                <c:pt idx="993">
                  <c:v>125.69964959577996</c:v>
                </c:pt>
                <c:pt idx="994">
                  <c:v>125.72660728373185</c:v>
                </c:pt>
                <c:pt idx="995">
                  <c:v>125.75357075305976</c:v>
                </c:pt>
                <c:pt idx="996">
                  <c:v>125.78054000500356</c:v>
                </c:pt>
                <c:pt idx="997">
                  <c:v>125.80751504080341</c:v>
                </c:pt>
                <c:pt idx="998">
                  <c:v>125.83449586169971</c:v>
                </c:pt>
                <c:pt idx="999">
                  <c:v>125.86148246893315</c:v>
                </c:pt>
                <c:pt idx="1000">
                  <c:v>125.88847486374466</c:v>
                </c:pt>
                <c:pt idx="1001">
                  <c:v>125.91547304737547</c:v>
                </c:pt>
                <c:pt idx="1002">
                  <c:v>125.94247702106705</c:v>
                </c:pt>
                <c:pt idx="1003">
                  <c:v>125.96948678606114</c:v>
                </c:pt>
                <c:pt idx="1004">
                  <c:v>125.99650234359974</c:v>
                </c:pt>
                <c:pt idx="1005">
                  <c:v>126.02352369492515</c:v>
                </c:pt>
                <c:pt idx="1006">
                  <c:v>126.05055084127989</c:v>
                </c:pt>
                <c:pt idx="1007">
                  <c:v>126.07758378390677</c:v>
                </c:pt>
                <c:pt idx="1008">
                  <c:v>126.10462252404888</c:v>
                </c:pt>
                <c:pt idx="1009">
                  <c:v>126.13166706294955</c:v>
                </c:pt>
                <c:pt idx="1010">
                  <c:v>126.15871740185239</c:v>
                </c:pt>
                <c:pt idx="1011">
                  <c:v>126.18577354200127</c:v>
                </c:pt>
                <c:pt idx="1012">
                  <c:v>126.21283548464035</c:v>
                </c:pt>
                <c:pt idx="1013">
                  <c:v>126.23990323101403</c:v>
                </c:pt>
                <c:pt idx="1014">
                  <c:v>126.26697678236697</c:v>
                </c:pt>
                <c:pt idx="1015">
                  <c:v>126.29405613994412</c:v>
                </c:pt>
                <c:pt idx="1016">
                  <c:v>126.32114130499069</c:v>
                </c:pt>
                <c:pt idx="1017">
                  <c:v>126.34823227875216</c:v>
                </c:pt>
                <c:pt idx="1018">
                  <c:v>126.37532906247428</c:v>
                </c:pt>
                <c:pt idx="1019">
                  <c:v>126.40243165740306</c:v>
                </c:pt>
                <c:pt idx="1020">
                  <c:v>126.42954006478476</c:v>
                </c:pt>
                <c:pt idx="1021">
                  <c:v>126.45665428586594</c:v>
                </c:pt>
                <c:pt idx="1022">
                  <c:v>126.48377432189341</c:v>
                </c:pt>
                <c:pt idx="1023">
                  <c:v>126.51090017411424</c:v>
                </c:pt>
                <c:pt idx="1024">
                  <c:v>126.5380318437758</c:v>
                </c:pt>
                <c:pt idx="1025">
                  <c:v>126.56516933212568</c:v>
                </c:pt>
                <c:pt idx="1026">
                  <c:v>126.59231264041178</c:v>
                </c:pt>
                <c:pt idx="1027">
                  <c:v>126.61946176988224</c:v>
                </c:pt>
                <c:pt idx="1028">
                  <c:v>126.64661672178548</c:v>
                </c:pt>
                <c:pt idx="1029">
                  <c:v>126.6737774973702</c:v>
                </c:pt>
                <c:pt idx="1030">
                  <c:v>126.70094409788533</c:v>
                </c:pt>
                <c:pt idx="1031">
                  <c:v>126.7281165245801</c:v>
                </c:pt>
                <c:pt idx="1032">
                  <c:v>126.75529477870401</c:v>
                </c:pt>
                <c:pt idx="1033">
                  <c:v>126.7824788615068</c:v>
                </c:pt>
                <c:pt idx="1034">
                  <c:v>126.8096687742385</c:v>
                </c:pt>
                <c:pt idx="1035">
                  <c:v>126.83686451814941</c:v>
                </c:pt>
                <c:pt idx="1036">
                  <c:v>126.86406609449008</c:v>
                </c:pt>
                <c:pt idx="1037">
                  <c:v>126.89127350451136</c:v>
                </c:pt>
                <c:pt idx="1038">
                  <c:v>126.91848674946432</c:v>
                </c:pt>
                <c:pt idx="1039">
                  <c:v>126.94570583060035</c:v>
                </c:pt>
                <c:pt idx="1040">
                  <c:v>126.97293074917107</c:v>
                </c:pt>
                <c:pt idx="1041">
                  <c:v>127.00016150642838</c:v>
                </c:pt>
                <c:pt idx="1042">
                  <c:v>127.02739810362446</c:v>
                </c:pt>
                <c:pt idx="1043">
                  <c:v>127.05464054201175</c:v>
                </c:pt>
                <c:pt idx="1044">
                  <c:v>127.08188882284297</c:v>
                </c:pt>
                <c:pt idx="1045">
                  <c:v>127.10914294737107</c:v>
                </c:pt>
                <c:pt idx="1046">
                  <c:v>127.13640291684931</c:v>
                </c:pt>
                <c:pt idx="1047">
                  <c:v>127.16366873253121</c:v>
                </c:pt>
                <c:pt idx="1048">
                  <c:v>127.19094039567054</c:v>
                </c:pt>
                <c:pt idx="1049">
                  <c:v>127.21821790752136</c:v>
                </c:pt>
                <c:pt idx="1050">
                  <c:v>127.24550126933799</c:v>
                </c:pt>
                <c:pt idx="1051">
                  <c:v>127.27279048237503</c:v>
                </c:pt>
                <c:pt idx="1052">
                  <c:v>127.30008554788732</c:v>
                </c:pt>
                <c:pt idx="1053">
                  <c:v>127.32738646713001</c:v>
                </c:pt>
                <c:pt idx="1054">
                  <c:v>127.35469324135849</c:v>
                </c:pt>
                <c:pt idx="1055">
                  <c:v>127.38200587182841</c:v>
                </c:pt>
                <c:pt idx="1056">
                  <c:v>127.40932435979573</c:v>
                </c:pt>
                <c:pt idx="1057">
                  <c:v>127.43664870651664</c:v>
                </c:pt>
                <c:pt idx="1058">
                  <c:v>127.46397891324762</c:v>
                </c:pt>
                <c:pt idx="1059">
                  <c:v>127.49131498124541</c:v>
                </c:pt>
                <c:pt idx="1060">
                  <c:v>127.51865691176702</c:v>
                </c:pt>
                <c:pt idx="1061">
                  <c:v>127.54600470606975</c:v>
                </c:pt>
                <c:pt idx="1062">
                  <c:v>127.57335836541115</c:v>
                </c:pt>
                <c:pt idx="1063">
                  <c:v>127.60071789104904</c:v>
                </c:pt>
                <c:pt idx="1064">
                  <c:v>127.62808328424151</c:v>
                </c:pt>
                <c:pt idx="1065">
                  <c:v>127.65545454624692</c:v>
                </c:pt>
                <c:pt idx="1066">
                  <c:v>127.68283167832389</c:v>
                </c:pt>
                <c:pt idx="1067">
                  <c:v>127.71021468173134</c:v>
                </c:pt>
                <c:pt idx="1068">
                  <c:v>127.73760355772845</c:v>
                </c:pt>
                <c:pt idx="1069">
                  <c:v>127.76499830757464</c:v>
                </c:pt>
                <c:pt idx="1070">
                  <c:v>127.79239893252964</c:v>
                </c:pt>
                <c:pt idx="1071">
                  <c:v>127.81980543385342</c:v>
                </c:pt>
                <c:pt idx="1072">
                  <c:v>127.84721781280624</c:v>
                </c:pt>
                <c:pt idx="1073">
                  <c:v>127.87463607064862</c:v>
                </c:pt>
                <c:pt idx="1074">
                  <c:v>127.90206020864136</c:v>
                </c:pt>
                <c:pt idx="1075">
                  <c:v>127.92949022804551</c:v>
                </c:pt>
                <c:pt idx="1076">
                  <c:v>127.95692613012241</c:v>
                </c:pt>
                <c:pt idx="1077">
                  <c:v>127.98436791613368</c:v>
                </c:pt>
                <c:pt idx="1078">
                  <c:v>128.01181558734118</c:v>
                </c:pt>
                <c:pt idx="1079">
                  <c:v>128.03926914500704</c:v>
                </c:pt>
                <c:pt idx="1080">
                  <c:v>128.06672859039369</c:v>
                </c:pt>
                <c:pt idx="1081">
                  <c:v>128.09419392476383</c:v>
                </c:pt>
                <c:pt idx="1082">
                  <c:v>128.12166514938042</c:v>
                </c:pt>
                <c:pt idx="1083">
                  <c:v>128.14914226550667</c:v>
                </c:pt>
                <c:pt idx="1084">
                  <c:v>128.17662527440609</c:v>
                </c:pt>
                <c:pt idx="1085">
                  <c:v>128.20411417734246</c:v>
                </c:pt>
                <c:pt idx="1086">
                  <c:v>128.2316089755798</c:v>
                </c:pt>
                <c:pt idx="1087">
                  <c:v>128.25910967038243</c:v>
                </c:pt>
                <c:pt idx="1088">
                  <c:v>128.28661626301493</c:v>
                </c:pt>
                <c:pt idx="1089">
                  <c:v>128.31412875474217</c:v>
                </c:pt>
                <c:pt idx="1090">
                  <c:v>128.34164714682927</c:v>
                </c:pt>
                <c:pt idx="1091">
                  <c:v>128.36917144054163</c:v>
                </c:pt>
                <c:pt idx="1092">
                  <c:v>128.39670163714493</c:v>
                </c:pt>
                <c:pt idx="1093">
                  <c:v>128.42423773790509</c:v>
                </c:pt>
                <c:pt idx="1094">
                  <c:v>128.45177974408833</c:v>
                </c:pt>
                <c:pt idx="1095">
                  <c:v>128.47932765696112</c:v>
                </c:pt>
                <c:pt idx="1096">
                  <c:v>128.50688147779024</c:v>
                </c:pt>
                <c:pt idx="1097">
                  <c:v>128.53444120784269</c:v>
                </c:pt>
                <c:pt idx="1098">
                  <c:v>128.56200684838578</c:v>
                </c:pt>
                <c:pt idx="1099">
                  <c:v>128.58957840068709</c:v>
                </c:pt>
                <c:pt idx="1100">
                  <c:v>128.61715586601446</c:v>
                </c:pt>
                <c:pt idx="1101">
                  <c:v>128.644739245636</c:v>
                </c:pt>
                <c:pt idx="1102">
                  <c:v>128.6723285408201</c:v>
                </c:pt>
                <c:pt idx="1103">
                  <c:v>128.69992375283542</c:v>
                </c:pt>
                <c:pt idx="1104">
                  <c:v>128.72752488295086</c:v>
                </c:pt>
                <c:pt idx="1105">
                  <c:v>128.75513193243566</c:v>
                </c:pt>
                <c:pt idx="1106">
                  <c:v>128.78274490255927</c:v>
                </c:pt>
                <c:pt idx="1107">
                  <c:v>128.81036379459147</c:v>
                </c:pt>
                <c:pt idx="1108">
                  <c:v>128.83798860980224</c:v>
                </c:pt>
                <c:pt idx="1109">
                  <c:v>128.86561934946189</c:v>
                </c:pt>
                <c:pt idx="1110">
                  <c:v>128.893256014841</c:v>
                </c:pt>
                <c:pt idx="1111">
                  <c:v>128.92089860721038</c:v>
                </c:pt>
                <c:pt idx="1112">
                  <c:v>128.94854712784115</c:v>
                </c:pt>
                <c:pt idx="1113">
                  <c:v>128.97620157800469</c:v>
                </c:pt>
                <c:pt idx="1114">
                  <c:v>129.00386195897266</c:v>
                </c:pt>
                <c:pt idx="1115">
                  <c:v>129.03152827201697</c:v>
                </c:pt>
                <c:pt idx="1116">
                  <c:v>129.05920051840985</c:v>
                </c:pt>
                <c:pt idx="1117">
                  <c:v>129.08687869942375</c:v>
                </c:pt>
                <c:pt idx="1118">
                  <c:v>129.11456281633141</c:v>
                </c:pt>
                <c:pt idx="1119">
                  <c:v>129.14225287040585</c:v>
                </c:pt>
                <c:pt idx="1120">
                  <c:v>129.16994886292039</c:v>
                </c:pt>
                <c:pt idx="1121">
                  <c:v>129.19765079514858</c:v>
                </c:pt>
                <c:pt idx="1122">
                  <c:v>129.22535866836424</c:v>
                </c:pt>
                <c:pt idx="1123">
                  <c:v>129.25307248384149</c:v>
                </c:pt>
                <c:pt idx="1124">
                  <c:v>129.28079224285472</c:v>
                </c:pt>
                <c:pt idx="1125">
                  <c:v>129.30851794667856</c:v>
                </c:pt>
                <c:pt idx="1126">
                  <c:v>129.33624959658798</c:v>
                </c:pt>
                <c:pt idx="1127">
                  <c:v>129.36398719385818</c:v>
                </c:pt>
                <c:pt idx="1128">
                  <c:v>129.39173073976463</c:v>
                </c:pt>
                <c:pt idx="1129">
                  <c:v>129.41948023558305</c:v>
                </c:pt>
                <c:pt idx="1130">
                  <c:v>129.44723568258951</c:v>
                </c:pt>
                <c:pt idx="1131">
                  <c:v>129.4749970820603</c:v>
                </c:pt>
                <c:pt idx="1132">
                  <c:v>129.50276443527196</c:v>
                </c:pt>
                <c:pt idx="1133">
                  <c:v>129.53053774350136</c:v>
                </c:pt>
                <c:pt idx="1134">
                  <c:v>129.55831700802563</c:v>
                </c:pt>
                <c:pt idx="1135">
                  <c:v>129.58610223012215</c:v>
                </c:pt>
                <c:pt idx="1136">
                  <c:v>129.6138934110686</c:v>
                </c:pt>
                <c:pt idx="1137">
                  <c:v>129.6416905521429</c:v>
                </c:pt>
                <c:pt idx="1138">
                  <c:v>129.6694936546233</c:v>
                </c:pt>
                <c:pt idx="1139">
                  <c:v>129.69730271978824</c:v>
                </c:pt>
                <c:pt idx="1140">
                  <c:v>129.72511774891652</c:v>
                </c:pt>
                <c:pt idx="1141">
                  <c:v>127.06246519528459</c:v>
                </c:pt>
                <c:pt idx="1142">
                  <c:v>127.08971515419972</c:v>
                </c:pt>
                <c:pt idx="1143">
                  <c:v>127.11697095717163</c:v>
                </c:pt>
                <c:pt idx="1144">
                  <c:v>127.14423260545364</c:v>
                </c:pt>
                <c:pt idx="1145">
                  <c:v>127.17150010029934</c:v>
                </c:pt>
                <c:pt idx="1146">
                  <c:v>127.19877344296259</c:v>
                </c:pt>
                <c:pt idx="1147">
                  <c:v>127.22605263469752</c:v>
                </c:pt>
                <c:pt idx="1148">
                  <c:v>127.25333767675855</c:v>
                </c:pt>
                <c:pt idx="1149">
                  <c:v>127.28062857040031</c:v>
                </c:pt>
                <c:pt idx="1150">
                  <c:v>127.30792531687776</c:v>
                </c:pt>
                <c:pt idx="1151">
                  <c:v>127.3352279174461</c:v>
                </c:pt>
                <c:pt idx="1152">
                  <c:v>127.36253637336081</c:v>
                </c:pt>
                <c:pt idx="1153">
                  <c:v>127.38985068587763</c:v>
                </c:pt>
                <c:pt idx="1154">
                  <c:v>127.41717085625257</c:v>
                </c:pt>
                <c:pt idx="1155">
                  <c:v>127.44449688574191</c:v>
                </c:pt>
                <c:pt idx="1156">
                  <c:v>127.47182877560222</c:v>
                </c:pt>
                <c:pt idx="1157">
                  <c:v>127.49916652709031</c:v>
                </c:pt>
                <c:pt idx="1158">
                  <c:v>127.52651014146326</c:v>
                </c:pt>
                <c:pt idx="1159">
                  <c:v>127.55385961997845</c:v>
                </c:pt>
                <c:pt idx="1160">
                  <c:v>127.5812149638935</c:v>
                </c:pt>
                <c:pt idx="1161">
                  <c:v>127.60857617446632</c:v>
                </c:pt>
                <c:pt idx="1162">
                  <c:v>127.63594325295507</c:v>
                </c:pt>
                <c:pt idx="1163">
                  <c:v>127.6633162006182</c:v>
                </c:pt>
                <c:pt idx="1164">
                  <c:v>127.69069501871439</c:v>
                </c:pt>
                <c:pt idx="1165">
                  <c:v>127.71807970850266</c:v>
                </c:pt>
                <c:pt idx="1166">
                  <c:v>127.74547027124223</c:v>
                </c:pt>
                <c:pt idx="1167">
                  <c:v>127.77286670819264</c:v>
                </c:pt>
                <c:pt idx="1168">
                  <c:v>127.80026902061367</c:v>
                </c:pt>
                <c:pt idx="1169">
                  <c:v>127.82767720976538</c:v>
                </c:pt>
                <c:pt idx="1170">
                  <c:v>127.8550912769081</c:v>
                </c:pt>
                <c:pt idx="1171">
                  <c:v>127.88251122330243</c:v>
                </c:pt>
                <c:pt idx="1172">
                  <c:v>127.90993705020925</c:v>
                </c:pt>
                <c:pt idx="1173">
                  <c:v>127.93736875888969</c:v>
                </c:pt>
                <c:pt idx="1174">
                  <c:v>127.96480635060517</c:v>
                </c:pt>
                <c:pt idx="1175">
                  <c:v>127.99224982661737</c:v>
                </c:pt>
                <c:pt idx="1176">
                  <c:v>128.01969918818824</c:v>
                </c:pt>
                <c:pt idx="1177">
                  <c:v>128.04715443658</c:v>
                </c:pt>
                <c:pt idx="1178">
                  <c:v>128.07461557305515</c:v>
                </c:pt>
                <c:pt idx="1179">
                  <c:v>128.10208259887645</c:v>
                </c:pt>
                <c:pt idx="1180">
                  <c:v>128.12955551530695</c:v>
                </c:pt>
                <c:pt idx="1181">
                  <c:v>128.15703432360993</c:v>
                </c:pt>
                <c:pt idx="1182">
                  <c:v>128.18451902504898</c:v>
                </c:pt>
                <c:pt idx="1183">
                  <c:v>128.21200962088798</c:v>
                </c:pt>
                <c:pt idx="1184">
                  <c:v>128.23950611239101</c:v>
                </c:pt>
                <c:pt idx="1185">
                  <c:v>128.26700850082247</c:v>
                </c:pt>
                <c:pt idx="1186">
                  <c:v>128.29451678744704</c:v>
                </c:pt>
                <c:pt idx="1187">
                  <c:v>128.32203097352962</c:v>
                </c:pt>
                <c:pt idx="1188">
                  <c:v>128.34955106033544</c:v>
                </c:pt>
                <c:pt idx="1189">
                  <c:v>128.37707704912998</c:v>
                </c:pt>
                <c:pt idx="1190">
                  <c:v>128.40460894117896</c:v>
                </c:pt>
                <c:pt idx="1191">
                  <c:v>128.43214673774841</c:v>
                </c:pt>
                <c:pt idx="1192">
                  <c:v>128.45969044010462</c:v>
                </c:pt>
                <c:pt idx="1193">
                  <c:v>128.48724004951416</c:v>
                </c:pt>
                <c:pt idx="1194">
                  <c:v>128.51479556724385</c:v>
                </c:pt>
                <c:pt idx="1195">
                  <c:v>128.54235699456081</c:v>
                </c:pt>
                <c:pt idx="1196">
                  <c:v>128.5699243327324</c:v>
                </c:pt>
                <c:pt idx="1197">
                  <c:v>128.5974975830263</c:v>
                </c:pt>
                <c:pt idx="1198">
                  <c:v>128.62507674671039</c:v>
                </c:pt>
                <c:pt idx="1199">
                  <c:v>128.65266182505289</c:v>
                </c:pt>
                <c:pt idx="1200">
                  <c:v>128.68025281932225</c:v>
                </c:pt>
                <c:pt idx="1201">
                  <c:v>128.70784973078722</c:v>
                </c:pt>
                <c:pt idx="1202">
                  <c:v>128.73545256071679</c:v>
                </c:pt>
                <c:pt idx="1203">
                  <c:v>128.76306131038027</c:v>
                </c:pt>
                <c:pt idx="1204">
                  <c:v>128.79067598104717</c:v>
                </c:pt>
                <c:pt idx="1205">
                  <c:v>128.81829657398737</c:v>
                </c:pt>
                <c:pt idx="1206">
                  <c:v>128.84592309047093</c:v>
                </c:pt>
                <c:pt idx="1207">
                  <c:v>128.87355553176823</c:v>
                </c:pt>
                <c:pt idx="1208">
                  <c:v>128.90119389914992</c:v>
                </c:pt>
                <c:pt idx="1209">
                  <c:v>128.92883819388689</c:v>
                </c:pt>
                <c:pt idx="1210">
                  <c:v>128.95648841725034</c:v>
                </c:pt>
                <c:pt idx="1211">
                  <c:v>128.98414457051172</c:v>
                </c:pt>
                <c:pt idx="1212">
                  <c:v>129.01180665494277</c:v>
                </c:pt>
                <c:pt idx="1213">
                  <c:v>129.0394746718155</c:v>
                </c:pt>
                <c:pt idx="1214">
                  <c:v>129.06714862240219</c:v>
                </c:pt>
                <c:pt idx="1215">
                  <c:v>129.09482850797539</c:v>
                </c:pt>
                <c:pt idx="1216">
                  <c:v>129.12251432980793</c:v>
                </c:pt>
                <c:pt idx="1217">
                  <c:v>129.15020608917288</c:v>
                </c:pt>
                <c:pt idx="1218">
                  <c:v>129.17790378734364</c:v>
                </c:pt>
                <c:pt idx="1219">
                  <c:v>129.20560742559383</c:v>
                </c:pt>
                <c:pt idx="1220">
                  <c:v>129.23331700519739</c:v>
                </c:pt>
                <c:pt idx="1221">
                  <c:v>129.26103252742848</c:v>
                </c:pt>
                <c:pt idx="1222">
                  <c:v>129.28875399356158</c:v>
                </c:pt>
                <c:pt idx="1223">
                  <c:v>129.31648140487144</c:v>
                </c:pt>
                <c:pt idx="1224">
                  <c:v>129.34421476263304</c:v>
                </c:pt>
                <c:pt idx="1225">
                  <c:v>129.37195406812168</c:v>
                </c:pt>
                <c:pt idx="1226">
                  <c:v>129.39969932261292</c:v>
                </c:pt>
                <c:pt idx="1227">
                  <c:v>129.42745052738258</c:v>
                </c:pt>
                <c:pt idx="1228">
                  <c:v>129.45520768370676</c:v>
                </c:pt>
                <c:pt idx="1229">
                  <c:v>129.48297079286183</c:v>
                </c:pt>
                <c:pt idx="1230">
                  <c:v>129.51073985612447</c:v>
                </c:pt>
                <c:pt idx="1231">
                  <c:v>129.53851487477161</c:v>
                </c:pt>
                <c:pt idx="1232">
                  <c:v>129.56629585008039</c:v>
                </c:pt>
                <c:pt idx="1233">
                  <c:v>129.59408278332833</c:v>
                </c:pt>
                <c:pt idx="1234">
                  <c:v>129.62187567579318</c:v>
                </c:pt>
                <c:pt idx="1235">
                  <c:v>129.64967452875294</c:v>
                </c:pt>
                <c:pt idx="1236">
                  <c:v>129.67747934348591</c:v>
                </c:pt>
                <c:pt idx="1237">
                  <c:v>129.70529012127065</c:v>
                </c:pt>
                <c:pt idx="1238">
                  <c:v>129.73310686338601</c:v>
                </c:pt>
                <c:pt idx="1239">
                  <c:v>129.76092957111112</c:v>
                </c:pt>
                <c:pt idx="1240">
                  <c:v>129.78875824572535</c:v>
                </c:pt>
                <c:pt idx="1241">
                  <c:v>129.81659288850838</c:v>
                </c:pt>
                <c:pt idx="1242">
                  <c:v>129.84443350074014</c:v>
                </c:pt>
                <c:pt idx="1243">
                  <c:v>129.87228008370084</c:v>
                </c:pt>
                <c:pt idx="1244">
                  <c:v>129.90013263867101</c:v>
                </c:pt>
                <c:pt idx="1245">
                  <c:v>129.92799116693138</c:v>
                </c:pt>
                <c:pt idx="1246">
                  <c:v>129.955855669763</c:v>
                </c:pt>
                <c:pt idx="1247">
                  <c:v>129.98372614844715</c:v>
                </c:pt>
                <c:pt idx="1248">
                  <c:v>130.01160260426545</c:v>
                </c:pt>
                <c:pt idx="1249">
                  <c:v>130.03948503849975</c:v>
                </c:pt>
                <c:pt idx="1250">
                  <c:v>130.06737345243221</c:v>
                </c:pt>
                <c:pt idx="1251">
                  <c:v>130.09526784734521</c:v>
                </c:pt>
                <c:pt idx="1252">
                  <c:v>130.12316822452146</c:v>
                </c:pt>
                <c:pt idx="1253">
                  <c:v>130.15107458524392</c:v>
                </c:pt>
                <c:pt idx="1254">
                  <c:v>130.17898693079582</c:v>
                </c:pt>
                <c:pt idx="1255">
                  <c:v>130.20690526246068</c:v>
                </c:pt>
                <c:pt idx="1256">
                  <c:v>130.23482958152229</c:v>
                </c:pt>
                <c:pt idx="1257">
                  <c:v>130.26275988926471</c:v>
                </c:pt>
                <c:pt idx="1258">
                  <c:v>130.2906961869723</c:v>
                </c:pt>
                <c:pt idx="1259">
                  <c:v>130.31863847592965</c:v>
                </c:pt>
                <c:pt idx="1260">
                  <c:v>130.34658675742165</c:v>
                </c:pt>
                <c:pt idx="1261">
                  <c:v>130.37454103273348</c:v>
                </c:pt>
                <c:pt idx="1262">
                  <c:v>130.40250130315056</c:v>
                </c:pt>
                <c:pt idx="1263">
                  <c:v>130.43046756995861</c:v>
                </c:pt>
                <c:pt idx="1264">
                  <c:v>130.45843983444365</c:v>
                </c:pt>
                <c:pt idx="1265">
                  <c:v>130.48641809789194</c:v>
                </c:pt>
                <c:pt idx="1266">
                  <c:v>130.51440236159002</c:v>
                </c:pt>
                <c:pt idx="1267">
                  <c:v>130.54239262682469</c:v>
                </c:pt>
                <c:pt idx="1268">
                  <c:v>130.57038889488305</c:v>
                </c:pt>
                <c:pt idx="1269">
                  <c:v>130.59839116705248</c:v>
                </c:pt>
                <c:pt idx="1270">
                  <c:v>130.62639944462066</c:v>
                </c:pt>
                <c:pt idx="1271">
                  <c:v>130.65441372887548</c:v>
                </c:pt>
                <c:pt idx="1272">
                  <c:v>130.68243402110514</c:v>
                </c:pt>
                <c:pt idx="1273">
                  <c:v>130.71046032259812</c:v>
                </c:pt>
                <c:pt idx="1274">
                  <c:v>130.73849263464319</c:v>
                </c:pt>
                <c:pt idx="1275">
                  <c:v>130.76653095852936</c:v>
                </c:pt>
                <c:pt idx="1276">
                  <c:v>130.79457529554594</c:v>
                </c:pt>
                <c:pt idx="1277">
                  <c:v>130.82262564698252</c:v>
                </c:pt>
                <c:pt idx="1278">
                  <c:v>130.85068201412895</c:v>
                </c:pt>
                <c:pt idx="1279">
                  <c:v>130.87874439827539</c:v>
                </c:pt>
                <c:pt idx="1280">
                  <c:v>130.90681280071223</c:v>
                </c:pt>
                <c:pt idx="1281">
                  <c:v>130.93488722273017</c:v>
                </c:pt>
                <c:pt idx="1282">
                  <c:v>130.96296766562014</c:v>
                </c:pt>
                <c:pt idx="1283">
                  <c:v>130.99105413067343</c:v>
                </c:pt>
                <c:pt idx="1284">
                  <c:v>131.01914661918156</c:v>
                </c:pt>
                <c:pt idx="1285">
                  <c:v>131.04724513243627</c:v>
                </c:pt>
                <c:pt idx="1286">
                  <c:v>131.0753496717297</c:v>
                </c:pt>
                <c:pt idx="1287">
                  <c:v>131.10346023835416</c:v>
                </c:pt>
                <c:pt idx="1288">
                  <c:v>131.13157683360231</c:v>
                </c:pt>
                <c:pt idx="1289">
                  <c:v>131.15969945876702</c:v>
                </c:pt>
                <c:pt idx="1290">
                  <c:v>131.18782811514151</c:v>
                </c:pt>
                <c:pt idx="1291">
                  <c:v>131.21596280401923</c:v>
                </c:pt>
                <c:pt idx="1292">
                  <c:v>131.24410352669389</c:v>
                </c:pt>
                <c:pt idx="1293">
                  <c:v>131.27225028445952</c:v>
                </c:pt>
                <c:pt idx="1294">
                  <c:v>131.30040307861043</c:v>
                </c:pt>
                <c:pt idx="1295">
                  <c:v>131.32856191044115</c:v>
                </c:pt>
                <c:pt idx="1296">
                  <c:v>131.35672678124658</c:v>
                </c:pt>
                <c:pt idx="1297">
                  <c:v>131.3848976923218</c:v>
                </c:pt>
                <c:pt idx="1298">
                  <c:v>131.41307464496225</c:v>
                </c:pt>
                <c:pt idx="1299">
                  <c:v>131.44125764046359</c:v>
                </c:pt>
                <c:pt idx="1300">
                  <c:v>131.46944668012176</c:v>
                </c:pt>
                <c:pt idx="1301">
                  <c:v>131.49764176523303</c:v>
                </c:pt>
                <c:pt idx="1302">
                  <c:v>131.5258428970939</c:v>
                </c:pt>
                <c:pt idx="1303">
                  <c:v>131.55405007700116</c:v>
                </c:pt>
                <c:pt idx="1304">
                  <c:v>131.58226330625189</c:v>
                </c:pt>
                <c:pt idx="1305">
                  <c:v>131.61048258614343</c:v>
                </c:pt>
                <c:pt idx="1306">
                  <c:v>131.63870791797342</c:v>
                </c:pt>
                <c:pt idx="1307">
                  <c:v>131.66693930303975</c:v>
                </c:pt>
                <c:pt idx="1308">
                  <c:v>131.69517674264063</c:v>
                </c:pt>
                <c:pt idx="1309">
                  <c:v>131.72342023807448</c:v>
                </c:pt>
                <c:pt idx="1310">
                  <c:v>131.75166979064008</c:v>
                </c:pt>
                <c:pt idx="1311">
                  <c:v>131.77992540163643</c:v>
                </c:pt>
                <c:pt idx="1312">
                  <c:v>131.80818707236284</c:v>
                </c:pt>
                <c:pt idx="1313">
                  <c:v>131.83645480411886</c:v>
                </c:pt>
                <c:pt idx="1314">
                  <c:v>131.86472859820438</c:v>
                </c:pt>
                <c:pt idx="1315">
                  <c:v>131.8930084559195</c:v>
                </c:pt>
                <c:pt idx="1316">
                  <c:v>131.92129437856465</c:v>
                </c:pt>
                <c:pt idx="1317">
                  <c:v>131.94958636744053</c:v>
                </c:pt>
                <c:pt idx="1318">
                  <c:v>131.97788442384811</c:v>
                </c:pt>
                <c:pt idx="1319">
                  <c:v>132.00618854908862</c:v>
                </c:pt>
                <c:pt idx="1320">
                  <c:v>132.0344987444636</c:v>
                </c:pt>
                <c:pt idx="1321">
                  <c:v>131.83383349761894</c:v>
                </c:pt>
                <c:pt idx="1322">
                  <c:v>131.86210672953612</c:v>
                </c:pt>
                <c:pt idx="1323">
                  <c:v>131.89038602496237</c:v>
                </c:pt>
                <c:pt idx="1324">
                  <c:v>131.91867138519805</c:v>
                </c:pt>
                <c:pt idx="1325">
                  <c:v>131.94696281154384</c:v>
                </c:pt>
                <c:pt idx="1326">
                  <c:v>131.97526030530068</c:v>
                </c:pt>
                <c:pt idx="1327">
                  <c:v>132.0035638677698</c:v>
                </c:pt>
                <c:pt idx="1328">
                  <c:v>132.03187350025269</c:v>
                </c:pt>
                <c:pt idx="1329">
                  <c:v>132.06018920405114</c:v>
                </c:pt>
                <c:pt idx="1330">
                  <c:v>132.08851098046722</c:v>
                </c:pt>
                <c:pt idx="1331">
                  <c:v>132.11683883080326</c:v>
                </c:pt>
                <c:pt idx="1332">
                  <c:v>132.14517275636186</c:v>
                </c:pt>
                <c:pt idx="1333">
                  <c:v>132.17351275844595</c:v>
                </c:pt>
                <c:pt idx="1334">
                  <c:v>132.2018588383587</c:v>
                </c:pt>
                <c:pt idx="1335">
                  <c:v>132.23021099740356</c:v>
                </c:pt>
                <c:pt idx="1336">
                  <c:v>132.25856923688428</c:v>
                </c:pt>
                <c:pt idx="1337">
                  <c:v>132.28693355810489</c:v>
                </c:pt>
                <c:pt idx="1338">
                  <c:v>132.31530396236965</c:v>
                </c:pt>
                <c:pt idx="1339">
                  <c:v>132.34368045098316</c:v>
                </c:pt>
                <c:pt idx="1340">
                  <c:v>132.37206302525027</c:v>
                </c:pt>
                <c:pt idx="1341">
                  <c:v>132.40045168647612</c:v>
                </c:pt>
                <c:pt idx="1342">
                  <c:v>132.42884643596611</c:v>
                </c:pt>
                <c:pt idx="1343">
                  <c:v>132.45724727502596</c:v>
                </c:pt>
                <c:pt idx="1344">
                  <c:v>132.48565420496163</c:v>
                </c:pt>
                <c:pt idx="1345">
                  <c:v>132.51406722707938</c:v>
                </c:pt>
                <c:pt idx="1346">
                  <c:v>132.54248634268575</c:v>
                </c:pt>
                <c:pt idx="1347">
                  <c:v>132.57091155308754</c:v>
                </c:pt>
                <c:pt idx="1348">
                  <c:v>132.59934285959187</c:v>
                </c:pt>
                <c:pt idx="1349">
                  <c:v>132.62778026350611</c:v>
                </c:pt>
                <c:pt idx="1350">
                  <c:v>132.65622376613791</c:v>
                </c:pt>
                <c:pt idx="1351">
                  <c:v>132.68467336879522</c:v>
                </c:pt>
                <c:pt idx="1352">
                  <c:v>132.71312907278624</c:v>
                </c:pt>
                <c:pt idx="1353">
                  <c:v>132.7415908794195</c:v>
                </c:pt>
                <c:pt idx="1354">
                  <c:v>132.77005879000376</c:v>
                </c:pt>
                <c:pt idx="1355">
                  <c:v>132.79853280584805</c:v>
                </c:pt>
                <c:pt idx="1356">
                  <c:v>132.82701292826175</c:v>
                </c:pt>
                <c:pt idx="1357">
                  <c:v>132.85549915855449</c:v>
                </c:pt>
                <c:pt idx="1358">
                  <c:v>132.88399149803615</c:v>
                </c:pt>
                <c:pt idx="1359">
                  <c:v>132.91248994801691</c:v>
                </c:pt>
                <c:pt idx="1360">
                  <c:v>132.94099450980724</c:v>
                </c:pt>
                <c:pt idx="1361">
                  <c:v>132.96950518471789</c:v>
                </c:pt>
                <c:pt idx="1362">
                  <c:v>132.9980219740599</c:v>
                </c:pt>
                <c:pt idx="1363">
                  <c:v>133.02654487914455</c:v>
                </c:pt>
                <c:pt idx="1364">
                  <c:v>133.05507390128344</c:v>
                </c:pt>
                <c:pt idx="1365">
                  <c:v>133.08360904178843</c:v>
                </c:pt>
                <c:pt idx="1366">
                  <c:v>133.1121503019717</c:v>
                </c:pt>
                <c:pt idx="1367">
                  <c:v>133.14069768314567</c:v>
                </c:pt>
                <c:pt idx="1368">
                  <c:v>133.16925118662306</c:v>
                </c:pt>
                <c:pt idx="1369">
                  <c:v>133.19781081371684</c:v>
                </c:pt>
                <c:pt idx="1370">
                  <c:v>133.22637656574031</c:v>
                </c:pt>
                <c:pt idx="1371">
                  <c:v>133.25494844400703</c:v>
                </c:pt>
                <c:pt idx="1372">
                  <c:v>133.28352644983082</c:v>
                </c:pt>
                <c:pt idx="1373">
                  <c:v>133.31211058452584</c:v>
                </c:pt>
                <c:pt idx="1374">
                  <c:v>133.34070084940646</c:v>
                </c:pt>
                <c:pt idx="1375">
                  <c:v>133.36929724578738</c:v>
                </c:pt>
                <c:pt idx="1376">
                  <c:v>133.39789977498356</c:v>
                </c:pt>
                <c:pt idx="1377">
                  <c:v>133.42650843831026</c:v>
                </c:pt>
                <c:pt idx="1378">
                  <c:v>133.45512323708303</c:v>
                </c:pt>
                <c:pt idx="1379">
                  <c:v>133.48374417261766</c:v>
                </c:pt>
                <c:pt idx="1380">
                  <c:v>133.51237124623026</c:v>
                </c:pt>
                <c:pt idx="1381">
                  <c:v>133.5410044592372</c:v>
                </c:pt>
                <c:pt idx="1382">
                  <c:v>133.56964381295512</c:v>
                </c:pt>
                <c:pt idx="1383">
                  <c:v>133.598289308701</c:v>
                </c:pt>
                <c:pt idx="1384">
                  <c:v>133.62694094779204</c:v>
                </c:pt>
                <c:pt idx="1385">
                  <c:v>133.65559873154578</c:v>
                </c:pt>
                <c:pt idx="1386">
                  <c:v>133.68426266127997</c:v>
                </c:pt>
                <c:pt idx="1387">
                  <c:v>133.71293273831273</c:v>
                </c:pt>
                <c:pt idx="1388">
                  <c:v>133.74160896396239</c:v>
                </c:pt>
                <c:pt idx="1389">
                  <c:v>133.77029133954758</c:v>
                </c:pt>
                <c:pt idx="1390">
                  <c:v>133.79897986638724</c:v>
                </c:pt>
                <c:pt idx="1391">
                  <c:v>133.82767454580056</c:v>
                </c:pt>
                <c:pt idx="1392">
                  <c:v>133.85637537910705</c:v>
                </c:pt>
                <c:pt idx="1393">
                  <c:v>133.88508236762647</c:v>
                </c:pt>
                <c:pt idx="1394">
                  <c:v>133.91379551267886</c:v>
                </c:pt>
                <c:pt idx="1395">
                  <c:v>133.94251481558459</c:v>
                </c:pt>
                <c:pt idx="1396">
                  <c:v>133.97124027766424</c:v>
                </c:pt>
                <c:pt idx="1397">
                  <c:v>133.99997190023873</c:v>
                </c:pt>
                <c:pt idx="1398">
                  <c:v>134.02870968462926</c:v>
                </c:pt>
                <c:pt idx="1399">
                  <c:v>134.05745363215729</c:v>
                </c:pt>
                <c:pt idx="1400">
                  <c:v>134.08620374414457</c:v>
                </c:pt>
                <c:pt idx="1401">
                  <c:v>134.11496002191313</c:v>
                </c:pt>
                <c:pt idx="1402">
                  <c:v>134.14372246678531</c:v>
                </c:pt>
                <c:pt idx="1403">
                  <c:v>134.17249108008369</c:v>
                </c:pt>
                <c:pt idx="1404">
                  <c:v>134.20126586313117</c:v>
                </c:pt>
                <c:pt idx="1405">
                  <c:v>134.23004681725092</c:v>
                </c:pt>
                <c:pt idx="1406">
                  <c:v>134.2588339437664</c:v>
                </c:pt>
                <c:pt idx="1407">
                  <c:v>134.28762724400136</c:v>
                </c:pt>
                <c:pt idx="1408">
                  <c:v>134.3164267192798</c:v>
                </c:pt>
                <c:pt idx="1409">
                  <c:v>134.34523237092606</c:v>
                </c:pt>
                <c:pt idx="1410">
                  <c:v>134.37404420026468</c:v>
                </c:pt>
                <c:pt idx="1411">
                  <c:v>134.40286220862058</c:v>
                </c:pt>
                <c:pt idx="1412">
                  <c:v>134.43168639731888</c:v>
                </c:pt>
                <c:pt idx="1413">
                  <c:v>134.46051676768505</c:v>
                </c:pt>
                <c:pt idx="1414">
                  <c:v>134.4893533210448</c:v>
                </c:pt>
                <c:pt idx="1415">
                  <c:v>134.51819605872416</c:v>
                </c:pt>
                <c:pt idx="1416">
                  <c:v>134.54704498204941</c:v>
                </c:pt>
                <c:pt idx="1417">
                  <c:v>134.57590009234715</c:v>
                </c:pt>
                <c:pt idx="1418">
                  <c:v>134.60476139094425</c:v>
                </c:pt>
                <c:pt idx="1419">
                  <c:v>134.63362887916784</c:v>
                </c:pt>
                <c:pt idx="1420">
                  <c:v>134.66250255834535</c:v>
                </c:pt>
                <c:pt idx="1421">
                  <c:v>134.69138242980452</c:v>
                </c:pt>
                <c:pt idx="1422">
                  <c:v>134.72026849487332</c:v>
                </c:pt>
                <c:pt idx="1423">
                  <c:v>134.74916075488008</c:v>
                </c:pt>
                <c:pt idx="1424">
                  <c:v>134.77805921115333</c:v>
                </c:pt>
                <c:pt idx="1425">
                  <c:v>134.80696386502197</c:v>
                </c:pt>
                <c:pt idx="1426">
                  <c:v>134.83587471781513</c:v>
                </c:pt>
                <c:pt idx="1427">
                  <c:v>134.86479177086221</c:v>
                </c:pt>
                <c:pt idx="1428">
                  <c:v>134.89371502549295</c:v>
                </c:pt>
                <c:pt idx="1429">
                  <c:v>134.92264448303735</c:v>
                </c:pt>
                <c:pt idx="1430">
                  <c:v>134.9515801448257</c:v>
                </c:pt>
                <c:pt idx="1431">
                  <c:v>134.98052201218854</c:v>
                </c:pt>
                <c:pt idx="1432">
                  <c:v>135.00947008645676</c:v>
                </c:pt>
                <c:pt idx="1433">
                  <c:v>135.03842436896147</c:v>
                </c:pt>
                <c:pt idx="1434">
                  <c:v>135.06738486103413</c:v>
                </c:pt>
                <c:pt idx="1435">
                  <c:v>135.0963515640064</c:v>
                </c:pt>
                <c:pt idx="1436">
                  <c:v>135.12532447921032</c:v>
                </c:pt>
                <c:pt idx="1437">
                  <c:v>135.15430360797816</c:v>
                </c:pt>
                <c:pt idx="1438">
                  <c:v>135.18328895164248</c:v>
                </c:pt>
                <c:pt idx="1439">
                  <c:v>135.21228051153614</c:v>
                </c:pt>
                <c:pt idx="1440">
                  <c:v>135.24127828899228</c:v>
                </c:pt>
                <c:pt idx="1441">
                  <c:v>135.27028228534431</c:v>
                </c:pt>
                <c:pt idx="1442">
                  <c:v>135.29929250192598</c:v>
                </c:pt>
                <c:pt idx="1443">
                  <c:v>135.32830894007125</c:v>
                </c:pt>
                <c:pt idx="1444">
                  <c:v>135.35733160111442</c:v>
                </c:pt>
                <c:pt idx="1445">
                  <c:v>135.38636048639006</c:v>
                </c:pt>
                <c:pt idx="1446">
                  <c:v>135.41539559723302</c:v>
                </c:pt>
                <c:pt idx="1447">
                  <c:v>135.44443693497843</c:v>
                </c:pt>
                <c:pt idx="1448">
                  <c:v>135.47348450096175</c:v>
                </c:pt>
                <c:pt idx="1449">
                  <c:v>135.50253829651865</c:v>
                </c:pt>
                <c:pt idx="1450">
                  <c:v>135.53159832298516</c:v>
                </c:pt>
                <c:pt idx="1451">
                  <c:v>135.56066458169758</c:v>
                </c:pt>
                <c:pt idx="1452">
                  <c:v>135.58973707399247</c:v>
                </c:pt>
                <c:pt idx="1453">
                  <c:v>135.61881580120669</c:v>
                </c:pt>
                <c:pt idx="1454">
                  <c:v>135.64790076467739</c:v>
                </c:pt>
                <c:pt idx="1455">
                  <c:v>135.67699196574199</c:v>
                </c:pt>
                <c:pt idx="1456">
                  <c:v>135.70608940573825</c:v>
                </c:pt>
                <c:pt idx="1457">
                  <c:v>135.73519308600416</c:v>
                </c:pt>
                <c:pt idx="1458">
                  <c:v>135.764303007878</c:v>
                </c:pt>
                <c:pt idx="1459">
                  <c:v>135.79341917269835</c:v>
                </c:pt>
                <c:pt idx="1460">
                  <c:v>135.8225415818041</c:v>
                </c:pt>
                <c:pt idx="1461">
                  <c:v>135.8516702365344</c:v>
                </c:pt>
                <c:pt idx="1462">
                  <c:v>135.88080513822868</c:v>
                </c:pt>
                <c:pt idx="1463">
                  <c:v>135.90994628822668</c:v>
                </c:pt>
                <c:pt idx="1464">
                  <c:v>135.93909368786842</c:v>
                </c:pt>
                <c:pt idx="1465">
                  <c:v>135.96824733849422</c:v>
                </c:pt>
                <c:pt idx="1466">
                  <c:v>135.99740724144465</c:v>
                </c:pt>
                <c:pt idx="1467">
                  <c:v>136.02657339806061</c:v>
                </c:pt>
                <c:pt idx="1468">
                  <c:v>136.05574580968323</c:v>
                </c:pt>
                <c:pt idx="1469">
                  <c:v>136.084924477654</c:v>
                </c:pt>
                <c:pt idx="1470">
                  <c:v>136.11410940331467</c:v>
                </c:pt>
                <c:pt idx="1471">
                  <c:v>133.85316712757717</c:v>
                </c:pt>
                <c:pt idx="1472">
                  <c:v>133.88187342805136</c:v>
                </c:pt>
                <c:pt idx="1473">
                  <c:v>133.91058588491097</c:v>
                </c:pt>
                <c:pt idx="1474">
                  <c:v>133.93930449947632</c:v>
                </c:pt>
                <c:pt idx="1475">
                  <c:v>133.96802927306797</c:v>
                </c:pt>
                <c:pt idx="1476">
                  <c:v>133.99676020700682</c:v>
                </c:pt>
                <c:pt idx="1477">
                  <c:v>134.02549730261401</c:v>
                </c:pt>
                <c:pt idx="1478">
                  <c:v>134.05424056121097</c:v>
                </c:pt>
                <c:pt idx="1479">
                  <c:v>134.08298998411945</c:v>
                </c:pt>
                <c:pt idx="1480">
                  <c:v>134.11174557266142</c:v>
                </c:pt>
                <c:pt idx="1481">
                  <c:v>134.1405073281592</c:v>
                </c:pt>
                <c:pt idx="1482">
                  <c:v>134.16927525193535</c:v>
                </c:pt>
                <c:pt idx="1483">
                  <c:v>134.19804934531271</c:v>
                </c:pt>
                <c:pt idx="1484">
                  <c:v>134.22682960961444</c:v>
                </c:pt>
                <c:pt idx="1485">
                  <c:v>134.25561604616396</c:v>
                </c:pt>
                <c:pt idx="1486">
                  <c:v>134.284408656285</c:v>
                </c:pt>
                <c:pt idx="1487">
                  <c:v>134.3132074413015</c:v>
                </c:pt>
                <c:pt idx="1488">
                  <c:v>134.34201240253776</c:v>
                </c:pt>
                <c:pt idx="1489">
                  <c:v>134.37082354131834</c:v>
                </c:pt>
                <c:pt idx="1490">
                  <c:v>134.3996408589681</c:v>
                </c:pt>
                <c:pt idx="1491">
                  <c:v>134.42846435681216</c:v>
                </c:pt>
                <c:pt idx="1492">
                  <c:v>134.45729403617591</c:v>
                </c:pt>
                <c:pt idx="1493">
                  <c:v>134.48612989838506</c:v>
                </c:pt>
                <c:pt idx="1494">
                  <c:v>134.51497194476559</c:v>
                </c:pt>
                <c:pt idx="1495">
                  <c:v>134.54382017664375</c:v>
                </c:pt>
                <c:pt idx="1496">
                  <c:v>134.57267459534611</c:v>
                </c:pt>
                <c:pt idx="1497">
                  <c:v>134.6015352021995</c:v>
                </c:pt>
                <c:pt idx="1498">
                  <c:v>134.63040199853103</c:v>
                </c:pt>
                <c:pt idx="1499">
                  <c:v>134.65927498566811</c:v>
                </c:pt>
                <c:pt idx="1500">
                  <c:v>134.6881541649384</c:v>
                </c:pt>
                <c:pt idx="1501">
                  <c:v>134.7170395376699</c:v>
                </c:pt>
                <c:pt idx="1502">
                  <c:v>134.74593110519086</c:v>
                </c:pt>
                <c:pt idx="1503">
                  <c:v>134.77482886882984</c:v>
                </c:pt>
                <c:pt idx="1504">
                  <c:v>134.80373282991565</c:v>
                </c:pt>
                <c:pt idx="1505">
                  <c:v>134.83264298977738</c:v>
                </c:pt>
                <c:pt idx="1506">
                  <c:v>134.86155934974445</c:v>
                </c:pt>
                <c:pt idx="1507">
                  <c:v>134.89048191114654</c:v>
                </c:pt>
                <c:pt idx="1508">
                  <c:v>134.9194106753136</c:v>
                </c:pt>
                <c:pt idx="1509">
                  <c:v>134.94834564357592</c:v>
                </c:pt>
                <c:pt idx="1510">
                  <c:v>134.977286817264</c:v>
                </c:pt>
                <c:pt idx="1511">
                  <c:v>135.00623419770869</c:v>
                </c:pt>
                <c:pt idx="1512">
                  <c:v>135.03518778624107</c:v>
                </c:pt>
                <c:pt idx="1513">
                  <c:v>135.06414758419254</c:v>
                </c:pt>
                <c:pt idx="1514">
                  <c:v>135.09311359289481</c:v>
                </c:pt>
                <c:pt idx="1515">
                  <c:v>135.1220858136798</c:v>
                </c:pt>
                <c:pt idx="1516">
                  <c:v>135.15106424787979</c:v>
                </c:pt>
                <c:pt idx="1517">
                  <c:v>135.18004889682732</c:v>
                </c:pt>
                <c:pt idx="1518">
                  <c:v>135.20903976185519</c:v>
                </c:pt>
                <c:pt idx="1519">
                  <c:v>135.23803684429652</c:v>
                </c:pt>
                <c:pt idx="1520">
                  <c:v>135.26704014548469</c:v>
                </c:pt>
                <c:pt idx="1521">
                  <c:v>135.29604966675339</c:v>
                </c:pt>
                <c:pt idx="1522">
                  <c:v>135.32506540943658</c:v>
                </c:pt>
                <c:pt idx="1523">
                  <c:v>135.35408737486853</c:v>
                </c:pt>
                <c:pt idx="1524">
                  <c:v>135.38311556438376</c:v>
                </c:pt>
                <c:pt idx="1525">
                  <c:v>135.41214997931709</c:v>
                </c:pt>
                <c:pt idx="1526">
                  <c:v>135.44119062100364</c:v>
                </c:pt>
                <c:pt idx="1527">
                  <c:v>135.4702374907788</c:v>
                </c:pt>
                <c:pt idx="1528">
                  <c:v>135.49929058997827</c:v>
                </c:pt>
                <c:pt idx="1529">
                  <c:v>135.52834991993799</c:v>
                </c:pt>
                <c:pt idx="1530">
                  <c:v>135.55741548199424</c:v>
                </c:pt>
                <c:pt idx="1531">
                  <c:v>135.58648727748357</c:v>
                </c:pt>
                <c:pt idx="1532">
                  <c:v>135.61556530774277</c:v>
                </c:pt>
                <c:pt idx="1533">
                  <c:v>135.644649574109</c:v>
                </c:pt>
                <c:pt idx="1534">
                  <c:v>135.67374007791963</c:v>
                </c:pt>
                <c:pt idx="1535">
                  <c:v>135.70283682051237</c:v>
                </c:pt>
                <c:pt idx="1536">
                  <c:v>135.7319398032252</c:v>
                </c:pt>
                <c:pt idx="1537">
                  <c:v>135.76104902739635</c:v>
                </c:pt>
                <c:pt idx="1538">
                  <c:v>135.7901644943644</c:v>
                </c:pt>
                <c:pt idx="1539">
                  <c:v>135.81928620546819</c:v>
                </c:pt>
                <c:pt idx="1540">
                  <c:v>135.84841416204682</c:v>
                </c:pt>
                <c:pt idx="1541">
                  <c:v>135.87754836543971</c:v>
                </c:pt>
                <c:pt idx="1542">
                  <c:v>135.90668881698656</c:v>
                </c:pt>
                <c:pt idx="1543">
                  <c:v>135.93583551802737</c:v>
                </c:pt>
                <c:pt idx="1544">
                  <c:v>135.96498846990241</c:v>
                </c:pt>
                <c:pt idx="1545">
                  <c:v>135.99414767395223</c:v>
                </c:pt>
                <c:pt idx="1546">
                  <c:v>136.02331313151768</c:v>
                </c:pt>
                <c:pt idx="1547">
                  <c:v>136.05248484393991</c:v>
                </c:pt>
                <c:pt idx="1548">
                  <c:v>136.08166281256032</c:v>
                </c:pt>
                <c:pt idx="1549">
                  <c:v>136.11084703872064</c:v>
                </c:pt>
                <c:pt idx="1550">
                  <c:v>136.14003752376286</c:v>
                </c:pt>
                <c:pt idx="1551">
                  <c:v>136.16923426902926</c:v>
                </c:pt>
                <c:pt idx="1552">
                  <c:v>136.19843727586243</c:v>
                </c:pt>
                <c:pt idx="1553">
                  <c:v>136.22764654560521</c:v>
                </c:pt>
                <c:pt idx="1554">
                  <c:v>136.25686207960078</c:v>
                </c:pt>
                <c:pt idx="1555">
                  <c:v>136.28608387919255</c:v>
                </c:pt>
                <c:pt idx="1556">
                  <c:v>136.31531194572426</c:v>
                </c:pt>
                <c:pt idx="1557">
                  <c:v>136.34454628053993</c:v>
                </c:pt>
                <c:pt idx="1558">
                  <c:v>136.37378688498387</c:v>
                </c:pt>
                <c:pt idx="1559">
                  <c:v>136.40303376040066</c:v>
                </c:pt>
                <c:pt idx="1560">
                  <c:v>136.43228690813518</c:v>
                </c:pt>
                <c:pt idx="1561">
                  <c:v>136.46154632953261</c:v>
                </c:pt>
                <c:pt idx="1562">
                  <c:v>136.4908120259384</c:v>
                </c:pt>
                <c:pt idx="1563">
                  <c:v>136.52008399869828</c:v>
                </c:pt>
                <c:pt idx="1564">
                  <c:v>136.54936224915829</c:v>
                </c:pt>
                <c:pt idx="1565">
                  <c:v>136.57864677866476</c:v>
                </c:pt>
                <c:pt idx="1566">
                  <c:v>136.60793758856431</c:v>
                </c:pt>
                <c:pt idx="1567">
                  <c:v>136.63723468020382</c:v>
                </c:pt>
                <c:pt idx="1568">
                  <c:v>136.6665380549305</c:v>
                </c:pt>
                <c:pt idx="1569">
                  <c:v>136.69584771409183</c:v>
                </c:pt>
                <c:pt idx="1570">
                  <c:v>136.72516365903556</c:v>
                </c:pt>
                <c:pt idx="1571">
                  <c:v>136.75448589110974</c:v>
                </c:pt>
                <c:pt idx="1572">
                  <c:v>136.78381441166272</c:v>
                </c:pt>
                <c:pt idx="1573">
                  <c:v>136.81314922204314</c:v>
                </c:pt>
                <c:pt idx="1574">
                  <c:v>136.84249032359992</c:v>
                </c:pt>
                <c:pt idx="1575">
                  <c:v>136.8718377176823</c:v>
                </c:pt>
                <c:pt idx="1576">
                  <c:v>136.90119140563974</c:v>
                </c:pt>
                <c:pt idx="1577">
                  <c:v>136.93055138882204</c:v>
                </c:pt>
                <c:pt idx="1578">
                  <c:v>136.95991766857929</c:v>
                </c:pt>
                <c:pt idx="1579">
                  <c:v>136.98929024626187</c:v>
                </c:pt>
                <c:pt idx="1580">
                  <c:v>137.01866912322043</c:v>
                </c:pt>
                <c:pt idx="1581">
                  <c:v>137.04805430080592</c:v>
                </c:pt>
                <c:pt idx="1582">
                  <c:v>137.07744578036957</c:v>
                </c:pt>
                <c:pt idx="1583">
                  <c:v>137.10684356326294</c:v>
                </c:pt>
                <c:pt idx="1584">
                  <c:v>137.13624765083782</c:v>
                </c:pt>
                <c:pt idx="1585">
                  <c:v>137.16565804444633</c:v>
                </c:pt>
                <c:pt idx="1586">
                  <c:v>137.19507474544088</c:v>
                </c:pt>
                <c:pt idx="1587">
                  <c:v>137.22449775517413</c:v>
                </c:pt>
                <c:pt idx="1588">
                  <c:v>137.25392707499907</c:v>
                </c:pt>
                <c:pt idx="1589">
                  <c:v>137.28336270626897</c:v>
                </c:pt>
                <c:pt idx="1590">
                  <c:v>137.3128046503374</c:v>
                </c:pt>
                <c:pt idx="1591">
                  <c:v>136.04380504248081</c:v>
                </c:pt>
                <c:pt idx="1592">
                  <c:v>136.07298114962126</c:v>
                </c:pt>
                <c:pt idx="1593">
                  <c:v>136.10216351390238</c:v>
                </c:pt>
                <c:pt idx="1594">
                  <c:v>136.13135213666612</c:v>
                </c:pt>
                <c:pt idx="1595">
                  <c:v>136.16054701925466</c:v>
                </c:pt>
                <c:pt idx="1596">
                  <c:v>136.18974816301048</c:v>
                </c:pt>
                <c:pt idx="1597">
                  <c:v>136.21895556927637</c:v>
                </c:pt>
                <c:pt idx="1598">
                  <c:v>136.24816923939539</c:v>
                </c:pt>
                <c:pt idx="1599">
                  <c:v>136.27738917471092</c:v>
                </c:pt>
                <c:pt idx="1600">
                  <c:v>136.30661537656655</c:v>
                </c:pt>
                <c:pt idx="1601">
                  <c:v>136.33584784630625</c:v>
                </c:pt>
                <c:pt idx="1602">
                  <c:v>136.36508658527421</c:v>
                </c:pt>
                <c:pt idx="1603">
                  <c:v>136.39433159481496</c:v>
                </c:pt>
                <c:pt idx="1604">
                  <c:v>136.42358287627329</c:v>
                </c:pt>
                <c:pt idx="1605">
                  <c:v>136.45284043099426</c:v>
                </c:pt>
                <c:pt idx="1606">
                  <c:v>136.48210426032327</c:v>
                </c:pt>
                <c:pt idx="1607">
                  <c:v>136.51137436560597</c:v>
                </c:pt>
                <c:pt idx="1608">
                  <c:v>136.54065074818831</c:v>
                </c:pt>
                <c:pt idx="1609">
                  <c:v>136.56993340941651</c:v>
                </c:pt>
                <c:pt idx="1610">
                  <c:v>136.59922235063712</c:v>
                </c:pt>
                <c:pt idx="1611">
                  <c:v>136.62851757319694</c:v>
                </c:pt>
                <c:pt idx="1612">
                  <c:v>136.65781907844308</c:v>
                </c:pt>
                <c:pt idx="1613">
                  <c:v>136.68712686772292</c:v>
                </c:pt>
                <c:pt idx="1614">
                  <c:v>136.71644094238414</c:v>
                </c:pt>
                <c:pt idx="1615">
                  <c:v>136.74576130377471</c:v>
                </c:pt>
                <c:pt idx="1616">
                  <c:v>136.77508795324292</c:v>
                </c:pt>
                <c:pt idx="1617">
                  <c:v>136.80442089213727</c:v>
                </c:pt>
                <c:pt idx="1618">
                  <c:v>136.83376012180662</c:v>
                </c:pt>
                <c:pt idx="1619">
                  <c:v>136.86310564360011</c:v>
                </c:pt>
                <c:pt idx="1620">
                  <c:v>136.89245745886714</c:v>
                </c:pt>
                <c:pt idx="1621">
                  <c:v>133.00225265224418</c:v>
                </c:pt>
                <c:pt idx="1622">
                  <c:v>133.03077646464482</c:v>
                </c:pt>
                <c:pt idx="1623">
                  <c:v>133.05930639429428</c:v>
                </c:pt>
                <c:pt idx="1624">
                  <c:v>133.0878424425045</c:v>
                </c:pt>
                <c:pt idx="1625">
                  <c:v>133.11638461058763</c:v>
                </c:pt>
                <c:pt idx="1626">
                  <c:v>133.14493289985617</c:v>
                </c:pt>
                <c:pt idx="1627">
                  <c:v>133.17348731162289</c:v>
                </c:pt>
                <c:pt idx="1628">
                  <c:v>133.20204784720082</c:v>
                </c:pt>
                <c:pt idx="1629">
                  <c:v>133.23061450790325</c:v>
                </c:pt>
                <c:pt idx="1630">
                  <c:v>133.2591872950438</c:v>
                </c:pt>
                <c:pt idx="1631">
                  <c:v>133.28776620993636</c:v>
                </c:pt>
                <c:pt idx="1632">
                  <c:v>133.31635125389508</c:v>
                </c:pt>
                <c:pt idx="1633">
                  <c:v>133.34494242823442</c:v>
                </c:pt>
                <c:pt idx="1634">
                  <c:v>133.37353973426909</c:v>
                </c:pt>
                <c:pt idx="1635">
                  <c:v>133.40214317331413</c:v>
                </c:pt>
                <c:pt idx="1636">
                  <c:v>133.43075274668482</c:v>
                </c:pt>
                <c:pt idx="1637">
                  <c:v>133.4593684556967</c:v>
                </c:pt>
                <c:pt idx="1638">
                  <c:v>133.48799030166569</c:v>
                </c:pt>
                <c:pt idx="1639">
                  <c:v>133.51661828590787</c:v>
                </c:pt>
                <c:pt idx="1640">
                  <c:v>133.5452524097397</c:v>
                </c:pt>
                <c:pt idx="1641">
                  <c:v>133.57389267447786</c:v>
                </c:pt>
                <c:pt idx="1642">
                  <c:v>133.60253908143935</c:v>
                </c:pt>
                <c:pt idx="1643">
                  <c:v>133.63119163194142</c:v>
                </c:pt>
                <c:pt idx="1644">
                  <c:v>133.65985032730165</c:v>
                </c:pt>
                <c:pt idx="1645">
                  <c:v>133.68851516883785</c:v>
                </c:pt>
                <c:pt idx="1646">
                  <c:v>133.71718615786816</c:v>
                </c:pt>
                <c:pt idx="1647">
                  <c:v>133.74586329571093</c:v>
                </c:pt>
                <c:pt idx="1648">
                  <c:v>133.7745465836849</c:v>
                </c:pt>
                <c:pt idx="1649">
                  <c:v>133.80323602310898</c:v>
                </c:pt>
                <c:pt idx="1650">
                  <c:v>133.83193161530247</c:v>
                </c:pt>
                <c:pt idx="1651">
                  <c:v>133.86063336158486</c:v>
                </c:pt>
                <c:pt idx="1652">
                  <c:v>133.88934126327598</c:v>
                </c:pt>
                <c:pt idx="1653">
                  <c:v>133.91805532169593</c:v>
                </c:pt>
                <c:pt idx="1654">
                  <c:v>133.94677553816507</c:v>
                </c:pt>
                <c:pt idx="1655">
                  <c:v>133.97550191400407</c:v>
                </c:pt>
                <c:pt idx="1656">
                  <c:v>134.00423445053389</c:v>
                </c:pt>
                <c:pt idx="1657">
                  <c:v>134.03297314907573</c:v>
                </c:pt>
                <c:pt idx="1658">
                  <c:v>134.06171801095113</c:v>
                </c:pt>
                <c:pt idx="1659">
                  <c:v>134.09046903748185</c:v>
                </c:pt>
                <c:pt idx="1660">
                  <c:v>134.11922622999001</c:v>
                </c:pt>
                <c:pt idx="1661">
                  <c:v>134.14798958979796</c:v>
                </c:pt>
                <c:pt idx="1662">
                  <c:v>134.17675911822835</c:v>
                </c:pt>
                <c:pt idx="1663">
                  <c:v>134.20553481660409</c:v>
                </c:pt>
                <c:pt idx="1664">
                  <c:v>134.23431668624841</c:v>
                </c:pt>
                <c:pt idx="1665">
                  <c:v>134.26310472848479</c:v>
                </c:pt>
                <c:pt idx="1666">
                  <c:v>134.29189894463704</c:v>
                </c:pt>
                <c:pt idx="1667">
                  <c:v>134.32069933602921</c:v>
                </c:pt>
                <c:pt idx="1668">
                  <c:v>134.34950590398563</c:v>
                </c:pt>
                <c:pt idx="1669">
                  <c:v>134.37831864983096</c:v>
                </c:pt>
                <c:pt idx="1670">
                  <c:v>134.4071375748901</c:v>
                </c:pt>
                <c:pt idx="1671">
                  <c:v>134.43596268048827</c:v>
                </c:pt>
                <c:pt idx="1672">
                  <c:v>134.46479396795092</c:v>
                </c:pt>
                <c:pt idx="1673">
                  <c:v>134.49363143860387</c:v>
                </c:pt>
                <c:pt idx="1674">
                  <c:v>134.52247509377312</c:v>
                </c:pt>
                <c:pt idx="1675">
                  <c:v>134.55132493478504</c:v>
                </c:pt>
                <c:pt idx="1676">
                  <c:v>134.58018096296627</c:v>
                </c:pt>
                <c:pt idx="1677">
                  <c:v>134.60904317964366</c:v>
                </c:pt>
                <c:pt idx="1678">
                  <c:v>134.63791158614447</c:v>
                </c:pt>
                <c:pt idx="1679">
                  <c:v>134.66678618379612</c:v>
                </c:pt>
                <c:pt idx="1680">
                  <c:v>134.69566697392639</c:v>
                </c:pt>
                <c:pt idx="1681">
                  <c:v>134.72455395786335</c:v>
                </c:pt>
                <c:pt idx="1682">
                  <c:v>134.75344713693531</c:v>
                </c:pt>
                <c:pt idx="1683">
                  <c:v>134.78234651247087</c:v>
                </c:pt>
                <c:pt idx="1684">
                  <c:v>134.81125208579897</c:v>
                </c:pt>
                <c:pt idx="1685">
                  <c:v>134.84016385824876</c:v>
                </c:pt>
                <c:pt idx="1686">
                  <c:v>134.86908183114971</c:v>
                </c:pt>
                <c:pt idx="1687">
                  <c:v>134.8980060058316</c:v>
                </c:pt>
                <c:pt idx="1688">
                  <c:v>134.92693638362448</c:v>
                </c:pt>
                <c:pt idx="1689">
                  <c:v>134.95587296585865</c:v>
                </c:pt>
                <c:pt idx="1690">
                  <c:v>134.98481575386472</c:v>
                </c:pt>
                <c:pt idx="1691">
                  <c:v>135.01376474897359</c:v>
                </c:pt>
                <c:pt idx="1692">
                  <c:v>135.04271995251645</c:v>
                </c:pt>
                <c:pt idx="1693">
                  <c:v>135.07168136582476</c:v>
                </c:pt>
                <c:pt idx="1694">
                  <c:v>135.10064899023027</c:v>
                </c:pt>
                <c:pt idx="1695">
                  <c:v>135.12962282706505</c:v>
                </c:pt>
                <c:pt idx="1696">
                  <c:v>135.15860287766139</c:v>
                </c:pt>
                <c:pt idx="1697">
                  <c:v>135.18758914335191</c:v>
                </c:pt>
                <c:pt idx="1698">
                  <c:v>135.2165816254695</c:v>
                </c:pt>
                <c:pt idx="1699">
                  <c:v>135.24558032534736</c:v>
                </c:pt>
                <c:pt idx="1700">
                  <c:v>135.27458524431896</c:v>
                </c:pt>
                <c:pt idx="1701">
                  <c:v>135.30359638371803</c:v>
                </c:pt>
                <c:pt idx="1702">
                  <c:v>135.33261374487861</c:v>
                </c:pt>
                <c:pt idx="1703">
                  <c:v>135.36163732913505</c:v>
                </c:pt>
                <c:pt idx="1704">
                  <c:v>135.39066713782194</c:v>
                </c:pt>
                <c:pt idx="1705">
                  <c:v>135.41970317227418</c:v>
                </c:pt>
                <c:pt idx="1706">
                  <c:v>135.44874543382699</c:v>
                </c:pt>
                <c:pt idx="1707">
                  <c:v>135.4777939238158</c:v>
                </c:pt>
                <c:pt idx="1708">
                  <c:v>135.50684864357638</c:v>
                </c:pt>
                <c:pt idx="1709">
                  <c:v>135.53590959444477</c:v>
                </c:pt>
                <c:pt idx="1710">
                  <c:v>135.56497677775732</c:v>
                </c:pt>
                <c:pt idx="1711">
                  <c:v>135.59405019485061</c:v>
                </c:pt>
                <c:pt idx="1712">
                  <c:v>135.62312984706156</c:v>
                </c:pt>
                <c:pt idx="1713">
                  <c:v>135.65221573572737</c:v>
                </c:pt>
                <c:pt idx="1714">
                  <c:v>135.68130786218552</c:v>
                </c:pt>
                <c:pt idx="1715">
                  <c:v>135.71040622777377</c:v>
                </c:pt>
                <c:pt idx="1716">
                  <c:v>135.73951083383017</c:v>
                </c:pt>
                <c:pt idx="1717">
                  <c:v>135.76862168169305</c:v>
                </c:pt>
                <c:pt idx="1718">
                  <c:v>135.79773877270102</c:v>
                </c:pt>
                <c:pt idx="1719">
                  <c:v>135.82686210819304</c:v>
                </c:pt>
                <c:pt idx="1720">
                  <c:v>135.85599168950827</c:v>
                </c:pt>
                <c:pt idx="1721">
                  <c:v>135.88512751798621</c:v>
                </c:pt>
                <c:pt idx="1722">
                  <c:v>135.91426959496661</c:v>
                </c:pt>
                <c:pt idx="1723">
                  <c:v>135.94341792178957</c:v>
                </c:pt>
                <c:pt idx="1724">
                  <c:v>135.97257249979543</c:v>
                </c:pt>
                <c:pt idx="1725">
                  <c:v>136.00173333032481</c:v>
                </c:pt>
                <c:pt idx="1726">
                  <c:v>136.03090041471864</c:v>
                </c:pt>
                <c:pt idx="1727">
                  <c:v>136.06007375431813</c:v>
                </c:pt>
                <c:pt idx="1728">
                  <c:v>136.08925335046476</c:v>
                </c:pt>
                <c:pt idx="1729">
                  <c:v>136.11843920450033</c:v>
                </c:pt>
                <c:pt idx="1730">
                  <c:v>136.14763131776695</c:v>
                </c:pt>
                <c:pt idx="1731">
                  <c:v>136.17682969160694</c:v>
                </c:pt>
                <c:pt idx="1732">
                  <c:v>136.20603432736294</c:v>
                </c:pt>
                <c:pt idx="1733">
                  <c:v>136.23524522637791</c:v>
                </c:pt>
                <c:pt idx="1734">
                  <c:v>136.26446238999509</c:v>
                </c:pt>
                <c:pt idx="1735">
                  <c:v>136.29368581955796</c:v>
                </c:pt>
                <c:pt idx="1736">
                  <c:v>136.32291551641035</c:v>
                </c:pt>
                <c:pt idx="1737">
                  <c:v>136.35215148189633</c:v>
                </c:pt>
                <c:pt idx="1738">
                  <c:v>136.38139371736028</c:v>
                </c:pt>
                <c:pt idx="1739">
                  <c:v>136.4106422241469</c:v>
                </c:pt>
                <c:pt idx="1740">
                  <c:v>136.43989700360109</c:v>
                </c:pt>
                <c:pt idx="1741">
                  <c:v>136.46915805706814</c:v>
                </c:pt>
                <c:pt idx="1742">
                  <c:v>136.49842538589357</c:v>
                </c:pt>
                <c:pt idx="1743">
                  <c:v>136.52769899142316</c:v>
                </c:pt>
                <c:pt idx="1744">
                  <c:v>136.55697887500307</c:v>
                </c:pt>
                <c:pt idx="1745">
                  <c:v>136.58626503797967</c:v>
                </c:pt>
                <c:pt idx="1746">
                  <c:v>136.61555748169965</c:v>
                </c:pt>
                <c:pt idx="1747">
                  <c:v>136.64485620751</c:v>
                </c:pt>
                <c:pt idx="1748">
                  <c:v>136.67416121675799</c:v>
                </c:pt>
                <c:pt idx="1749">
                  <c:v>136.70347251079116</c:v>
                </c:pt>
                <c:pt idx="1750">
                  <c:v>136.73279009095734</c:v>
                </c:pt>
                <c:pt idx="1751">
                  <c:v>136.76211395860466</c:v>
                </c:pt>
                <c:pt idx="1752">
                  <c:v>136.79144411508156</c:v>
                </c:pt>
                <c:pt idx="1753">
                  <c:v>136.82078056173674</c:v>
                </c:pt>
                <c:pt idx="1754">
                  <c:v>136.8501232999192</c:v>
                </c:pt>
                <c:pt idx="1755">
                  <c:v>136.87947233097825</c:v>
                </c:pt>
                <c:pt idx="1756">
                  <c:v>136.90882765626341</c:v>
                </c:pt>
                <c:pt idx="1757">
                  <c:v>136.93818927712459</c:v>
                </c:pt>
                <c:pt idx="1758">
                  <c:v>136.96755719491196</c:v>
                </c:pt>
                <c:pt idx="1759">
                  <c:v>136.99693141097595</c:v>
                </c:pt>
                <c:pt idx="1760">
                  <c:v>137.02631192666726</c:v>
                </c:pt>
                <c:pt idx="1761">
                  <c:v>137.05569874333696</c:v>
                </c:pt>
                <c:pt idx="1762">
                  <c:v>137.08509186233636</c:v>
                </c:pt>
                <c:pt idx="1763">
                  <c:v>137.11449128501704</c:v>
                </c:pt>
                <c:pt idx="1764">
                  <c:v>137.14389701273092</c:v>
                </c:pt>
                <c:pt idx="1765">
                  <c:v>137.17330904683016</c:v>
                </c:pt>
                <c:pt idx="1766">
                  <c:v>137.20272738866726</c:v>
                </c:pt>
                <c:pt idx="1767">
                  <c:v>137.23215203959498</c:v>
                </c:pt>
                <c:pt idx="1768">
                  <c:v>137.26158300096637</c:v>
                </c:pt>
                <c:pt idx="1769">
                  <c:v>137.29102027413475</c:v>
                </c:pt>
                <c:pt idx="1770">
                  <c:v>137.3204638604538</c:v>
                </c:pt>
                <c:pt idx="1771">
                  <c:v>140.21143300849931</c:v>
                </c:pt>
                <c:pt idx="1772">
                  <c:v>140.24150290981157</c:v>
                </c:pt>
                <c:pt idx="1773">
                  <c:v>140.27157925994862</c:v>
                </c:pt>
                <c:pt idx="1774">
                  <c:v>140.30166206029347</c:v>
                </c:pt>
                <c:pt idx="1775">
                  <c:v>140.33175131222944</c:v>
                </c:pt>
                <c:pt idx="1776">
                  <c:v>140.36184701714018</c:v>
                </c:pt>
                <c:pt idx="1777">
                  <c:v>140.39194917640955</c:v>
                </c:pt>
                <c:pt idx="1778">
                  <c:v>140.42205779142182</c:v>
                </c:pt>
                <c:pt idx="1779">
                  <c:v>140.45217286356146</c:v>
                </c:pt>
                <c:pt idx="1780">
                  <c:v>140.48229439421326</c:v>
                </c:pt>
                <c:pt idx="1781">
                  <c:v>140.51242238476235</c:v>
                </c:pt>
                <c:pt idx="1782">
                  <c:v>140.54255683659409</c:v>
                </c:pt>
                <c:pt idx="1783">
                  <c:v>140.57269775109421</c:v>
                </c:pt>
                <c:pt idx="1784">
                  <c:v>140.60284512964867</c:v>
                </c:pt>
                <c:pt idx="1785">
                  <c:v>140.63299897364379</c:v>
                </c:pt>
                <c:pt idx="1786">
                  <c:v>140.66315928446613</c:v>
                </c:pt>
                <c:pt idx="1787">
                  <c:v>140.69332606350261</c:v>
                </c:pt>
                <c:pt idx="1788">
                  <c:v>140.72349931214038</c:v>
                </c:pt>
                <c:pt idx="1789">
                  <c:v>140.75367903176692</c:v>
                </c:pt>
                <c:pt idx="1790">
                  <c:v>140.78386522376999</c:v>
                </c:pt>
                <c:pt idx="1791">
                  <c:v>140.81405788953771</c:v>
                </c:pt>
                <c:pt idx="1792">
                  <c:v>140.84425703045841</c:v>
                </c:pt>
                <c:pt idx="1793">
                  <c:v>140.87446264792075</c:v>
                </c:pt>
                <c:pt idx="1794">
                  <c:v>140.90467474331373</c:v>
                </c:pt>
                <c:pt idx="1795">
                  <c:v>140.93489331802661</c:v>
                </c:pt>
                <c:pt idx="1796">
                  <c:v>140.96511837344895</c:v>
                </c:pt>
                <c:pt idx="1797">
                  <c:v>140.99534991097059</c:v>
                </c:pt>
                <c:pt idx="1798">
                  <c:v>141.0255879319817</c:v>
                </c:pt>
                <c:pt idx="1799">
                  <c:v>141.05583243787274</c:v>
                </c:pt>
                <c:pt idx="1800">
                  <c:v>141.08608343003445</c:v>
                </c:pt>
                <c:pt idx="1801">
                  <c:v>142.83512695992545</c:v>
                </c:pt>
                <c:pt idx="1802">
                  <c:v>142.86575954158766</c:v>
                </c:pt>
                <c:pt idx="1803">
                  <c:v>142.89639869274771</c:v>
                </c:pt>
                <c:pt idx="1804">
                  <c:v>142.9270444148145</c:v>
                </c:pt>
                <c:pt idx="1805">
                  <c:v>142.95769670919725</c:v>
                </c:pt>
                <c:pt idx="1806">
                  <c:v>142.98835557730547</c:v>
                </c:pt>
                <c:pt idx="1807">
                  <c:v>143.01902102054896</c:v>
                </c:pt>
                <c:pt idx="1808">
                  <c:v>143.04969304033784</c:v>
                </c:pt>
                <c:pt idx="1809">
                  <c:v>143.08037163808251</c:v>
                </c:pt>
                <c:pt idx="1810">
                  <c:v>143.11105681519368</c:v>
                </c:pt>
                <c:pt idx="1811">
                  <c:v>143.14174857308237</c:v>
                </c:pt>
                <c:pt idx="1812">
                  <c:v>143.17244691315992</c:v>
                </c:pt>
                <c:pt idx="1813">
                  <c:v>143.20315183683795</c:v>
                </c:pt>
                <c:pt idx="1814">
                  <c:v>143.23386334552836</c:v>
                </c:pt>
                <c:pt idx="1815">
                  <c:v>143.26458144064341</c:v>
                </c:pt>
                <c:pt idx="1816">
                  <c:v>143.29530612359562</c:v>
                </c:pt>
                <c:pt idx="1817">
                  <c:v>143.32603739579784</c:v>
                </c:pt>
                <c:pt idx="1818">
                  <c:v>143.35677525866319</c:v>
                </c:pt>
                <c:pt idx="1819">
                  <c:v>143.38751971360512</c:v>
                </c:pt>
                <c:pt idx="1820">
                  <c:v>143.41827076203734</c:v>
                </c:pt>
                <c:pt idx="1821">
                  <c:v>143.44902840537392</c:v>
                </c:pt>
                <c:pt idx="1822">
                  <c:v>143.47979264502922</c:v>
                </c:pt>
                <c:pt idx="1823">
                  <c:v>143.51056348241789</c:v>
                </c:pt>
                <c:pt idx="1824">
                  <c:v>143.54134091895492</c:v>
                </c:pt>
                <c:pt idx="1825">
                  <c:v>143.57212495605552</c:v>
                </c:pt>
                <c:pt idx="1826">
                  <c:v>143.60291559513527</c:v>
                </c:pt>
                <c:pt idx="1827">
                  <c:v>143.63371283761003</c:v>
                </c:pt>
                <c:pt idx="1828">
                  <c:v>143.664516684896</c:v>
                </c:pt>
                <c:pt idx="1829">
                  <c:v>143.69532713840962</c:v>
                </c:pt>
                <c:pt idx="1830">
                  <c:v>143.7261441995677</c:v>
                </c:pt>
                <c:pt idx="1831">
                  <c:v>143.7569678697873</c:v>
                </c:pt>
                <c:pt idx="1832">
                  <c:v>143.78779815048583</c:v>
                </c:pt>
                <c:pt idx="1833">
                  <c:v>143.81863504308095</c:v>
                </c:pt>
                <c:pt idx="1834">
                  <c:v>143.84947854899067</c:v>
                </c:pt>
                <c:pt idx="1835">
                  <c:v>143.88032866963329</c:v>
                </c:pt>
                <c:pt idx="1836">
                  <c:v>143.91118540642742</c:v>
                </c:pt>
                <c:pt idx="1837">
                  <c:v>143.94204876079195</c:v>
                </c:pt>
                <c:pt idx="1838">
                  <c:v>143.97291873414611</c:v>
                </c:pt>
                <c:pt idx="1839">
                  <c:v>144.00379532790939</c:v>
                </c:pt>
                <c:pt idx="1840">
                  <c:v>144.03467854350163</c:v>
                </c:pt>
                <c:pt idx="1841">
                  <c:v>144.06556838234297</c:v>
                </c:pt>
                <c:pt idx="1842">
                  <c:v>144.09646484585383</c:v>
                </c:pt>
                <c:pt idx="1843">
                  <c:v>144.12736793545491</c:v>
                </c:pt>
                <c:pt idx="1844">
                  <c:v>144.15827765256728</c:v>
                </c:pt>
                <c:pt idx="1845">
                  <c:v>144.1891939986123</c:v>
                </c:pt>
                <c:pt idx="1846">
                  <c:v>144.22011697501159</c:v>
                </c:pt>
                <c:pt idx="1847">
                  <c:v>144.2510465831871</c:v>
                </c:pt>
                <c:pt idx="1848">
                  <c:v>144.28198282456111</c:v>
                </c:pt>
                <c:pt idx="1849">
                  <c:v>144.31292570055618</c:v>
                </c:pt>
                <c:pt idx="1850">
                  <c:v>144.34387521259515</c:v>
                </c:pt>
                <c:pt idx="1851">
                  <c:v>144.37483136210122</c:v>
                </c:pt>
                <c:pt idx="1852">
                  <c:v>144.40579415049785</c:v>
                </c:pt>
                <c:pt idx="1853">
                  <c:v>144.43676357920884</c:v>
                </c:pt>
                <c:pt idx="1854">
                  <c:v>144.46773964965828</c:v>
                </c:pt>
                <c:pt idx="1855">
                  <c:v>144.49872236327056</c:v>
                </c:pt>
                <c:pt idx="1856">
                  <c:v>144.52971172147036</c:v>
                </c:pt>
                <c:pt idx="1857">
                  <c:v>144.56070772568273</c:v>
                </c:pt>
                <c:pt idx="1858">
                  <c:v>144.59171037733296</c:v>
                </c:pt>
                <c:pt idx="1859">
                  <c:v>144.62271967784665</c:v>
                </c:pt>
                <c:pt idx="1860">
                  <c:v>144.65373562864974</c:v>
                </c:pt>
                <c:pt idx="1861">
                  <c:v>144.67944560641604</c:v>
                </c:pt>
                <c:pt idx="1862">
                  <c:v>144.71047372272545</c:v>
                </c:pt>
                <c:pt idx="1863">
                  <c:v>144.7415084933595</c:v>
                </c:pt>
                <c:pt idx="1864">
                  <c:v>144.7725499197453</c:v>
                </c:pt>
                <c:pt idx="1865">
                  <c:v>144.80359800331024</c:v>
                </c:pt>
                <c:pt idx="1866">
                  <c:v>144.83465274548206</c:v>
                </c:pt>
                <c:pt idx="1867">
                  <c:v>144.86571414768872</c:v>
                </c:pt>
                <c:pt idx="1868">
                  <c:v>144.89678221135858</c:v>
                </c:pt>
                <c:pt idx="1869">
                  <c:v>144.92785693792024</c:v>
                </c:pt>
                <c:pt idx="1870">
                  <c:v>144.95893832880265</c:v>
                </c:pt>
                <c:pt idx="1871">
                  <c:v>144.99002638543502</c:v>
                </c:pt>
                <c:pt idx="1872">
                  <c:v>145.02112110924693</c:v>
                </c:pt>
                <c:pt idx="1873">
                  <c:v>145.05222250166821</c:v>
                </c:pt>
                <c:pt idx="1874">
                  <c:v>145.08333056412903</c:v>
                </c:pt>
                <c:pt idx="1875">
                  <c:v>145.11444529805982</c:v>
                </c:pt>
                <c:pt idx="1876">
                  <c:v>145.14556670489139</c:v>
                </c:pt>
                <c:pt idx="1877">
                  <c:v>145.17669478605481</c:v>
                </c:pt>
                <c:pt idx="1878">
                  <c:v>145.20782954298144</c:v>
                </c:pt>
                <c:pt idx="1879">
                  <c:v>145.23897097710301</c:v>
                </c:pt>
                <c:pt idx="1880">
                  <c:v>145.27011908985148</c:v>
                </c:pt>
                <c:pt idx="1881">
                  <c:v>145.30127388265919</c:v>
                </c:pt>
                <c:pt idx="1882">
                  <c:v>145.33243535695874</c:v>
                </c:pt>
                <c:pt idx="1883">
                  <c:v>145.36360351418304</c:v>
                </c:pt>
                <c:pt idx="1884">
                  <c:v>145.39477835576531</c:v>
                </c:pt>
                <c:pt idx="1885">
                  <c:v>145.42595988313911</c:v>
                </c:pt>
                <c:pt idx="1886">
                  <c:v>145.45714809773827</c:v>
                </c:pt>
                <c:pt idx="1887">
                  <c:v>145.48834300099693</c:v>
                </c:pt>
                <c:pt idx="1888">
                  <c:v>145.51954459434958</c:v>
                </c:pt>
                <c:pt idx="1889">
                  <c:v>145.55075287923097</c:v>
                </c:pt>
                <c:pt idx="1890">
                  <c:v>145.58196785707617</c:v>
                </c:pt>
                <c:pt idx="1891">
                  <c:v>145.61318952932055</c:v>
                </c:pt>
                <c:pt idx="1892">
                  <c:v>145.64441789739979</c:v>
                </c:pt>
                <c:pt idx="1893">
                  <c:v>145.67565296274992</c:v>
                </c:pt>
                <c:pt idx="1894">
                  <c:v>145.70689472680723</c:v>
                </c:pt>
                <c:pt idx="1895">
                  <c:v>145.73814319100833</c:v>
                </c:pt>
                <c:pt idx="1896">
                  <c:v>145.76939835679013</c:v>
                </c:pt>
                <c:pt idx="1897">
                  <c:v>145.80066022558987</c:v>
                </c:pt>
                <c:pt idx="1898">
                  <c:v>145.83192879884507</c:v>
                </c:pt>
                <c:pt idx="1899">
                  <c:v>145.8632040779936</c:v>
                </c:pt>
                <c:pt idx="1900">
                  <c:v>145.8944860644736</c:v>
                </c:pt>
                <c:pt idx="1901">
                  <c:v>145.92577475972354</c:v>
                </c:pt>
                <c:pt idx="1902">
                  <c:v>145.95707016518219</c:v>
                </c:pt>
                <c:pt idx="1903">
                  <c:v>145.98837228228862</c:v>
                </c:pt>
                <c:pt idx="1904">
                  <c:v>146.01968111248223</c:v>
                </c:pt>
                <c:pt idx="1905">
                  <c:v>146.05099665720269</c:v>
                </c:pt>
                <c:pt idx="1906">
                  <c:v>146.08231891789003</c:v>
                </c:pt>
                <c:pt idx="1907">
                  <c:v>146.11364789598457</c:v>
                </c:pt>
                <c:pt idx="1908">
                  <c:v>146.14498359292691</c:v>
                </c:pt>
                <c:pt idx="1909">
                  <c:v>146.17632601015799</c:v>
                </c:pt>
                <c:pt idx="1910">
                  <c:v>146.20767514911907</c:v>
                </c:pt>
                <c:pt idx="1911">
                  <c:v>146.23903101125165</c:v>
                </c:pt>
                <c:pt idx="1912">
                  <c:v>146.27039359799764</c:v>
                </c:pt>
                <c:pt idx="1913">
                  <c:v>146.30176291079917</c:v>
                </c:pt>
                <c:pt idx="1914">
                  <c:v>146.33313895109876</c:v>
                </c:pt>
                <c:pt idx="1915">
                  <c:v>146.36452172033916</c:v>
                </c:pt>
                <c:pt idx="1916">
                  <c:v>146.39591121996347</c:v>
                </c:pt>
                <c:pt idx="1917">
                  <c:v>146.42730745141512</c:v>
                </c:pt>
                <c:pt idx="1918">
                  <c:v>146.45871041613779</c:v>
                </c:pt>
                <c:pt idx="1919">
                  <c:v>146.49012011557554</c:v>
                </c:pt>
                <c:pt idx="1920">
                  <c:v>146.52153655117269</c:v>
                </c:pt>
                <c:pt idx="1921">
                  <c:v>146.55295972437389</c:v>
                </c:pt>
                <c:pt idx="1922">
                  <c:v>146.58438963662408</c:v>
                </c:pt>
                <c:pt idx="1923">
                  <c:v>146.61582628936853</c:v>
                </c:pt>
                <c:pt idx="1924">
                  <c:v>146.64726968405282</c:v>
                </c:pt>
                <c:pt idx="1925">
                  <c:v>146.67871982212282</c:v>
                </c:pt>
                <c:pt idx="1926">
                  <c:v>146.71017670502474</c:v>
                </c:pt>
                <c:pt idx="1927">
                  <c:v>146.74164033420507</c:v>
                </c:pt>
                <c:pt idx="1928">
                  <c:v>146.77311071111063</c:v>
                </c:pt>
                <c:pt idx="1929">
                  <c:v>146.80458783718856</c:v>
                </c:pt>
                <c:pt idx="1930">
                  <c:v>146.83607171388627</c:v>
                </c:pt>
                <c:pt idx="1931">
                  <c:v>146.86756234265152</c:v>
                </c:pt>
                <c:pt idx="1932">
                  <c:v>146.89905972493239</c:v>
                </c:pt>
                <c:pt idx="1933">
                  <c:v>146.93056386217719</c:v>
                </c:pt>
                <c:pt idx="1934">
                  <c:v>146.96207475583464</c:v>
                </c:pt>
                <c:pt idx="1935">
                  <c:v>146.9935924073537</c:v>
                </c:pt>
                <c:pt idx="1936">
                  <c:v>147.0251168181837</c:v>
                </c:pt>
                <c:pt idx="1937">
                  <c:v>147.05664798977423</c:v>
                </c:pt>
                <c:pt idx="1938">
                  <c:v>147.08818592357522</c:v>
                </c:pt>
                <c:pt idx="1939">
                  <c:v>147.11973062103689</c:v>
                </c:pt>
                <c:pt idx="1940">
                  <c:v>147.1512820836098</c:v>
                </c:pt>
                <c:pt idx="1941">
                  <c:v>147.18284031274479</c:v>
                </c:pt>
                <c:pt idx="1942">
                  <c:v>147.21440530989301</c:v>
                </c:pt>
                <c:pt idx="1943">
                  <c:v>147.24597707650594</c:v>
                </c:pt>
                <c:pt idx="1944">
                  <c:v>147.27755561403538</c:v>
                </c:pt>
                <c:pt idx="1945">
                  <c:v>147.30914092393343</c:v>
                </c:pt>
                <c:pt idx="1946">
                  <c:v>147.34073300765249</c:v>
                </c:pt>
                <c:pt idx="1947">
                  <c:v>147.37233186664528</c:v>
                </c:pt>
                <c:pt idx="1948">
                  <c:v>147.40393750236487</c:v>
                </c:pt>
                <c:pt idx="1949">
                  <c:v>147.43554991626456</c:v>
                </c:pt>
                <c:pt idx="1950">
                  <c:v>147.46716910979802</c:v>
                </c:pt>
                <c:pt idx="1951">
                  <c:v>147.49879508441921</c:v>
                </c:pt>
                <c:pt idx="1952">
                  <c:v>147.53042784158242</c:v>
                </c:pt>
                <c:pt idx="1953">
                  <c:v>147.56206738274224</c:v>
                </c:pt>
                <c:pt idx="1954">
                  <c:v>147.59371370935358</c:v>
                </c:pt>
                <c:pt idx="1955">
                  <c:v>147.62536682287165</c:v>
                </c:pt>
                <c:pt idx="1956">
                  <c:v>147.65702672475197</c:v>
                </c:pt>
                <c:pt idx="1957">
                  <c:v>147.68869341645041</c:v>
                </c:pt>
                <c:pt idx="1958">
                  <c:v>147.72036689942308</c:v>
                </c:pt>
                <c:pt idx="1959">
                  <c:v>147.75204717512648</c:v>
                </c:pt>
                <c:pt idx="1960">
                  <c:v>147.78373424501734</c:v>
                </c:pt>
                <c:pt idx="1961">
                  <c:v>147.8154281105528</c:v>
                </c:pt>
                <c:pt idx="1962">
                  <c:v>147.84712877319024</c:v>
                </c:pt>
                <c:pt idx="1963">
                  <c:v>147.87883623438736</c:v>
                </c:pt>
                <c:pt idx="1964">
                  <c:v>147.91055049560219</c:v>
                </c:pt>
                <c:pt idx="1965">
                  <c:v>147.9422715582931</c:v>
                </c:pt>
                <c:pt idx="1966">
                  <c:v>147.97399942391871</c:v>
                </c:pt>
                <c:pt idx="1967">
                  <c:v>148.005734093938</c:v>
                </c:pt>
                <c:pt idx="1968">
                  <c:v>148.03747556981025</c:v>
                </c:pt>
                <c:pt idx="1969">
                  <c:v>148.06922385299504</c:v>
                </c:pt>
                <c:pt idx="1970">
                  <c:v>148.10097894495229</c:v>
                </c:pt>
                <c:pt idx="1971">
                  <c:v>148.1327408471422</c:v>
                </c:pt>
                <c:pt idx="1972">
                  <c:v>148.16450956102531</c:v>
                </c:pt>
                <c:pt idx="1973">
                  <c:v>148.19628508806247</c:v>
                </c:pt>
                <c:pt idx="1974">
                  <c:v>148.2280674297148</c:v>
                </c:pt>
                <c:pt idx="1975">
                  <c:v>148.25985658744381</c:v>
                </c:pt>
                <c:pt idx="1976">
                  <c:v>148.29165256271128</c:v>
                </c:pt>
                <c:pt idx="1977">
                  <c:v>148.32345535697928</c:v>
                </c:pt>
                <c:pt idx="1978">
                  <c:v>148.35526497171026</c:v>
                </c:pt>
                <c:pt idx="1979">
                  <c:v>148.3870814083669</c:v>
                </c:pt>
                <c:pt idx="1980">
                  <c:v>148.41890466841227</c:v>
                </c:pt>
                <c:pt idx="1981">
                  <c:v>148.45073475330972</c:v>
                </c:pt>
                <c:pt idx="1982">
                  <c:v>148.48257166452288</c:v>
                </c:pt>
                <c:pt idx="1983">
                  <c:v>148.51441540351576</c:v>
                </c:pt>
                <c:pt idx="1984">
                  <c:v>148.54626597175266</c:v>
                </c:pt>
                <c:pt idx="1985">
                  <c:v>148.57812337069817</c:v>
                </c:pt>
                <c:pt idx="1986">
                  <c:v>148.60998760181721</c:v>
                </c:pt>
                <c:pt idx="1987">
                  <c:v>148.64185866657505</c:v>
                </c:pt>
                <c:pt idx="1988">
                  <c:v>148.67373656643719</c:v>
                </c:pt>
                <c:pt idx="1989">
                  <c:v>148.70562130286953</c:v>
                </c:pt>
                <c:pt idx="1990">
                  <c:v>148.73751287733825</c:v>
                </c:pt>
                <c:pt idx="1991">
                  <c:v>148.76941129130981</c:v>
                </c:pt>
                <c:pt idx="1992">
                  <c:v>148.80131654625103</c:v>
                </c:pt>
                <c:pt idx="1993">
                  <c:v>148.83322864362904</c:v>
                </c:pt>
                <c:pt idx="1994">
                  <c:v>148.86514758491128</c:v>
                </c:pt>
                <c:pt idx="1995">
                  <c:v>148.89707337156551</c:v>
                </c:pt>
                <c:pt idx="1996">
                  <c:v>148.92900600505979</c:v>
                </c:pt>
                <c:pt idx="1997">
                  <c:v>148.96094548686247</c:v>
                </c:pt>
                <c:pt idx="1998">
                  <c:v>148.99289181844227</c:v>
                </c:pt>
                <c:pt idx="1999">
                  <c:v>149.0248450012682</c:v>
                </c:pt>
                <c:pt idx="2000">
                  <c:v>149.05680503680961</c:v>
                </c:pt>
                <c:pt idx="2001">
                  <c:v>149.08877192653611</c:v>
                </c:pt>
                <c:pt idx="2002">
                  <c:v>149.12074567191766</c:v>
                </c:pt>
                <c:pt idx="2003">
                  <c:v>149.15272627442454</c:v>
                </c:pt>
                <c:pt idx="2004">
                  <c:v>149.18471373552731</c:v>
                </c:pt>
                <c:pt idx="2005">
                  <c:v>149.21670805669692</c:v>
                </c:pt>
                <c:pt idx="2006">
                  <c:v>149.24870923940455</c:v>
                </c:pt>
                <c:pt idx="2007">
                  <c:v>149.28071728512174</c:v>
                </c:pt>
                <c:pt idx="2008">
                  <c:v>149.31273219532036</c:v>
                </c:pt>
                <c:pt idx="2009">
                  <c:v>149.34475397147256</c:v>
                </c:pt>
                <c:pt idx="2010">
                  <c:v>149.37678261505081</c:v>
                </c:pt>
                <c:pt idx="2011">
                  <c:v>149.40881812752792</c:v>
                </c:pt>
                <c:pt idx="2012">
                  <c:v>149.44086051037698</c:v>
                </c:pt>
                <c:pt idx="2013">
                  <c:v>149.47290976507145</c:v>
                </c:pt>
                <c:pt idx="2014">
                  <c:v>149.50496589308506</c:v>
                </c:pt>
                <c:pt idx="2015">
                  <c:v>149.53702889589186</c:v>
                </c:pt>
                <c:pt idx="2016">
                  <c:v>149.56909877496625</c:v>
                </c:pt>
                <c:pt idx="2017">
                  <c:v>149.6011755317829</c:v>
                </c:pt>
                <c:pt idx="2018">
                  <c:v>149.63325916781682</c:v>
                </c:pt>
                <c:pt idx="2019">
                  <c:v>149.66534968454332</c:v>
                </c:pt>
                <c:pt idx="2020">
                  <c:v>149.69744708343805</c:v>
                </c:pt>
                <c:pt idx="2021">
                  <c:v>149.72955136597699</c:v>
                </c:pt>
                <c:pt idx="2022">
                  <c:v>149.76166253363641</c:v>
                </c:pt>
                <c:pt idx="2023">
                  <c:v>149.79378058789288</c:v>
                </c:pt>
                <c:pt idx="2024">
                  <c:v>149.82590553022334</c:v>
                </c:pt>
                <c:pt idx="2025">
                  <c:v>149.85803736210497</c:v>
                </c:pt>
                <c:pt idx="2026">
                  <c:v>149.89017608501533</c:v>
                </c:pt>
                <c:pt idx="2027">
                  <c:v>149.92232170043229</c:v>
                </c:pt>
                <c:pt idx="2028">
                  <c:v>149.95447420983402</c:v>
                </c:pt>
                <c:pt idx="2029">
                  <c:v>149.986633614699</c:v>
                </c:pt>
                <c:pt idx="2030">
                  <c:v>150.01879991650605</c:v>
                </c:pt>
                <c:pt idx="2031">
                  <c:v>150.0509731167343</c:v>
                </c:pt>
                <c:pt idx="2032">
                  <c:v>150.08315321686317</c:v>
                </c:pt>
                <c:pt idx="2033">
                  <c:v>150.11534021837244</c:v>
                </c:pt>
                <c:pt idx="2034">
                  <c:v>150.1475341227422</c:v>
                </c:pt>
                <c:pt idx="2035">
                  <c:v>150.17973493145283</c:v>
                </c:pt>
                <c:pt idx="2036">
                  <c:v>150.21194264598503</c:v>
                </c:pt>
                <c:pt idx="2037">
                  <c:v>150.24415726781984</c:v>
                </c:pt>
                <c:pt idx="2038">
                  <c:v>150.27637879843863</c:v>
                </c:pt>
                <c:pt idx="2039">
                  <c:v>150.30860723932304</c:v>
                </c:pt>
                <c:pt idx="2040">
                  <c:v>150.34084259195504</c:v>
                </c:pt>
                <c:pt idx="2041">
                  <c:v>150.37308485781696</c:v>
                </c:pt>
                <c:pt idx="2042">
                  <c:v>150.4053340383914</c:v>
                </c:pt>
                <c:pt idx="2043">
                  <c:v>150.43759013516132</c:v>
                </c:pt>
                <c:pt idx="2044">
                  <c:v>150.46985314960995</c:v>
                </c:pt>
                <c:pt idx="2045">
                  <c:v>150.50212308322088</c:v>
                </c:pt>
                <c:pt idx="2046">
                  <c:v>150.53439993747799</c:v>
                </c:pt>
                <c:pt idx="2047">
                  <c:v>150.5666837138655</c:v>
                </c:pt>
                <c:pt idx="2048">
                  <c:v>150.59897441386795</c:v>
                </c:pt>
                <c:pt idx="2049">
                  <c:v>150.63127203897017</c:v>
                </c:pt>
                <c:pt idx="2050">
                  <c:v>150.6635765906573</c:v>
                </c:pt>
                <c:pt idx="2051">
                  <c:v>150.69588807041487</c:v>
                </c:pt>
                <c:pt idx="2052">
                  <c:v>150.72820647972864</c:v>
                </c:pt>
                <c:pt idx="2053">
                  <c:v>150.76053182008476</c:v>
                </c:pt>
                <c:pt idx="2054">
                  <c:v>150.79286409296967</c:v>
                </c:pt>
                <c:pt idx="2055">
                  <c:v>150.82520329987008</c:v>
                </c:pt>
                <c:pt idx="2056">
                  <c:v>150.85754944227313</c:v>
                </c:pt>
                <c:pt idx="2057">
                  <c:v>150.88990252166619</c:v>
                </c:pt>
                <c:pt idx="2058">
                  <c:v>150.92226253953697</c:v>
                </c:pt>
                <c:pt idx="2059">
                  <c:v>150.9546294973735</c:v>
                </c:pt>
                <c:pt idx="2060">
                  <c:v>150.98700339666414</c:v>
                </c:pt>
                <c:pt idx="2061">
                  <c:v>151.01938423889757</c:v>
                </c:pt>
                <c:pt idx="2062">
                  <c:v>151.05177202556277</c:v>
                </c:pt>
                <c:pt idx="2063">
                  <c:v>151.08416675814905</c:v>
                </c:pt>
                <c:pt idx="2064">
                  <c:v>151.11656843814606</c:v>
                </c:pt>
                <c:pt idx="2065">
                  <c:v>151.14897706704372</c:v>
                </c:pt>
                <c:pt idx="2066">
                  <c:v>151.18139264633231</c:v>
                </c:pt>
                <c:pt idx="2067">
                  <c:v>151.21381517750243</c:v>
                </c:pt>
                <c:pt idx="2068">
                  <c:v>151.24624466204497</c:v>
                </c:pt>
                <c:pt idx="2069">
                  <c:v>151.27868110145118</c:v>
                </c:pt>
                <c:pt idx="2070">
                  <c:v>151.31112449721257</c:v>
                </c:pt>
                <c:pt idx="2071">
                  <c:v>151.34357485082106</c:v>
                </c:pt>
                <c:pt idx="2072">
                  <c:v>151.3760321637688</c:v>
                </c:pt>
                <c:pt idx="2073">
                  <c:v>151.40849643754831</c:v>
                </c:pt>
                <c:pt idx="2074">
                  <c:v>151.44096767365241</c:v>
                </c:pt>
                <c:pt idx="2075">
                  <c:v>151.47344587357426</c:v>
                </c:pt>
                <c:pt idx="2076">
                  <c:v>151.50593103880732</c:v>
                </c:pt>
                <c:pt idx="2077">
                  <c:v>151.53842317084539</c:v>
                </c:pt>
                <c:pt idx="2078">
                  <c:v>151.57092227118255</c:v>
                </c:pt>
                <c:pt idx="2079">
                  <c:v>151.60342834131328</c:v>
                </c:pt>
                <c:pt idx="2080">
                  <c:v>151.63594138273228</c:v>
                </c:pt>
                <c:pt idx="2081">
                  <c:v>151.66846139693465</c:v>
                </c:pt>
                <c:pt idx="2082">
                  <c:v>151.70098838541574</c:v>
                </c:pt>
                <c:pt idx="2083">
                  <c:v>151.73352234967132</c:v>
                </c:pt>
                <c:pt idx="2084">
                  <c:v>151.76606329119738</c:v>
                </c:pt>
                <c:pt idx="2085">
                  <c:v>151.79861121149028</c:v>
                </c:pt>
                <c:pt idx="2086">
                  <c:v>151.8311661120467</c:v>
                </c:pt>
                <c:pt idx="2087">
                  <c:v>151.86372799436364</c:v>
                </c:pt>
                <c:pt idx="2088">
                  <c:v>151.89629685993842</c:v>
                </c:pt>
                <c:pt idx="2089">
                  <c:v>151.92887271026868</c:v>
                </c:pt>
                <c:pt idx="2090">
                  <c:v>151.96145554685236</c:v>
                </c:pt>
                <c:pt idx="2091">
                  <c:v>151.99404537118775</c:v>
                </c:pt>
                <c:pt idx="2092">
                  <c:v>152.02664218477344</c:v>
                </c:pt>
                <c:pt idx="2093">
                  <c:v>152.05924598910838</c:v>
                </c:pt>
                <c:pt idx="2094">
                  <c:v>152.09185678569179</c:v>
                </c:pt>
                <c:pt idx="2095">
                  <c:v>152.12447457602323</c:v>
                </c:pt>
                <c:pt idx="2096">
                  <c:v>152.1570993616026</c:v>
                </c:pt>
                <c:pt idx="2097">
                  <c:v>152.18973114393012</c:v>
                </c:pt>
                <c:pt idx="2098">
                  <c:v>152.2223699245063</c:v>
                </c:pt>
                <c:pt idx="2099">
                  <c:v>152.255015704832</c:v>
                </c:pt>
                <c:pt idx="2100">
                  <c:v>152.28766848640839</c:v>
                </c:pt>
                <c:pt idx="2101">
                  <c:v>152.32032827073698</c:v>
                </c:pt>
                <c:pt idx="2102">
                  <c:v>152.35299505931957</c:v>
                </c:pt>
                <c:pt idx="2103">
                  <c:v>152.3856688536583</c:v>
                </c:pt>
                <c:pt idx="2104">
                  <c:v>152.41834965525564</c:v>
                </c:pt>
                <c:pt idx="2105">
                  <c:v>152.45103746561438</c:v>
                </c:pt>
                <c:pt idx="2106">
                  <c:v>152.48373228623763</c:v>
                </c:pt>
                <c:pt idx="2107">
                  <c:v>152.51643411862881</c:v>
                </c:pt>
                <c:pt idx="2108">
                  <c:v>152.54914296429166</c:v>
                </c:pt>
                <c:pt idx="2109">
                  <c:v>152.58185882473029</c:v>
                </c:pt>
                <c:pt idx="2110">
                  <c:v>152.61458170144905</c:v>
                </c:pt>
                <c:pt idx="2111">
                  <c:v>152.64731159595271</c:v>
                </c:pt>
                <c:pt idx="2112">
                  <c:v>152.68004850974629</c:v>
                </c:pt>
                <c:pt idx="2113">
                  <c:v>152.71279244433512</c:v>
                </c:pt>
                <c:pt idx="2114">
                  <c:v>152.74554340122492</c:v>
                </c:pt>
                <c:pt idx="2115">
                  <c:v>152.77830138192172</c:v>
                </c:pt>
                <c:pt idx="2116">
                  <c:v>152.81106638793182</c:v>
                </c:pt>
                <c:pt idx="2117">
                  <c:v>152.84383842076187</c:v>
                </c:pt>
                <c:pt idx="2118">
                  <c:v>152.87661748191888</c:v>
                </c:pt>
                <c:pt idx="2119">
                  <c:v>152.90940357291015</c:v>
                </c:pt>
                <c:pt idx="2120">
                  <c:v>152.9421966952433</c:v>
                </c:pt>
                <c:pt idx="2121">
                  <c:v>152.97499685042627</c:v>
                </c:pt>
                <c:pt idx="2122">
                  <c:v>153.00780403996734</c:v>
                </c:pt>
                <c:pt idx="2123">
                  <c:v>153.04061826537512</c:v>
                </c:pt>
                <c:pt idx="2124">
                  <c:v>153.0734395281585</c:v>
                </c:pt>
                <c:pt idx="2125">
                  <c:v>153.10626782982675</c:v>
                </c:pt>
                <c:pt idx="2126">
                  <c:v>153.13910317188942</c:v>
                </c:pt>
                <c:pt idx="2127">
                  <c:v>153.17194555585638</c:v>
                </c:pt>
                <c:pt idx="2128">
                  <c:v>153.20479498323789</c:v>
                </c:pt>
                <c:pt idx="2129">
                  <c:v>153.23765145554447</c:v>
                </c:pt>
                <c:pt idx="2130">
                  <c:v>153.27051497428698</c:v>
                </c:pt>
                <c:pt idx="2131">
                  <c:v>153.30338554097662</c:v>
                </c:pt>
                <c:pt idx="2132">
                  <c:v>153.33626315712488</c:v>
                </c:pt>
                <c:pt idx="2133">
                  <c:v>153.36914782424361</c:v>
                </c:pt>
                <c:pt idx="2134">
                  <c:v>153.40203954384495</c:v>
                </c:pt>
                <c:pt idx="2135">
                  <c:v>153.43493831744141</c:v>
                </c:pt>
                <c:pt idx="2136">
                  <c:v>153.46784414654579</c:v>
                </c:pt>
                <c:pt idx="2137">
                  <c:v>153.5007570326712</c:v>
                </c:pt>
                <c:pt idx="2138">
                  <c:v>153.53367697733114</c:v>
                </c:pt>
                <c:pt idx="2139">
                  <c:v>153.56660398203934</c:v>
                </c:pt>
                <c:pt idx="2140">
                  <c:v>153.59953804830994</c:v>
                </c:pt>
                <c:pt idx="2141">
                  <c:v>153.63247917765736</c:v>
                </c:pt>
                <c:pt idx="2142">
                  <c:v>153.66542737159637</c:v>
                </c:pt>
                <c:pt idx="2143">
                  <c:v>153.69838263164203</c:v>
                </c:pt>
                <c:pt idx="2144">
                  <c:v>153.73134495930975</c:v>
                </c:pt>
                <c:pt idx="2145">
                  <c:v>153.76431435611525</c:v>
                </c:pt>
                <c:pt idx="2146">
                  <c:v>153.7972908235746</c:v>
                </c:pt>
                <c:pt idx="2147">
                  <c:v>153.83027436320418</c:v>
                </c:pt>
                <c:pt idx="2148">
                  <c:v>153.8632649765207</c:v>
                </c:pt>
                <c:pt idx="2149">
                  <c:v>153.89626266504118</c:v>
                </c:pt>
                <c:pt idx="2150">
                  <c:v>153.92926743028298</c:v>
                </c:pt>
                <c:pt idx="2151">
                  <c:v>153.96227927376378</c:v>
                </c:pt>
                <c:pt idx="2152">
                  <c:v>153.9952981970016</c:v>
                </c:pt>
                <c:pt idx="2153">
                  <c:v>154.02832420151475</c:v>
                </c:pt>
                <c:pt idx="2154">
                  <c:v>154.06135728882191</c:v>
                </c:pt>
                <c:pt idx="2155">
                  <c:v>154.09439746044205</c:v>
                </c:pt>
                <c:pt idx="2156">
                  <c:v>154.12744471789449</c:v>
                </c:pt>
                <c:pt idx="2157">
                  <c:v>154.16049906269885</c:v>
                </c:pt>
                <c:pt idx="2158">
                  <c:v>154.19356049637511</c:v>
                </c:pt>
                <c:pt idx="2159">
                  <c:v>154.22662902044354</c:v>
                </c:pt>
                <c:pt idx="2160">
                  <c:v>154.25970463642477</c:v>
                </c:pt>
                <c:pt idx="2161">
                  <c:v>154.29278734583971</c:v>
                </c:pt>
                <c:pt idx="2162">
                  <c:v>154.32587715020966</c:v>
                </c:pt>
                <c:pt idx="2163">
                  <c:v>154.35897405105621</c:v>
                </c:pt>
                <c:pt idx="2164">
                  <c:v>154.39207804990124</c:v>
                </c:pt>
                <c:pt idx="2165">
                  <c:v>154.42518914826704</c:v>
                </c:pt>
                <c:pt idx="2166">
                  <c:v>154.45830734767617</c:v>
                </c:pt>
                <c:pt idx="2167">
                  <c:v>154.4914326496515</c:v>
                </c:pt>
                <c:pt idx="2168">
                  <c:v>154.52456505571629</c:v>
                </c:pt>
                <c:pt idx="2169">
                  <c:v>154.55770456739407</c:v>
                </c:pt>
                <c:pt idx="2170">
                  <c:v>154.59085118620874</c:v>
                </c:pt>
                <c:pt idx="2171">
                  <c:v>154.62400491368447</c:v>
                </c:pt>
                <c:pt idx="2172">
                  <c:v>154.65716575134581</c:v>
                </c:pt>
                <c:pt idx="2173">
                  <c:v>154.69033370071764</c:v>
                </c:pt>
                <c:pt idx="2174">
                  <c:v>154.7235087633251</c:v>
                </c:pt>
                <c:pt idx="2175">
                  <c:v>154.75669094069374</c:v>
                </c:pt>
                <c:pt idx="2176">
                  <c:v>154.7898802343494</c:v>
                </c:pt>
                <c:pt idx="2177">
                  <c:v>154.82307664581822</c:v>
                </c:pt>
                <c:pt idx="2178">
                  <c:v>154.85628017662671</c:v>
                </c:pt>
                <c:pt idx="2179">
                  <c:v>154.88949082830169</c:v>
                </c:pt>
                <c:pt idx="2180">
                  <c:v>154.92270860237031</c:v>
                </c:pt>
                <c:pt idx="2181">
                  <c:v>154.95593350036003</c:v>
                </c:pt>
                <c:pt idx="2182">
                  <c:v>154.98916552379868</c:v>
                </c:pt>
                <c:pt idx="2183">
                  <c:v>155.02240467421436</c:v>
                </c:pt>
                <c:pt idx="2184">
                  <c:v>155.05565095313557</c:v>
                </c:pt>
                <c:pt idx="2185">
                  <c:v>155.08890436209106</c:v>
                </c:pt>
                <c:pt idx="2186">
                  <c:v>155.12216490260997</c:v>
                </c:pt>
                <c:pt idx="2187">
                  <c:v>155.15543257622173</c:v>
                </c:pt>
                <c:pt idx="2188">
                  <c:v>155.18870738445611</c:v>
                </c:pt>
                <c:pt idx="2189">
                  <c:v>155.22198932884322</c:v>
                </c:pt>
                <c:pt idx="2190">
                  <c:v>155.25527841091349</c:v>
                </c:pt>
                <c:pt idx="2191">
                  <c:v>155.28857463219768</c:v>
                </c:pt>
                <c:pt idx="2192">
                  <c:v>155.32187799422684</c:v>
                </c:pt>
                <c:pt idx="2193">
                  <c:v>155.35518849853241</c:v>
                </c:pt>
                <c:pt idx="2194">
                  <c:v>155.38850614664614</c:v>
                </c:pt>
                <c:pt idx="2195">
                  <c:v>155.42183094010008</c:v>
                </c:pt>
                <c:pt idx="2196">
                  <c:v>155.45516288042663</c:v>
                </c:pt>
                <c:pt idx="2197">
                  <c:v>155.48850196915851</c:v>
                </c:pt>
                <c:pt idx="2198">
                  <c:v>155.52184820782878</c:v>
                </c:pt>
                <c:pt idx="2199">
                  <c:v>155.55520159797084</c:v>
                </c:pt>
                <c:pt idx="2200">
                  <c:v>155.58856214111839</c:v>
                </c:pt>
                <c:pt idx="2201">
                  <c:v>155.62192983880547</c:v>
                </c:pt>
                <c:pt idx="2202">
                  <c:v>155.65530469256643</c:v>
                </c:pt>
                <c:pt idx="2203">
                  <c:v>155.68868670393601</c:v>
                </c:pt>
                <c:pt idx="2204">
                  <c:v>155.72207587444922</c:v>
                </c:pt>
                <c:pt idx="2205">
                  <c:v>155.75547220564141</c:v>
                </c:pt>
                <c:pt idx="2206">
                  <c:v>155.78887569904828</c:v>
                </c:pt>
                <c:pt idx="2207">
                  <c:v>155.82228635620584</c:v>
                </c:pt>
                <c:pt idx="2208">
                  <c:v>155.85570417865043</c:v>
                </c:pt>
                <c:pt idx="2209">
                  <c:v>155.88912916791872</c:v>
                </c:pt>
                <c:pt idx="2210">
                  <c:v>155.92256132554775</c:v>
                </c:pt>
                <c:pt idx="2211">
                  <c:v>155.95600065307482</c:v>
                </c:pt>
                <c:pt idx="2212">
                  <c:v>155.98944715203763</c:v>
                </c:pt>
                <c:pt idx="2213">
                  <c:v>156.02290082397414</c:v>
                </c:pt>
                <c:pt idx="2214">
                  <c:v>156.05636167042269</c:v>
                </c:pt>
                <c:pt idx="2215">
                  <c:v>156.08982969292194</c:v>
                </c:pt>
                <c:pt idx="2216">
                  <c:v>156.12330489301084</c:v>
                </c:pt>
                <c:pt idx="2217">
                  <c:v>156.15678727222874</c:v>
                </c:pt>
                <c:pt idx="2218">
                  <c:v>156.19027683211527</c:v>
                </c:pt>
                <c:pt idx="2219">
                  <c:v>156.22377357421041</c:v>
                </c:pt>
                <c:pt idx="2220">
                  <c:v>156.25727750005447</c:v>
                </c:pt>
                <c:pt idx="2221">
                  <c:v>156.29078861118805</c:v>
                </c:pt>
                <c:pt idx="2222">
                  <c:v>156.32430690915214</c:v>
                </c:pt>
                <c:pt idx="2223">
                  <c:v>156.35783239548806</c:v>
                </c:pt>
                <c:pt idx="2224">
                  <c:v>156.3913650717374</c:v>
                </c:pt>
                <c:pt idx="2225">
                  <c:v>156.42490493944211</c:v>
                </c:pt>
                <c:pt idx="2226">
                  <c:v>156.45845200014452</c:v>
                </c:pt>
                <c:pt idx="2227">
                  <c:v>156.49200625538722</c:v>
                </c:pt>
                <c:pt idx="2228">
                  <c:v>156.52556770671316</c:v>
                </c:pt>
                <c:pt idx="2229">
                  <c:v>156.55913635566563</c:v>
                </c:pt>
                <c:pt idx="2230">
                  <c:v>156.59271220378824</c:v>
                </c:pt>
                <c:pt idx="2231">
                  <c:v>156.62629525262491</c:v>
                </c:pt>
                <c:pt idx="2232">
                  <c:v>156.65988550371995</c:v>
                </c:pt>
                <c:pt idx="2233">
                  <c:v>156.69348295861795</c:v>
                </c:pt>
                <c:pt idx="2234">
                  <c:v>156.72708761886383</c:v>
                </c:pt>
                <c:pt idx="2235">
                  <c:v>156.76069948600286</c:v>
                </c:pt>
                <c:pt idx="2236">
                  <c:v>156.79431856158067</c:v>
                </c:pt>
                <c:pt idx="2237">
                  <c:v>156.82794484714316</c:v>
                </c:pt>
                <c:pt idx="2238">
                  <c:v>156.86157834423659</c:v>
                </c:pt>
                <c:pt idx="2239">
                  <c:v>156.89521905440756</c:v>
                </c:pt>
                <c:pt idx="2240">
                  <c:v>156.92886697920301</c:v>
                </c:pt>
                <c:pt idx="2241">
                  <c:v>156.96252212017018</c:v>
                </c:pt>
                <c:pt idx="2242">
                  <c:v>156.99618447885663</c:v>
                </c:pt>
                <c:pt idx="2243">
                  <c:v>157.02985405681034</c:v>
                </c:pt>
                <c:pt idx="2244">
                  <c:v>157.06353085557953</c:v>
                </c:pt>
                <c:pt idx="2245">
                  <c:v>157.09721487671277</c:v>
                </c:pt>
                <c:pt idx="2246">
                  <c:v>157.13090612175901</c:v>
                </c:pt>
                <c:pt idx="2247">
                  <c:v>157.16460459226747</c:v>
                </c:pt>
                <c:pt idx="2248">
                  <c:v>157.19831028978774</c:v>
                </c:pt>
                <c:pt idx="2249">
                  <c:v>157.23202321586973</c:v>
                </c:pt>
                <c:pt idx="2250">
                  <c:v>157.2657433720637</c:v>
                </c:pt>
                <c:pt idx="2251">
                  <c:v>157.29947075992021</c:v>
                </c:pt>
                <c:pt idx="2252">
                  <c:v>157.33320538099019</c:v>
                </c:pt>
                <c:pt idx="2253">
                  <c:v>157.36694723682487</c:v>
                </c:pt>
                <c:pt idx="2254">
                  <c:v>157.40069632897584</c:v>
                </c:pt>
                <c:pt idx="2255">
                  <c:v>157.43445265899499</c:v>
                </c:pt>
                <c:pt idx="2256">
                  <c:v>157.46821622843456</c:v>
                </c:pt>
                <c:pt idx="2257">
                  <c:v>157.50198703884712</c:v>
                </c:pt>
                <c:pt idx="2258">
                  <c:v>157.53576509178561</c:v>
                </c:pt>
                <c:pt idx="2259">
                  <c:v>157.56955038880324</c:v>
                </c:pt>
                <c:pt idx="2260">
                  <c:v>157.6033429314536</c:v>
                </c:pt>
                <c:pt idx="2261">
                  <c:v>157.63714272129059</c:v>
                </c:pt>
                <c:pt idx="2262">
                  <c:v>157.67094975986845</c:v>
                </c:pt>
                <c:pt idx="2263">
                  <c:v>157.70476404874174</c:v>
                </c:pt>
                <c:pt idx="2264">
                  <c:v>157.73858558946537</c:v>
                </c:pt>
                <c:pt idx="2265">
                  <c:v>157.77241438359459</c:v>
                </c:pt>
                <c:pt idx="2266">
                  <c:v>157.806250432685</c:v>
                </c:pt>
                <c:pt idx="2267">
                  <c:v>157.84009373829247</c:v>
                </c:pt>
                <c:pt idx="2268">
                  <c:v>157.87394430197324</c:v>
                </c:pt>
                <c:pt idx="2269">
                  <c:v>157.90780212528389</c:v>
                </c:pt>
                <c:pt idx="2270">
                  <c:v>157.94166720978134</c:v>
                </c:pt>
                <c:pt idx="2271">
                  <c:v>157.97553955702284</c:v>
                </c:pt>
                <c:pt idx="2272">
                  <c:v>158.00941916856596</c:v>
                </c:pt>
                <c:pt idx="2273">
                  <c:v>158.04330604596859</c:v>
                </c:pt>
                <c:pt idx="2274">
                  <c:v>158.07720019078897</c:v>
                </c:pt>
                <c:pt idx="2275">
                  <c:v>158.11110160458571</c:v>
                </c:pt>
                <c:pt idx="2276">
                  <c:v>158.14501028891772</c:v>
                </c:pt>
                <c:pt idx="2277">
                  <c:v>158.1789262453442</c:v>
                </c:pt>
                <c:pt idx="2278">
                  <c:v>158.21284947542478</c:v>
                </c:pt>
                <c:pt idx="2279">
                  <c:v>158.24677998071937</c:v>
                </c:pt>
                <c:pt idx="2280">
                  <c:v>158.28071776278821</c:v>
                </c:pt>
                <c:pt idx="2281">
                  <c:v>158.3146628231919</c:v>
                </c:pt>
                <c:pt idx="2282">
                  <c:v>158.34861516349133</c:v>
                </c:pt>
                <c:pt idx="2283">
                  <c:v>158.38257478524778</c:v>
                </c:pt>
                <c:pt idx="2284">
                  <c:v>158.41654169002283</c:v>
                </c:pt>
                <c:pt idx="2285">
                  <c:v>158.4505158793784</c:v>
                </c:pt>
                <c:pt idx="2286">
                  <c:v>158.48449735487677</c:v>
                </c:pt>
                <c:pt idx="2287">
                  <c:v>158.51848611808052</c:v>
                </c:pt>
                <c:pt idx="2288">
                  <c:v>158.55248217055257</c:v>
                </c:pt>
                <c:pt idx="2289">
                  <c:v>158.58648551385619</c:v>
                </c:pt>
                <c:pt idx="2290">
                  <c:v>158.62049614955498</c:v>
                </c:pt>
                <c:pt idx="2291">
                  <c:v>158.6545140792129</c:v>
                </c:pt>
                <c:pt idx="2292">
                  <c:v>158.6885393043942</c:v>
                </c:pt>
                <c:pt idx="2293">
                  <c:v>158.72257182666348</c:v>
                </c:pt>
                <c:pt idx="2294">
                  <c:v>158.75661164758569</c:v>
                </c:pt>
                <c:pt idx="2295">
                  <c:v>158.7906587687261</c:v>
                </c:pt>
                <c:pt idx="2296">
                  <c:v>158.82471319165032</c:v>
                </c:pt>
                <c:pt idx="2297">
                  <c:v>158.85877491792431</c:v>
                </c:pt>
                <c:pt idx="2298">
                  <c:v>158.89284394911436</c:v>
                </c:pt>
                <c:pt idx="2299">
                  <c:v>158.92692028678709</c:v>
                </c:pt>
                <c:pt idx="2300">
                  <c:v>158.96100393250944</c:v>
                </c:pt>
                <c:pt idx="2301">
                  <c:v>158.99509488784869</c:v>
                </c:pt>
                <c:pt idx="2302">
                  <c:v>159.02919315437251</c:v>
                </c:pt>
                <c:pt idx="2303">
                  <c:v>159.06329873364885</c:v>
                </c:pt>
                <c:pt idx="2304">
                  <c:v>159.097411627246</c:v>
                </c:pt>
                <c:pt idx="2305">
                  <c:v>159.13153183673259</c:v>
                </c:pt>
                <c:pt idx="2306">
                  <c:v>159.16565936367761</c:v>
                </c:pt>
                <c:pt idx="2307">
                  <c:v>159.19979420965038</c:v>
                </c:pt>
                <c:pt idx="2308">
                  <c:v>159.23393637622053</c:v>
                </c:pt>
                <c:pt idx="2309">
                  <c:v>159.26808586495804</c:v>
                </c:pt>
                <c:pt idx="2310">
                  <c:v>159.30224267743324</c:v>
                </c:pt>
                <c:pt idx="2311">
                  <c:v>159.33640681521678</c:v>
                </c:pt>
                <c:pt idx="2312">
                  <c:v>159.37057827987965</c:v>
                </c:pt>
                <c:pt idx="2313">
                  <c:v>159.40475707299322</c:v>
                </c:pt>
                <c:pt idx="2314">
                  <c:v>159.43894319612912</c:v>
                </c:pt>
                <c:pt idx="2315">
                  <c:v>159.47313665085935</c:v>
                </c:pt>
                <c:pt idx="2316">
                  <c:v>159.50733743875625</c:v>
                </c:pt>
                <c:pt idx="2317">
                  <c:v>159.54154556139252</c:v>
                </c:pt>
                <c:pt idx="2318">
                  <c:v>159.57576102034119</c:v>
                </c:pt>
                <c:pt idx="2319">
                  <c:v>159.60998381717559</c:v>
                </c:pt>
                <c:pt idx="2320">
                  <c:v>159.6442139534694</c:v>
                </c:pt>
                <c:pt idx="2321">
                  <c:v>159.67845143079668</c:v>
                </c:pt>
                <c:pt idx="2322">
                  <c:v>159.71269625073177</c:v>
                </c:pt>
                <c:pt idx="2323">
                  <c:v>159.74694841484938</c:v>
                </c:pt>
                <c:pt idx="2324">
                  <c:v>159.78120792472455</c:v>
                </c:pt>
                <c:pt idx="2325">
                  <c:v>159.81547478193269</c:v>
                </c:pt>
                <c:pt idx="2326">
                  <c:v>159.84974898804947</c:v>
                </c:pt>
                <c:pt idx="2327">
                  <c:v>159.88403054465098</c:v>
                </c:pt>
                <c:pt idx="2328">
                  <c:v>159.91831945331359</c:v>
                </c:pt>
                <c:pt idx="2329">
                  <c:v>159.95261571561403</c:v>
                </c:pt>
                <c:pt idx="2330">
                  <c:v>159.98691933312941</c:v>
                </c:pt>
                <c:pt idx="2331">
                  <c:v>160.02123030743709</c:v>
                </c:pt>
                <c:pt idx="2332">
                  <c:v>160.05554864011484</c:v>
                </c:pt>
                <c:pt idx="2333">
                  <c:v>160.08987433274075</c:v>
                </c:pt>
                <c:pt idx="2334">
                  <c:v>160.12420738689323</c:v>
                </c:pt>
                <c:pt idx="2335">
                  <c:v>160.15854780415103</c:v>
                </c:pt>
                <c:pt idx="2336">
                  <c:v>160.19289558609327</c:v>
                </c:pt>
                <c:pt idx="2337">
                  <c:v>160.22725073429939</c:v>
                </c:pt>
                <c:pt idx="2338">
                  <c:v>160.26161325034914</c:v>
                </c:pt>
                <c:pt idx="2339">
                  <c:v>160.29598313582267</c:v>
                </c:pt>
                <c:pt idx="2340">
                  <c:v>160.33036039230041</c:v>
                </c:pt>
                <c:pt idx="2341">
                  <c:v>160.36474502136315</c:v>
                </c:pt>
                <c:pt idx="2342">
                  <c:v>160.39913702459205</c:v>
                </c:pt>
                <c:pt idx="2343">
                  <c:v>160.43353640356858</c:v>
                </c:pt>
                <c:pt idx="2344">
                  <c:v>160.46794315987452</c:v>
                </c:pt>
                <c:pt idx="2345">
                  <c:v>160.50235729509205</c:v>
                </c:pt>
                <c:pt idx="2346">
                  <c:v>160.53677881080364</c:v>
                </c:pt>
                <c:pt idx="2347">
                  <c:v>160.57120770859214</c:v>
                </c:pt>
                <c:pt idx="2348">
                  <c:v>160.6056439900407</c:v>
                </c:pt>
                <c:pt idx="2349">
                  <c:v>160.64008765673285</c:v>
                </c:pt>
                <c:pt idx="2350">
                  <c:v>160.67453871025239</c:v>
                </c:pt>
                <c:pt idx="2351">
                  <c:v>160.70899715218357</c:v>
                </c:pt>
                <c:pt idx="2352">
                  <c:v>160.74346298411086</c:v>
                </c:pt>
                <c:pt idx="2353">
                  <c:v>160.77793620761918</c:v>
                </c:pt>
                <c:pt idx="2354">
                  <c:v>160.81241682429371</c:v>
                </c:pt>
                <c:pt idx="2355">
                  <c:v>160.84690483571998</c:v>
                </c:pt>
                <c:pt idx="2356">
                  <c:v>160.88140024348391</c:v>
                </c:pt>
                <c:pt idx="2357">
                  <c:v>160.9159030491717</c:v>
                </c:pt>
                <c:pt idx="2358">
                  <c:v>160.95041325436992</c:v>
                </c:pt>
                <c:pt idx="2359">
                  <c:v>160.98493086066549</c:v>
                </c:pt>
                <c:pt idx="2360">
                  <c:v>161.01945586964564</c:v>
                </c:pt>
                <c:pt idx="2361">
                  <c:v>161.05398828289799</c:v>
                </c:pt>
                <c:pt idx="2362">
                  <c:v>161.08852810201043</c:v>
                </c:pt>
                <c:pt idx="2363">
                  <c:v>161.12307532857125</c:v>
                </c:pt>
                <c:pt idx="2364">
                  <c:v>161.15762996416908</c:v>
                </c:pt>
                <c:pt idx="2365">
                  <c:v>161.19219201039283</c:v>
                </c:pt>
                <c:pt idx="2366">
                  <c:v>161.22676146883182</c:v>
                </c:pt>
                <c:pt idx="2367">
                  <c:v>161.26133834107569</c:v>
                </c:pt>
                <c:pt idx="2368">
                  <c:v>161.29592262871438</c:v>
                </c:pt>
                <c:pt idx="2369">
                  <c:v>161.33051433333821</c:v>
                </c:pt>
                <c:pt idx="2370">
                  <c:v>161.36511345653784</c:v>
                </c:pt>
                <c:pt idx="2371">
                  <c:v>161.39971999990428</c:v>
                </c:pt>
                <c:pt idx="2372">
                  <c:v>161.43433396502886</c:v>
                </c:pt>
                <c:pt idx="2373">
                  <c:v>161.46895535350325</c:v>
                </c:pt>
                <c:pt idx="2374">
                  <c:v>161.50358416691947</c:v>
                </c:pt>
                <c:pt idx="2375">
                  <c:v>161.5382204068699</c:v>
                </c:pt>
                <c:pt idx="2376">
                  <c:v>161.5728640749472</c:v>
                </c:pt>
                <c:pt idx="2377">
                  <c:v>161.60751517274446</c:v>
                </c:pt>
                <c:pt idx="2378">
                  <c:v>161.64217370185506</c:v>
                </c:pt>
                <c:pt idx="2379">
                  <c:v>161.6768396638727</c:v>
                </c:pt>
                <c:pt idx="2380">
                  <c:v>161.71151306039147</c:v>
                </c:pt>
                <c:pt idx="2381">
                  <c:v>161.7461938930058</c:v>
                </c:pt>
                <c:pt idx="2382">
                  <c:v>161.78088216331039</c:v>
                </c:pt>
                <c:pt idx="2383">
                  <c:v>161.81557787290038</c:v>
                </c:pt>
                <c:pt idx="2384">
                  <c:v>161.8502810233712</c:v>
                </c:pt>
                <c:pt idx="2385">
                  <c:v>161.88499161631862</c:v>
                </c:pt>
                <c:pt idx="2386">
                  <c:v>161.91970965333877</c:v>
                </c:pt>
                <c:pt idx="2387">
                  <c:v>161.95443513602811</c:v>
                </c:pt>
                <c:pt idx="2388">
                  <c:v>161.98916806598345</c:v>
                </c:pt>
                <c:pt idx="2389">
                  <c:v>162.02390844480195</c:v>
                </c:pt>
                <c:pt idx="2390">
                  <c:v>162.05865627408107</c:v>
                </c:pt>
                <c:pt idx="2391">
                  <c:v>162.09341155541867</c:v>
                </c:pt>
                <c:pt idx="2392">
                  <c:v>162.12817429041291</c:v>
                </c:pt>
                <c:pt idx="2393">
                  <c:v>162.16294448066233</c:v>
                </c:pt>
                <c:pt idx="2394">
                  <c:v>162.19772212776579</c:v>
                </c:pt>
                <c:pt idx="2395">
                  <c:v>162.23250723332248</c:v>
                </c:pt>
                <c:pt idx="2396">
                  <c:v>162.26729979893196</c:v>
                </c:pt>
                <c:pt idx="2397">
                  <c:v>162.30209982619411</c:v>
                </c:pt>
                <c:pt idx="2398">
                  <c:v>162.33690731670916</c:v>
                </c:pt>
                <c:pt idx="2399">
                  <c:v>162.3717222720777</c:v>
                </c:pt>
                <c:pt idx="2400">
                  <c:v>162.40654469390066</c:v>
                </c:pt>
                <c:pt idx="2401">
                  <c:v>159.8473503243556</c:v>
                </c:pt>
                <c:pt idx="2402">
                  <c:v>159.88163136653699</c:v>
                </c:pt>
                <c:pt idx="2403">
                  <c:v>159.91591976066917</c:v>
                </c:pt>
                <c:pt idx="2404">
                  <c:v>159.95021550832885</c:v>
                </c:pt>
                <c:pt idx="2405">
                  <c:v>159.98451861109308</c:v>
                </c:pt>
                <c:pt idx="2406">
                  <c:v>160.01882907053923</c:v>
                </c:pt>
                <c:pt idx="2407">
                  <c:v>160.05314688824501</c:v>
                </c:pt>
                <c:pt idx="2408">
                  <c:v>160.08747206578852</c:v>
                </c:pt>
                <c:pt idx="2409">
                  <c:v>160.12180460474812</c:v>
                </c:pt>
                <c:pt idx="2410">
                  <c:v>160.15614450670256</c:v>
                </c:pt>
                <c:pt idx="2411">
                  <c:v>160.19049177323092</c:v>
                </c:pt>
                <c:pt idx="2412">
                  <c:v>160.22484640591261</c:v>
                </c:pt>
                <c:pt idx="2413">
                  <c:v>160.25920840632742</c:v>
                </c:pt>
                <c:pt idx="2414">
                  <c:v>160.2935777760554</c:v>
                </c:pt>
                <c:pt idx="2415">
                  <c:v>160.32795451667698</c:v>
                </c:pt>
                <c:pt idx="2416">
                  <c:v>160.36233862977295</c:v>
                </c:pt>
                <c:pt idx="2417">
                  <c:v>160.3967301169244</c:v>
                </c:pt>
                <c:pt idx="2418">
                  <c:v>160.43112897971281</c:v>
                </c:pt>
                <c:pt idx="2419">
                  <c:v>160.46553521971992</c:v>
                </c:pt>
                <c:pt idx="2420">
                  <c:v>160.4999488385279</c:v>
                </c:pt>
                <c:pt idx="2421">
                  <c:v>160.5343698377192</c:v>
                </c:pt>
                <c:pt idx="2422">
                  <c:v>160.56879821887662</c:v>
                </c:pt>
                <c:pt idx="2423">
                  <c:v>160.60323398358332</c:v>
                </c:pt>
                <c:pt idx="2424">
                  <c:v>160.63767713342276</c:v>
                </c:pt>
                <c:pt idx="2425">
                  <c:v>160.67212766997878</c:v>
                </c:pt>
                <c:pt idx="2426">
                  <c:v>160.70658559483553</c:v>
                </c:pt>
                <c:pt idx="2427">
                  <c:v>160.74105090957752</c:v>
                </c:pt>
                <c:pt idx="2428">
                  <c:v>160.77552361578961</c:v>
                </c:pt>
                <c:pt idx="2429">
                  <c:v>160.81000371505698</c:v>
                </c:pt>
                <c:pt idx="2430">
                  <c:v>160.84449120896514</c:v>
                </c:pt>
                <c:pt idx="2431">
                  <c:v>160.87898609909996</c:v>
                </c:pt>
                <c:pt idx="2432">
                  <c:v>160.91348838704764</c:v>
                </c:pt>
                <c:pt idx="2433">
                  <c:v>160.94799807439472</c:v>
                </c:pt>
                <c:pt idx="2434">
                  <c:v>160.98251516272808</c:v>
                </c:pt>
                <c:pt idx="2435">
                  <c:v>161.01703965363495</c:v>
                </c:pt>
                <c:pt idx="2436">
                  <c:v>161.0515715487029</c:v>
                </c:pt>
                <c:pt idx="2437">
                  <c:v>161.08611084951983</c:v>
                </c:pt>
                <c:pt idx="2438">
                  <c:v>161.12065755767398</c:v>
                </c:pt>
                <c:pt idx="2439">
                  <c:v>161.15521167475393</c:v>
                </c:pt>
                <c:pt idx="2440">
                  <c:v>161.18977320234862</c:v>
                </c:pt>
                <c:pt idx="2441">
                  <c:v>161.22434214204731</c:v>
                </c:pt>
                <c:pt idx="2442">
                  <c:v>161.25891849543962</c:v>
                </c:pt>
                <c:pt idx="2443">
                  <c:v>161.29350226411549</c:v>
                </c:pt>
                <c:pt idx="2444">
                  <c:v>161.3280934496652</c:v>
                </c:pt>
                <c:pt idx="2445">
                  <c:v>161.36269205367941</c:v>
                </c:pt>
                <c:pt idx="2446">
                  <c:v>161.39729807774907</c:v>
                </c:pt>
                <c:pt idx="2447">
                  <c:v>161.43191152346549</c:v>
                </c:pt>
                <c:pt idx="2448">
                  <c:v>161.46653239242033</c:v>
                </c:pt>
                <c:pt idx="2449">
                  <c:v>161.50116068620559</c:v>
                </c:pt>
                <c:pt idx="2450">
                  <c:v>161.53579640641362</c:v>
                </c:pt>
                <c:pt idx="2451">
                  <c:v>161.57043955463709</c:v>
                </c:pt>
                <c:pt idx="2452">
                  <c:v>161.605090132469</c:v>
                </c:pt>
                <c:pt idx="2453">
                  <c:v>161.63974814150274</c:v>
                </c:pt>
                <c:pt idx="2454">
                  <c:v>161.67441358333198</c:v>
                </c:pt>
                <c:pt idx="2455">
                  <c:v>161.7090864595508</c:v>
                </c:pt>
                <c:pt idx="2456">
                  <c:v>161.74376677175357</c:v>
                </c:pt>
                <c:pt idx="2457">
                  <c:v>161.77845452153502</c:v>
                </c:pt>
                <c:pt idx="2458">
                  <c:v>161.81314971049025</c:v>
                </c:pt>
                <c:pt idx="2459">
                  <c:v>161.84785234021464</c:v>
                </c:pt>
                <c:pt idx="2460">
                  <c:v>161.88256241230394</c:v>
                </c:pt>
                <c:pt idx="2461">
                  <c:v>161.91727992835428</c:v>
                </c:pt>
                <c:pt idx="2462">
                  <c:v>161.95200488996207</c:v>
                </c:pt>
                <c:pt idx="2463">
                  <c:v>161.98673729872411</c:v>
                </c:pt>
                <c:pt idx="2464">
                  <c:v>162.02147715623752</c:v>
                </c:pt>
                <c:pt idx="2465">
                  <c:v>162.05622446409978</c:v>
                </c:pt>
                <c:pt idx="2466">
                  <c:v>162.09097922390868</c:v>
                </c:pt>
                <c:pt idx="2467">
                  <c:v>162.12574143726238</c:v>
                </c:pt>
                <c:pt idx="2468">
                  <c:v>162.16051110575938</c:v>
                </c:pt>
                <c:pt idx="2469">
                  <c:v>162.1952882309985</c:v>
                </c:pt>
                <c:pt idx="2470">
                  <c:v>162.23007281457896</c:v>
                </c:pt>
                <c:pt idx="2471">
                  <c:v>162.26486485810025</c:v>
                </c:pt>
                <c:pt idx="2472">
                  <c:v>162.29966436316224</c:v>
                </c:pt>
                <c:pt idx="2473">
                  <c:v>162.33447133136514</c:v>
                </c:pt>
                <c:pt idx="2474">
                  <c:v>162.36928576430952</c:v>
                </c:pt>
                <c:pt idx="2475">
                  <c:v>162.40410766359628</c:v>
                </c:pt>
                <c:pt idx="2476">
                  <c:v>162.43893703082665</c:v>
                </c:pt>
                <c:pt idx="2477">
                  <c:v>162.4737738676022</c:v>
                </c:pt>
                <c:pt idx="2478">
                  <c:v>162.50861817552487</c:v>
                </c:pt>
                <c:pt idx="2479">
                  <c:v>162.54346995619693</c:v>
                </c:pt>
                <c:pt idx="2480">
                  <c:v>162.57832921122099</c:v>
                </c:pt>
                <c:pt idx="2481">
                  <c:v>162.61319594220004</c:v>
                </c:pt>
                <c:pt idx="2482">
                  <c:v>162.64807015073734</c:v>
                </c:pt>
                <c:pt idx="2483">
                  <c:v>162.68295183843654</c:v>
                </c:pt>
                <c:pt idx="2484">
                  <c:v>162.71784100690164</c:v>
                </c:pt>
                <c:pt idx="2485">
                  <c:v>162.75273765773699</c:v>
                </c:pt>
                <c:pt idx="2486">
                  <c:v>162.78764179254725</c:v>
                </c:pt>
                <c:pt idx="2487">
                  <c:v>162.82255341293742</c:v>
                </c:pt>
                <c:pt idx="2488">
                  <c:v>162.85747252051291</c:v>
                </c:pt>
                <c:pt idx="2489">
                  <c:v>162.8923991168794</c:v>
                </c:pt>
                <c:pt idx="2490">
                  <c:v>162.92733320364295</c:v>
                </c:pt>
                <c:pt idx="2491">
                  <c:v>162.96227478240996</c:v>
                </c:pt>
                <c:pt idx="2492">
                  <c:v>162.99722385478717</c:v>
                </c:pt>
                <c:pt idx="2493">
                  <c:v>163.03218042238169</c:v>
                </c:pt>
                <c:pt idx="2494">
                  <c:v>163.06714448680091</c:v>
                </c:pt>
                <c:pt idx="2495">
                  <c:v>163.10211604965266</c:v>
                </c:pt>
                <c:pt idx="2496">
                  <c:v>163.13709511254504</c:v>
                </c:pt>
                <c:pt idx="2497">
                  <c:v>163.17208167708648</c:v>
                </c:pt>
                <c:pt idx="2498">
                  <c:v>163.20707574488583</c:v>
                </c:pt>
                <c:pt idx="2499">
                  <c:v>163.24207731755226</c:v>
                </c:pt>
                <c:pt idx="2500">
                  <c:v>163.27708639669524</c:v>
                </c:pt>
                <c:pt idx="2501">
                  <c:v>163.31210298392463</c:v>
                </c:pt>
                <c:pt idx="2502">
                  <c:v>163.34712708085064</c:v>
                </c:pt>
                <c:pt idx="2503">
                  <c:v>163.38215868908378</c:v>
                </c:pt>
                <c:pt idx="2504">
                  <c:v>163.41719781023494</c:v>
                </c:pt>
                <c:pt idx="2505">
                  <c:v>163.45224444591537</c:v>
                </c:pt>
                <c:pt idx="2506">
                  <c:v>163.48729859773661</c:v>
                </c:pt>
                <c:pt idx="2507">
                  <c:v>163.5223602673106</c:v>
                </c:pt>
                <c:pt idx="2508">
                  <c:v>163.55742945624962</c:v>
                </c:pt>
                <c:pt idx="2509">
                  <c:v>163.59250616616626</c:v>
                </c:pt>
                <c:pt idx="2510">
                  <c:v>163.62759039867348</c:v>
                </c:pt>
                <c:pt idx="2511">
                  <c:v>163.66268215538457</c:v>
                </c:pt>
                <c:pt idx="2512">
                  <c:v>163.69778143791322</c:v>
                </c:pt>
                <c:pt idx="2513">
                  <c:v>163.7328882478734</c:v>
                </c:pt>
                <c:pt idx="2514">
                  <c:v>163.76800258687945</c:v>
                </c:pt>
                <c:pt idx="2515">
                  <c:v>163.80312445654604</c:v>
                </c:pt>
                <c:pt idx="2516">
                  <c:v>163.83825385848823</c:v>
                </c:pt>
                <c:pt idx="2517">
                  <c:v>163.87339079432141</c:v>
                </c:pt>
                <c:pt idx="2518">
                  <c:v>163.90853526566127</c:v>
                </c:pt>
                <c:pt idx="2519">
                  <c:v>163.9436872741239</c:v>
                </c:pt>
                <c:pt idx="2520">
                  <c:v>163.97884682132573</c:v>
                </c:pt>
                <c:pt idx="2521">
                  <c:v>164.01401390888353</c:v>
                </c:pt>
                <c:pt idx="2522">
                  <c:v>164.0491885384144</c:v>
                </c:pt>
                <c:pt idx="2523">
                  <c:v>164.0843707115358</c:v>
                </c:pt>
                <c:pt idx="2524">
                  <c:v>164.11956042986554</c:v>
                </c:pt>
                <c:pt idx="2525">
                  <c:v>164.15475769502177</c:v>
                </c:pt>
                <c:pt idx="2526">
                  <c:v>164.18996250862301</c:v>
                </c:pt>
                <c:pt idx="2527">
                  <c:v>164.22517487228808</c:v>
                </c:pt>
                <c:pt idx="2528">
                  <c:v>164.26039478763619</c:v>
                </c:pt>
                <c:pt idx="2529">
                  <c:v>164.29562225628689</c:v>
                </c:pt>
                <c:pt idx="2530">
                  <c:v>164.33085727986006</c:v>
                </c:pt>
                <c:pt idx="2531">
                  <c:v>164.36609985997592</c:v>
                </c:pt>
                <c:pt idx="2532">
                  <c:v>164.40134999825509</c:v>
                </c:pt>
                <c:pt idx="2533">
                  <c:v>164.43660769631848</c:v>
                </c:pt>
                <c:pt idx="2534">
                  <c:v>164.47187295578738</c:v>
                </c:pt>
                <c:pt idx="2535">
                  <c:v>164.50714577828339</c:v>
                </c:pt>
                <c:pt idx="2536">
                  <c:v>164.54242616542851</c:v>
                </c:pt>
                <c:pt idx="2537">
                  <c:v>164.57771411884508</c:v>
                </c:pt>
                <c:pt idx="2538">
                  <c:v>164.61300964015575</c:v>
                </c:pt>
                <c:pt idx="2539">
                  <c:v>164.64831273098352</c:v>
                </c:pt>
                <c:pt idx="2540">
                  <c:v>164.68362339295177</c:v>
                </c:pt>
                <c:pt idx="2541">
                  <c:v>164.71894162768425</c:v>
                </c:pt>
                <c:pt idx="2542">
                  <c:v>164.75426743680498</c:v>
                </c:pt>
                <c:pt idx="2543">
                  <c:v>164.78960082193839</c:v>
                </c:pt>
                <c:pt idx="2544">
                  <c:v>164.82494178470924</c:v>
                </c:pt>
                <c:pt idx="2545">
                  <c:v>164.86029032674264</c:v>
                </c:pt>
                <c:pt idx="2546">
                  <c:v>164.89564644966404</c:v>
                </c:pt>
                <c:pt idx="2547">
                  <c:v>164.93101015509924</c:v>
                </c:pt>
                <c:pt idx="2548">
                  <c:v>164.96638144467443</c:v>
                </c:pt>
                <c:pt idx="2549">
                  <c:v>165.00176032001607</c:v>
                </c:pt>
                <c:pt idx="2550">
                  <c:v>165.03714678275102</c:v>
                </c:pt>
                <c:pt idx="2551">
                  <c:v>165.0725408345065</c:v>
                </c:pt>
                <c:pt idx="2552">
                  <c:v>165.10794247691004</c:v>
                </c:pt>
                <c:pt idx="2553">
                  <c:v>165.14335171158956</c:v>
                </c:pt>
                <c:pt idx="2554">
                  <c:v>165.17876854017331</c:v>
                </c:pt>
                <c:pt idx="2555">
                  <c:v>165.21419296428985</c:v>
                </c:pt>
                <c:pt idx="2556">
                  <c:v>165.24962498556818</c:v>
                </c:pt>
                <c:pt idx="2557">
                  <c:v>165.28506460563753</c:v>
                </c:pt>
                <c:pt idx="2558">
                  <c:v>165.32051182612759</c:v>
                </c:pt>
                <c:pt idx="2559">
                  <c:v>165.35596664866836</c:v>
                </c:pt>
                <c:pt idx="2560">
                  <c:v>165.39142907489017</c:v>
                </c:pt>
                <c:pt idx="2561">
                  <c:v>165.42689910642372</c:v>
                </c:pt>
                <c:pt idx="2562">
                  <c:v>165.46237674490004</c:v>
                </c:pt>
                <c:pt idx="2563">
                  <c:v>165.49786199195054</c:v>
                </c:pt>
                <c:pt idx="2564">
                  <c:v>165.53335484920694</c:v>
                </c:pt>
                <c:pt idx="2565">
                  <c:v>165.56885531830136</c:v>
                </c:pt>
                <c:pt idx="2566">
                  <c:v>165.60436340086622</c:v>
                </c:pt>
                <c:pt idx="2567">
                  <c:v>165.63987909853432</c:v>
                </c:pt>
                <c:pt idx="2568">
                  <c:v>165.67540241293881</c:v>
                </c:pt>
                <c:pt idx="2569">
                  <c:v>165.71093334571319</c:v>
                </c:pt>
                <c:pt idx="2570">
                  <c:v>165.74647189849131</c:v>
                </c:pt>
                <c:pt idx="2571">
                  <c:v>165.78201807290733</c:v>
                </c:pt>
                <c:pt idx="2572">
                  <c:v>165.81757187059583</c:v>
                </c:pt>
                <c:pt idx="2573">
                  <c:v>165.85313329319169</c:v>
                </c:pt>
                <c:pt idx="2574">
                  <c:v>165.88870234233016</c:v>
                </c:pt>
                <c:pt idx="2575">
                  <c:v>165.92427901964683</c:v>
                </c:pt>
                <c:pt idx="2576">
                  <c:v>165.95986332677765</c:v>
                </c:pt>
                <c:pt idx="2577">
                  <c:v>165.99545526535891</c:v>
                </c:pt>
                <c:pt idx="2578">
                  <c:v>166.03105483702728</c:v>
                </c:pt>
                <c:pt idx="2579">
                  <c:v>166.06666204341977</c:v>
                </c:pt>
                <c:pt idx="2580">
                  <c:v>166.10227688617368</c:v>
                </c:pt>
                <c:pt idx="2581">
                  <c:v>166.13789936692677</c:v>
                </c:pt>
                <c:pt idx="2582">
                  <c:v>166.17352948731707</c:v>
                </c:pt>
                <c:pt idx="2583">
                  <c:v>166.20916724898296</c:v>
                </c:pt>
                <c:pt idx="2584">
                  <c:v>166.24481265356323</c:v>
                </c:pt>
                <c:pt idx="2585">
                  <c:v>166.280465702697</c:v>
                </c:pt>
                <c:pt idx="2586">
                  <c:v>166.3161263980237</c:v>
                </c:pt>
                <c:pt idx="2587">
                  <c:v>166.35179474118314</c:v>
                </c:pt>
                <c:pt idx="2588">
                  <c:v>166.38747073381549</c:v>
                </c:pt>
                <c:pt idx="2589">
                  <c:v>166.42315437756127</c:v>
                </c:pt>
                <c:pt idx="2590">
                  <c:v>166.45884567406137</c:v>
                </c:pt>
                <c:pt idx="2591">
                  <c:v>166.49454462495694</c:v>
                </c:pt>
                <c:pt idx="2592">
                  <c:v>166.53025123188962</c:v>
                </c:pt>
                <c:pt idx="2593">
                  <c:v>166.56596549650129</c:v>
                </c:pt>
                <c:pt idx="2594">
                  <c:v>166.60168742043425</c:v>
                </c:pt>
                <c:pt idx="2595">
                  <c:v>166.63741700533112</c:v>
                </c:pt>
                <c:pt idx="2596">
                  <c:v>166.67315425283485</c:v>
                </c:pt>
                <c:pt idx="2597">
                  <c:v>166.70889916458881</c:v>
                </c:pt>
                <c:pt idx="2598">
                  <c:v>166.74465174223667</c:v>
                </c:pt>
                <c:pt idx="2599">
                  <c:v>166.78041198742247</c:v>
                </c:pt>
                <c:pt idx="2600">
                  <c:v>166.81617990179058</c:v>
                </c:pt>
                <c:pt idx="2601">
                  <c:v>166.85195548698576</c:v>
                </c:pt>
                <c:pt idx="2602">
                  <c:v>166.88773874465309</c:v>
                </c:pt>
                <c:pt idx="2603">
                  <c:v>166.92352967643805</c:v>
                </c:pt>
                <c:pt idx="2604">
                  <c:v>166.95932828398639</c:v>
                </c:pt>
                <c:pt idx="2605">
                  <c:v>166.99513456894431</c:v>
                </c:pt>
                <c:pt idx="2606">
                  <c:v>167.03094853295829</c:v>
                </c:pt>
                <c:pt idx="2607">
                  <c:v>167.06677017767518</c:v>
                </c:pt>
                <c:pt idx="2608">
                  <c:v>167.10259950474222</c:v>
                </c:pt>
                <c:pt idx="2609">
                  <c:v>167.13843651580694</c:v>
                </c:pt>
                <c:pt idx="2610">
                  <c:v>167.17428121251731</c:v>
                </c:pt>
                <c:pt idx="2611">
                  <c:v>167.21013359652156</c:v>
                </c:pt>
                <c:pt idx="2612">
                  <c:v>167.24599366946833</c:v>
                </c:pt>
                <c:pt idx="2613">
                  <c:v>167.28186143300661</c:v>
                </c:pt>
                <c:pt idx="2614">
                  <c:v>167.3177368887857</c:v>
                </c:pt>
                <c:pt idx="2615">
                  <c:v>167.35362003845532</c:v>
                </c:pt>
                <c:pt idx="2616">
                  <c:v>167.38951088366548</c:v>
                </c:pt>
                <c:pt idx="2617">
                  <c:v>167.42540942606661</c:v>
                </c:pt>
                <c:pt idx="2618">
                  <c:v>167.46131566730944</c:v>
                </c:pt>
                <c:pt idx="2619">
                  <c:v>167.49722960904506</c:v>
                </c:pt>
                <c:pt idx="2620">
                  <c:v>167.53315125292494</c:v>
                </c:pt>
                <c:pt idx="2621">
                  <c:v>167.5690806006009</c:v>
                </c:pt>
                <c:pt idx="2622">
                  <c:v>167.6050176537251</c:v>
                </c:pt>
                <c:pt idx="2623">
                  <c:v>167.64096241395004</c:v>
                </c:pt>
                <c:pt idx="2624">
                  <c:v>167.6769148829286</c:v>
                </c:pt>
                <c:pt idx="2625">
                  <c:v>167.71287506231403</c:v>
                </c:pt>
                <c:pt idx="2626">
                  <c:v>167.74884295375989</c:v>
                </c:pt>
                <c:pt idx="2627">
                  <c:v>167.78481855892014</c:v>
                </c:pt>
                <c:pt idx="2628">
                  <c:v>167.82080187944902</c:v>
                </c:pt>
                <c:pt idx="2629">
                  <c:v>167.85679291700123</c:v>
                </c:pt>
                <c:pt idx="2630">
                  <c:v>167.89279167323176</c:v>
                </c:pt>
                <c:pt idx="2631">
                  <c:v>167.92879814979594</c:v>
                </c:pt>
                <c:pt idx="2632">
                  <c:v>167.96481234834951</c:v>
                </c:pt>
                <c:pt idx="2633">
                  <c:v>168.00083427054852</c:v>
                </c:pt>
                <c:pt idx="2634">
                  <c:v>168.03686391804942</c:v>
                </c:pt>
                <c:pt idx="2635">
                  <c:v>168.07290129250896</c:v>
                </c:pt>
                <c:pt idx="2636">
                  <c:v>168.10894639558427</c:v>
                </c:pt>
                <c:pt idx="2637">
                  <c:v>168.14499922893285</c:v>
                </c:pt>
                <c:pt idx="2638">
                  <c:v>168.18105979421253</c:v>
                </c:pt>
                <c:pt idx="2639">
                  <c:v>168.21712809308153</c:v>
                </c:pt>
                <c:pt idx="2640">
                  <c:v>168.25320412719839</c:v>
                </c:pt>
                <c:pt idx="2641">
                  <c:v>167.46643210916088</c:v>
                </c:pt>
                <c:pt idx="2642">
                  <c:v>167.50234714817438</c:v>
                </c:pt>
                <c:pt idx="2643">
                  <c:v>167.53826988956746</c:v>
                </c:pt>
                <c:pt idx="2644">
                  <c:v>167.57420033499199</c:v>
                </c:pt>
                <c:pt idx="2645">
                  <c:v>167.61013848610017</c:v>
                </c:pt>
                <c:pt idx="2646">
                  <c:v>167.64608434454456</c:v>
                </c:pt>
                <c:pt idx="2647">
                  <c:v>167.68203791197811</c:v>
                </c:pt>
                <c:pt idx="2648">
                  <c:v>167.71799919005409</c:v>
                </c:pt>
                <c:pt idx="2649">
                  <c:v>167.75396818042614</c:v>
                </c:pt>
                <c:pt idx="2650">
                  <c:v>167.78994488474825</c:v>
                </c:pt>
                <c:pt idx="2651">
                  <c:v>167.82592930467473</c:v>
                </c:pt>
                <c:pt idx="2652">
                  <c:v>167.86192144186032</c:v>
                </c:pt>
                <c:pt idx="2653">
                  <c:v>167.89792129796004</c:v>
                </c:pt>
                <c:pt idx="2654">
                  <c:v>167.93392887462932</c:v>
                </c:pt>
                <c:pt idx="2655">
                  <c:v>167.96994417352391</c:v>
                </c:pt>
                <c:pt idx="2656">
                  <c:v>168.00596719629993</c:v>
                </c:pt>
                <c:pt idx="2657">
                  <c:v>168.04199794461385</c:v>
                </c:pt>
                <c:pt idx="2658">
                  <c:v>168.07803642012249</c:v>
                </c:pt>
                <c:pt idx="2659">
                  <c:v>168.11408262448305</c:v>
                </c:pt>
                <c:pt idx="2660">
                  <c:v>168.15013655935306</c:v>
                </c:pt>
                <c:pt idx="2661">
                  <c:v>168.18619822639042</c:v>
                </c:pt>
                <c:pt idx="2662">
                  <c:v>168.22226762725336</c:v>
                </c:pt>
                <c:pt idx="2663">
                  <c:v>168.25834476360049</c:v>
                </c:pt>
                <c:pt idx="2664">
                  <c:v>168.29442963709079</c:v>
                </c:pt>
                <c:pt idx="2665">
                  <c:v>168.33052224938356</c:v>
                </c:pt>
                <c:pt idx="2666">
                  <c:v>168.36662260213848</c:v>
                </c:pt>
                <c:pt idx="2667">
                  <c:v>168.40273069701556</c:v>
                </c:pt>
                <c:pt idx="2668">
                  <c:v>168.4388465356752</c:v>
                </c:pt>
                <c:pt idx="2669">
                  <c:v>168.47497011977813</c:v>
                </c:pt>
                <c:pt idx="2670">
                  <c:v>168.51110145098548</c:v>
                </c:pt>
                <c:pt idx="2671">
                  <c:v>164.21763351133242</c:v>
                </c:pt>
                <c:pt idx="2672">
                  <c:v>164.2528518093518</c:v>
                </c:pt>
                <c:pt idx="2673">
                  <c:v>164.28807766032691</c:v>
                </c:pt>
                <c:pt idx="2674">
                  <c:v>164.32331106587756</c:v>
                </c:pt>
                <c:pt idx="2675">
                  <c:v>164.35855202762392</c:v>
                </c:pt>
                <c:pt idx="2676">
                  <c:v>164.39380054718649</c:v>
                </c:pt>
                <c:pt idx="2677">
                  <c:v>164.42905662618611</c:v>
                </c:pt>
                <c:pt idx="2678">
                  <c:v>164.46432026624402</c:v>
                </c:pt>
                <c:pt idx="2679">
                  <c:v>164.49959146898175</c:v>
                </c:pt>
                <c:pt idx="2680">
                  <c:v>164.53487023602122</c:v>
                </c:pt>
                <c:pt idx="2681">
                  <c:v>164.57015656898469</c:v>
                </c:pt>
                <c:pt idx="2682">
                  <c:v>164.60545046949471</c:v>
                </c:pt>
                <c:pt idx="2683">
                  <c:v>164.64075193917427</c:v>
                </c:pt>
                <c:pt idx="2684">
                  <c:v>164.67606097964662</c:v>
                </c:pt>
                <c:pt idx="2685">
                  <c:v>164.71137759253546</c:v>
                </c:pt>
                <c:pt idx="2686">
                  <c:v>164.74670177946473</c:v>
                </c:pt>
                <c:pt idx="2687">
                  <c:v>164.78203354205877</c:v>
                </c:pt>
                <c:pt idx="2688">
                  <c:v>164.81737288194228</c:v>
                </c:pt>
                <c:pt idx="2689">
                  <c:v>164.85271980074029</c:v>
                </c:pt>
                <c:pt idx="2690">
                  <c:v>164.88807430007819</c:v>
                </c:pt>
                <c:pt idx="2691">
                  <c:v>164.92343638158169</c:v>
                </c:pt>
                <c:pt idx="2692">
                  <c:v>164.9588060468769</c:v>
                </c:pt>
                <c:pt idx="2693">
                  <c:v>164.99418329759024</c:v>
                </c:pt>
                <c:pt idx="2694">
                  <c:v>165.02956813534846</c:v>
                </c:pt>
                <c:pt idx="2695">
                  <c:v>165.06496056177872</c:v>
                </c:pt>
                <c:pt idx="2696">
                  <c:v>165.10036057850849</c:v>
                </c:pt>
                <c:pt idx="2697">
                  <c:v>165.13576818716555</c:v>
                </c:pt>
                <c:pt idx="2698">
                  <c:v>165.17118338937811</c:v>
                </c:pt>
                <c:pt idx="2699">
                  <c:v>165.20660618677471</c:v>
                </c:pt>
                <c:pt idx="2700">
                  <c:v>165.24203658098421</c:v>
                </c:pt>
                <c:pt idx="2701">
                  <c:v>165.2774745736358</c:v>
                </c:pt>
                <c:pt idx="2702">
                  <c:v>165.31292016635908</c:v>
                </c:pt>
                <c:pt idx="2703">
                  <c:v>165.34837336078397</c:v>
                </c:pt>
                <c:pt idx="2704">
                  <c:v>165.38383415854074</c:v>
                </c:pt>
                <c:pt idx="2705">
                  <c:v>165.41930256126</c:v>
                </c:pt>
                <c:pt idx="2706">
                  <c:v>165.4547785705727</c:v>
                </c:pt>
                <c:pt idx="2707">
                  <c:v>165.49026218811019</c:v>
                </c:pt>
                <c:pt idx="2708">
                  <c:v>165.52575341550414</c:v>
                </c:pt>
                <c:pt idx="2709">
                  <c:v>165.56125225438655</c:v>
                </c:pt>
                <c:pt idx="2710">
                  <c:v>165.59675870638978</c:v>
                </c:pt>
                <c:pt idx="2711">
                  <c:v>165.63227277314658</c:v>
                </c:pt>
                <c:pt idx="2712">
                  <c:v>165.66779445629001</c:v>
                </c:pt>
                <c:pt idx="2713">
                  <c:v>165.70332375745346</c:v>
                </c:pt>
                <c:pt idx="2714">
                  <c:v>165.73886067827073</c:v>
                </c:pt>
                <c:pt idx="2715">
                  <c:v>165.77440522037591</c:v>
                </c:pt>
                <c:pt idx="2716">
                  <c:v>165.80995738540352</c:v>
                </c:pt>
                <c:pt idx="2717">
                  <c:v>165.84551717498834</c:v>
                </c:pt>
                <c:pt idx="2718">
                  <c:v>165.88108459076554</c:v>
                </c:pt>
                <c:pt idx="2719">
                  <c:v>165.91665963437066</c:v>
                </c:pt>
                <c:pt idx="2720">
                  <c:v>165.95224230743958</c:v>
                </c:pt>
                <c:pt idx="2721">
                  <c:v>165.9878326116085</c:v>
                </c:pt>
                <c:pt idx="2722">
                  <c:v>166.023430548514</c:v>
                </c:pt>
                <c:pt idx="2723">
                  <c:v>166.05903611979301</c:v>
                </c:pt>
                <c:pt idx="2724">
                  <c:v>166.09464932708281</c:v>
                </c:pt>
                <c:pt idx="2725">
                  <c:v>166.130270172021</c:v>
                </c:pt>
                <c:pt idx="2726">
                  <c:v>166.16589865624559</c:v>
                </c:pt>
                <c:pt idx="2727">
                  <c:v>166.20153478139491</c:v>
                </c:pt>
                <c:pt idx="2728">
                  <c:v>166.23717854910763</c:v>
                </c:pt>
                <c:pt idx="2729">
                  <c:v>166.27282996102278</c:v>
                </c:pt>
                <c:pt idx="2730">
                  <c:v>166.30848901877974</c:v>
                </c:pt>
                <c:pt idx="2731">
                  <c:v>166.34415572401826</c:v>
                </c:pt>
                <c:pt idx="2732">
                  <c:v>166.37983007837843</c:v>
                </c:pt>
                <c:pt idx="2733">
                  <c:v>166.41551208350069</c:v>
                </c:pt>
                <c:pt idx="2734">
                  <c:v>166.45120174102581</c:v>
                </c:pt>
                <c:pt idx="2735">
                  <c:v>166.48689905259494</c:v>
                </c:pt>
                <c:pt idx="2736">
                  <c:v>166.52260401984958</c:v>
                </c:pt>
                <c:pt idx="2737">
                  <c:v>166.55831664443159</c:v>
                </c:pt>
                <c:pt idx="2738">
                  <c:v>166.59403692798313</c:v>
                </c:pt>
                <c:pt idx="2739">
                  <c:v>166.62976487214678</c:v>
                </c:pt>
                <c:pt idx="2740">
                  <c:v>166.66550047856543</c:v>
                </c:pt>
                <c:pt idx="2741">
                  <c:v>166.70124374888238</c:v>
                </c:pt>
                <c:pt idx="2742">
                  <c:v>166.73699468474118</c:v>
                </c:pt>
                <c:pt idx="2743">
                  <c:v>166.77275328778583</c:v>
                </c:pt>
                <c:pt idx="2744">
                  <c:v>166.80851955966062</c:v>
                </c:pt>
                <c:pt idx="2745">
                  <c:v>166.84429350201023</c:v>
                </c:pt>
                <c:pt idx="2746">
                  <c:v>166.88007511647967</c:v>
                </c:pt>
                <c:pt idx="2747">
                  <c:v>166.91586440471431</c:v>
                </c:pt>
                <c:pt idx="2748">
                  <c:v>166.95166136835988</c:v>
                </c:pt>
                <c:pt idx="2749">
                  <c:v>166.98746600906247</c:v>
                </c:pt>
                <c:pt idx="2750">
                  <c:v>167.02327832846848</c:v>
                </c:pt>
                <c:pt idx="2751">
                  <c:v>167.05909832822471</c:v>
                </c:pt>
                <c:pt idx="2752">
                  <c:v>167.09492600997831</c:v>
                </c:pt>
                <c:pt idx="2753">
                  <c:v>167.13076137537675</c:v>
                </c:pt>
                <c:pt idx="2754">
                  <c:v>167.16660442606786</c:v>
                </c:pt>
                <c:pt idx="2755">
                  <c:v>167.20245516369988</c:v>
                </c:pt>
                <c:pt idx="2756">
                  <c:v>167.23831358992132</c:v>
                </c:pt>
                <c:pt idx="2757">
                  <c:v>167.27417970638112</c:v>
                </c:pt>
                <c:pt idx="2758">
                  <c:v>167.31005351472851</c:v>
                </c:pt>
                <c:pt idx="2759">
                  <c:v>167.34593501661311</c:v>
                </c:pt>
                <c:pt idx="2760">
                  <c:v>167.38182421368487</c:v>
                </c:pt>
                <c:pt idx="2761">
                  <c:v>167.4177211075941</c:v>
                </c:pt>
                <c:pt idx="2762">
                  <c:v>167.45362569999151</c:v>
                </c:pt>
                <c:pt idx="2763">
                  <c:v>167.48953799252811</c:v>
                </c:pt>
                <c:pt idx="2764">
                  <c:v>167.52545798685529</c:v>
                </c:pt>
                <c:pt idx="2765">
                  <c:v>167.56138568462475</c:v>
                </c:pt>
                <c:pt idx="2766">
                  <c:v>167.59732108748861</c:v>
                </c:pt>
                <c:pt idx="2767">
                  <c:v>167.63326419709932</c:v>
                </c:pt>
                <c:pt idx="2768">
                  <c:v>167.66921501510967</c:v>
                </c:pt>
                <c:pt idx="2769">
                  <c:v>167.7051735431728</c:v>
                </c:pt>
                <c:pt idx="2770">
                  <c:v>167.74113978294221</c:v>
                </c:pt>
                <c:pt idx="2771">
                  <c:v>167.77711373607178</c:v>
                </c:pt>
                <c:pt idx="2772">
                  <c:v>167.81309540421572</c:v>
                </c:pt>
                <c:pt idx="2773">
                  <c:v>167.84908478902861</c:v>
                </c:pt>
                <c:pt idx="2774">
                  <c:v>167.88508189216535</c:v>
                </c:pt>
                <c:pt idx="2775">
                  <c:v>167.92108671528123</c:v>
                </c:pt>
                <c:pt idx="2776">
                  <c:v>167.9570992600319</c:v>
                </c:pt>
                <c:pt idx="2777">
                  <c:v>167.99311952807335</c:v>
                </c:pt>
                <c:pt idx="2778">
                  <c:v>168.0291475210619</c:v>
                </c:pt>
                <c:pt idx="2779">
                  <c:v>168.06518324065428</c:v>
                </c:pt>
                <c:pt idx="2780">
                  <c:v>168.10122668850752</c:v>
                </c:pt>
                <c:pt idx="2781">
                  <c:v>168.13727786627908</c:v>
                </c:pt>
                <c:pt idx="2782">
                  <c:v>168.17333677562667</c:v>
                </c:pt>
                <c:pt idx="2783">
                  <c:v>168.20940341820844</c:v>
                </c:pt>
                <c:pt idx="2784">
                  <c:v>168.24547779568286</c:v>
                </c:pt>
                <c:pt idx="2785">
                  <c:v>168.28155990970876</c:v>
                </c:pt>
                <c:pt idx="2786">
                  <c:v>168.31764976194535</c:v>
                </c:pt>
                <c:pt idx="2787">
                  <c:v>168.35374735405216</c:v>
                </c:pt>
                <c:pt idx="2788">
                  <c:v>168.38985268768909</c:v>
                </c:pt>
                <c:pt idx="2789">
                  <c:v>168.42596576451641</c:v>
                </c:pt>
                <c:pt idx="2790">
                  <c:v>168.46208658619472</c:v>
                </c:pt>
                <c:pt idx="2791">
                  <c:v>168.49821515438498</c:v>
                </c:pt>
                <c:pt idx="2792">
                  <c:v>168.53435147074853</c:v>
                </c:pt>
                <c:pt idx="2793">
                  <c:v>168.57049553694705</c:v>
                </c:pt>
                <c:pt idx="2794">
                  <c:v>168.60664735464258</c:v>
                </c:pt>
                <c:pt idx="2795">
                  <c:v>168.64280692549752</c:v>
                </c:pt>
                <c:pt idx="2796">
                  <c:v>168.67897425117462</c:v>
                </c:pt>
                <c:pt idx="2797">
                  <c:v>168.715149333337</c:v>
                </c:pt>
                <c:pt idx="2798">
                  <c:v>168.75133217364808</c:v>
                </c:pt>
                <c:pt idx="2799">
                  <c:v>168.78752277377171</c:v>
                </c:pt>
                <c:pt idx="2800">
                  <c:v>168.82372113537207</c:v>
                </c:pt>
                <c:pt idx="2801">
                  <c:v>168.85992726011369</c:v>
                </c:pt>
                <c:pt idx="2802">
                  <c:v>168.89614114966147</c:v>
                </c:pt>
                <c:pt idx="2803">
                  <c:v>168.93236280568067</c:v>
                </c:pt>
                <c:pt idx="2804">
                  <c:v>168.96859222983687</c:v>
                </c:pt>
                <c:pt idx="2805">
                  <c:v>169.00482942379602</c:v>
                </c:pt>
                <c:pt idx="2806">
                  <c:v>169.04107438922449</c:v>
                </c:pt>
                <c:pt idx="2807">
                  <c:v>169.07732712778892</c:v>
                </c:pt>
                <c:pt idx="2808">
                  <c:v>169.11358764115636</c:v>
                </c:pt>
                <c:pt idx="2809">
                  <c:v>169.14985593099419</c:v>
                </c:pt>
                <c:pt idx="2810">
                  <c:v>169.18613199897018</c:v>
                </c:pt>
                <c:pt idx="2811">
                  <c:v>169.22241584675243</c:v>
                </c:pt>
                <c:pt idx="2812">
                  <c:v>169.25870747600939</c:v>
                </c:pt>
                <c:pt idx="2813">
                  <c:v>169.29500688840992</c:v>
                </c:pt>
                <c:pt idx="2814">
                  <c:v>169.33131408562315</c:v>
                </c:pt>
                <c:pt idx="2815">
                  <c:v>169.36762906931867</c:v>
                </c:pt>
                <c:pt idx="2816">
                  <c:v>169.40395184116636</c:v>
                </c:pt>
                <c:pt idx="2817">
                  <c:v>169.44028240283646</c:v>
                </c:pt>
                <c:pt idx="2818">
                  <c:v>169.47662075599959</c:v>
                </c:pt>
                <c:pt idx="2819">
                  <c:v>169.51296690232675</c:v>
                </c:pt>
                <c:pt idx="2820">
                  <c:v>169.54932084348926</c:v>
                </c:pt>
                <c:pt idx="2821">
                  <c:v>169.58568258115878</c:v>
                </c:pt>
                <c:pt idx="2822">
                  <c:v>169.62205211700737</c:v>
                </c:pt>
                <c:pt idx="2823">
                  <c:v>169.65842945270745</c:v>
                </c:pt>
                <c:pt idx="2824">
                  <c:v>169.69481458993178</c:v>
                </c:pt>
                <c:pt idx="2825">
                  <c:v>169.73120753035349</c:v>
                </c:pt>
                <c:pt idx="2826">
                  <c:v>169.76760827564604</c:v>
                </c:pt>
                <c:pt idx="2827">
                  <c:v>169.80401682748331</c:v>
                </c:pt>
                <c:pt idx="2828">
                  <c:v>169.84043318753947</c:v>
                </c:pt>
                <c:pt idx="2829">
                  <c:v>169.87685735748909</c:v>
                </c:pt>
                <c:pt idx="2830">
                  <c:v>169.91328933900706</c:v>
                </c:pt>
                <c:pt idx="2831">
                  <c:v>169.9497291337687</c:v>
                </c:pt>
                <c:pt idx="2832">
                  <c:v>169.98617674344962</c:v>
                </c:pt>
                <c:pt idx="2833">
                  <c:v>170.02263216972582</c:v>
                </c:pt>
                <c:pt idx="2834">
                  <c:v>170.05909541427368</c:v>
                </c:pt>
                <c:pt idx="2835">
                  <c:v>170.09556647876988</c:v>
                </c:pt>
                <c:pt idx="2836">
                  <c:v>170.13204536489152</c:v>
                </c:pt>
                <c:pt idx="2837">
                  <c:v>170.16853207431603</c:v>
                </c:pt>
                <c:pt idx="2838">
                  <c:v>170.2050266087212</c:v>
                </c:pt>
                <c:pt idx="2839">
                  <c:v>170.24152896978518</c:v>
                </c:pt>
                <c:pt idx="2840">
                  <c:v>170.27803915918648</c:v>
                </c:pt>
                <c:pt idx="2841">
                  <c:v>170.31455717860399</c:v>
                </c:pt>
                <c:pt idx="2842">
                  <c:v>170.35108302971693</c:v>
                </c:pt>
                <c:pt idx="2843">
                  <c:v>170.38761671420491</c:v>
                </c:pt>
                <c:pt idx="2844">
                  <c:v>170.42415823374787</c:v>
                </c:pt>
                <c:pt idx="2845">
                  <c:v>170.46070759002612</c:v>
                </c:pt>
                <c:pt idx="2846">
                  <c:v>170.49726478472036</c:v>
                </c:pt>
                <c:pt idx="2847">
                  <c:v>170.5338298195116</c:v>
                </c:pt>
                <c:pt idx="2848">
                  <c:v>170.57040269608123</c:v>
                </c:pt>
                <c:pt idx="2849">
                  <c:v>170.60698341611104</c:v>
                </c:pt>
                <c:pt idx="2850">
                  <c:v>170.64357198128312</c:v>
                </c:pt>
                <c:pt idx="2851">
                  <c:v>171.5356656698107</c:v>
                </c:pt>
                <c:pt idx="2852">
                  <c:v>171.57245340122137</c:v>
                </c:pt>
                <c:pt idx="2853">
                  <c:v>171.60924902217022</c:v>
                </c:pt>
                <c:pt idx="2854">
                  <c:v>171.64605253434925</c:v>
                </c:pt>
                <c:pt idx="2855">
                  <c:v>171.68286393945081</c:v>
                </c:pt>
                <c:pt idx="2856">
                  <c:v>171.71968323916764</c:v>
                </c:pt>
                <c:pt idx="2857">
                  <c:v>171.75651043519281</c:v>
                </c:pt>
                <c:pt idx="2858">
                  <c:v>171.79334552921978</c:v>
                </c:pt>
                <c:pt idx="2859">
                  <c:v>171.83018852294236</c:v>
                </c:pt>
                <c:pt idx="2860">
                  <c:v>171.86703941805473</c:v>
                </c:pt>
                <c:pt idx="2861">
                  <c:v>171.90389821625143</c:v>
                </c:pt>
                <c:pt idx="2862">
                  <c:v>171.94076491922738</c:v>
                </c:pt>
                <c:pt idx="2863">
                  <c:v>171.9776395286778</c:v>
                </c:pt>
                <c:pt idx="2864">
                  <c:v>172.01452204629837</c:v>
                </c:pt>
                <c:pt idx="2865">
                  <c:v>172.05141247378506</c:v>
                </c:pt>
                <c:pt idx="2866">
                  <c:v>172.08831081283427</c:v>
                </c:pt>
                <c:pt idx="2867">
                  <c:v>172.12521706514266</c:v>
                </c:pt>
                <c:pt idx="2868">
                  <c:v>172.16213123240738</c:v>
                </c:pt>
                <c:pt idx="2869">
                  <c:v>172.19905331632583</c:v>
                </c:pt>
                <c:pt idx="2870">
                  <c:v>172.23598331859583</c:v>
                </c:pt>
                <c:pt idx="2871">
                  <c:v>172.27292124091557</c:v>
                </c:pt>
                <c:pt idx="2872">
                  <c:v>172.30986708498361</c:v>
                </c:pt>
                <c:pt idx="2873">
                  <c:v>172.34682085249884</c:v>
                </c:pt>
                <c:pt idx="2874">
                  <c:v>172.38378254516053</c:v>
                </c:pt>
                <c:pt idx="2875">
                  <c:v>172.42075216466833</c:v>
                </c:pt>
                <c:pt idx="2876">
                  <c:v>172.45772971272223</c:v>
                </c:pt>
                <c:pt idx="2877">
                  <c:v>172.49471519102258</c:v>
                </c:pt>
                <c:pt idx="2878">
                  <c:v>172.53170860127011</c:v>
                </c:pt>
                <c:pt idx="2879">
                  <c:v>172.56870994516595</c:v>
                </c:pt>
                <c:pt idx="2880">
                  <c:v>172.60571922441153</c:v>
                </c:pt>
                <c:pt idx="2881">
                  <c:v>174.5986614867318</c:v>
                </c:pt>
                <c:pt idx="2882">
                  <c:v>174.63610611166362</c:v>
                </c:pt>
                <c:pt idx="2883">
                  <c:v>174.67355876701174</c:v>
                </c:pt>
                <c:pt idx="2884">
                  <c:v>174.71101945449837</c:v>
                </c:pt>
                <c:pt idx="2885">
                  <c:v>174.74848817584609</c:v>
                </c:pt>
                <c:pt idx="2886">
                  <c:v>174.78596493277786</c:v>
                </c:pt>
                <c:pt idx="2887">
                  <c:v>174.82344972701696</c:v>
                </c:pt>
                <c:pt idx="2888">
                  <c:v>174.86094256028713</c:v>
                </c:pt>
                <c:pt idx="2889">
                  <c:v>174.89844343431241</c:v>
                </c:pt>
                <c:pt idx="2890">
                  <c:v>174.93595235081722</c:v>
                </c:pt>
                <c:pt idx="2891">
                  <c:v>174.97346931152637</c:v>
                </c:pt>
                <c:pt idx="2892">
                  <c:v>175.01099431816505</c:v>
                </c:pt>
                <c:pt idx="2893">
                  <c:v>175.04852737245875</c:v>
                </c:pt>
                <c:pt idx="2894">
                  <c:v>175.08606847613342</c:v>
                </c:pt>
                <c:pt idx="2895">
                  <c:v>175.12361763091531</c:v>
                </c:pt>
                <c:pt idx="2896">
                  <c:v>175.16117483853108</c:v>
                </c:pt>
                <c:pt idx="2897">
                  <c:v>175.19874010070777</c:v>
                </c:pt>
                <c:pt idx="2898">
                  <c:v>175.23631341917275</c:v>
                </c:pt>
                <c:pt idx="2899">
                  <c:v>175.27389479565377</c:v>
                </c:pt>
                <c:pt idx="2900">
                  <c:v>175.31148423187898</c:v>
                </c:pt>
                <c:pt idx="2901">
                  <c:v>175.34908172957688</c:v>
                </c:pt>
                <c:pt idx="2902">
                  <c:v>175.38668729047635</c:v>
                </c:pt>
                <c:pt idx="2903">
                  <c:v>175.42430091630661</c:v>
                </c:pt>
                <c:pt idx="2904">
                  <c:v>175.46192260879729</c:v>
                </c:pt>
                <c:pt idx="2905">
                  <c:v>175.49955236967838</c:v>
                </c:pt>
                <c:pt idx="2906">
                  <c:v>175.53719020068024</c:v>
                </c:pt>
                <c:pt idx="2907">
                  <c:v>175.57483610353358</c:v>
                </c:pt>
                <c:pt idx="2908">
                  <c:v>175.61249007996949</c:v>
                </c:pt>
                <c:pt idx="2909">
                  <c:v>175.65015213171947</c:v>
                </c:pt>
                <c:pt idx="2910">
                  <c:v>175.68782226051533</c:v>
                </c:pt>
                <c:pt idx="2911">
                  <c:v>175.31091894052571</c:v>
                </c:pt>
                <c:pt idx="2912">
                  <c:v>175.34851631699058</c:v>
                </c:pt>
                <c:pt idx="2913">
                  <c:v>175.38612175663104</c:v>
                </c:pt>
                <c:pt idx="2914">
                  <c:v>175.42373526117629</c:v>
                </c:pt>
                <c:pt idx="2915">
                  <c:v>175.46135683235593</c:v>
                </c:pt>
                <c:pt idx="2916">
                  <c:v>175.49898647189997</c:v>
                </c:pt>
                <c:pt idx="2917">
                  <c:v>175.53662418153874</c:v>
                </c:pt>
                <c:pt idx="2918">
                  <c:v>175.57426996300296</c:v>
                </c:pt>
                <c:pt idx="2919">
                  <c:v>175.61192381802374</c:v>
                </c:pt>
                <c:pt idx="2920">
                  <c:v>175.64958574833253</c:v>
                </c:pt>
                <c:pt idx="2921">
                  <c:v>175.68725575566117</c:v>
                </c:pt>
                <c:pt idx="2922">
                  <c:v>175.72493384174189</c:v>
                </c:pt>
                <c:pt idx="2923">
                  <c:v>175.76262000830724</c:v>
                </c:pt>
                <c:pt idx="2924">
                  <c:v>175.80031425709015</c:v>
                </c:pt>
                <c:pt idx="2925">
                  <c:v>175.83801658982398</c:v>
                </c:pt>
                <c:pt idx="2926">
                  <c:v>175.87572700824242</c:v>
                </c:pt>
                <c:pt idx="2927">
                  <c:v>175.91344551407951</c:v>
                </c:pt>
                <c:pt idx="2928">
                  <c:v>175.95117210906972</c:v>
                </c:pt>
                <c:pt idx="2929">
                  <c:v>175.98890679494781</c:v>
                </c:pt>
                <c:pt idx="2930">
                  <c:v>176.02664957344899</c:v>
                </c:pt>
                <c:pt idx="2931">
                  <c:v>176.06440044630884</c:v>
                </c:pt>
                <c:pt idx="2932">
                  <c:v>176.10215941526326</c:v>
                </c:pt>
                <c:pt idx="2933">
                  <c:v>176.13992648204854</c:v>
                </c:pt>
                <c:pt idx="2934">
                  <c:v>176.17770164840135</c:v>
                </c:pt>
                <c:pt idx="2935">
                  <c:v>176.21548491605876</c:v>
                </c:pt>
                <c:pt idx="2936">
                  <c:v>176.25327628675814</c:v>
                </c:pt>
                <c:pt idx="2937">
                  <c:v>176.29107576223731</c:v>
                </c:pt>
                <c:pt idx="2938">
                  <c:v>176.32888334423441</c:v>
                </c:pt>
                <c:pt idx="2939">
                  <c:v>176.36669903448799</c:v>
                </c:pt>
                <c:pt idx="2940">
                  <c:v>176.40452283473695</c:v>
                </c:pt>
                <c:pt idx="2941">
                  <c:v>176.44235474672058</c:v>
                </c:pt>
                <c:pt idx="2942">
                  <c:v>176.48019477217852</c:v>
                </c:pt>
                <c:pt idx="2943">
                  <c:v>176.5180429128508</c:v>
                </c:pt>
                <c:pt idx="2944">
                  <c:v>176.5558991704778</c:v>
                </c:pt>
                <c:pt idx="2945">
                  <c:v>176.59376354680032</c:v>
                </c:pt>
                <c:pt idx="2946">
                  <c:v>176.63163604355947</c:v>
                </c:pt>
                <c:pt idx="2947">
                  <c:v>176.66951666249679</c:v>
                </c:pt>
                <c:pt idx="2948">
                  <c:v>176.70740540535417</c:v>
                </c:pt>
                <c:pt idx="2949">
                  <c:v>176.74530227387388</c:v>
                </c:pt>
                <c:pt idx="2950">
                  <c:v>176.78320726979854</c:v>
                </c:pt>
                <c:pt idx="2951">
                  <c:v>176.82112039487117</c:v>
                </c:pt>
                <c:pt idx="2952">
                  <c:v>176.85904165083517</c:v>
                </c:pt>
                <c:pt idx="2953">
                  <c:v>176.89697103943431</c:v>
                </c:pt>
                <c:pt idx="2954">
                  <c:v>176.93490856241269</c:v>
                </c:pt>
                <c:pt idx="2955">
                  <c:v>176.97285422151484</c:v>
                </c:pt>
                <c:pt idx="2956">
                  <c:v>177.01080801848562</c:v>
                </c:pt>
                <c:pt idx="2957">
                  <c:v>177.04876995507033</c:v>
                </c:pt>
                <c:pt idx="2958">
                  <c:v>177.08674003301456</c:v>
                </c:pt>
                <c:pt idx="2959">
                  <c:v>177.12471825406433</c:v>
                </c:pt>
                <c:pt idx="2960">
                  <c:v>177.16270461996601</c:v>
                </c:pt>
                <c:pt idx="2961">
                  <c:v>177.20069913246635</c:v>
                </c:pt>
                <c:pt idx="2962">
                  <c:v>177.23870179331252</c:v>
                </c:pt>
                <c:pt idx="2963">
                  <c:v>177.27671260425197</c:v>
                </c:pt>
                <c:pt idx="2964">
                  <c:v>177.31473156703262</c:v>
                </c:pt>
                <c:pt idx="2965">
                  <c:v>177.3527586834027</c:v>
                </c:pt>
                <c:pt idx="2966">
                  <c:v>177.39079395511084</c:v>
                </c:pt>
                <c:pt idx="2967">
                  <c:v>177.42883738390603</c:v>
                </c:pt>
                <c:pt idx="2968">
                  <c:v>177.46688897153768</c:v>
                </c:pt>
                <c:pt idx="2969">
                  <c:v>177.50494871975553</c:v>
                </c:pt>
                <c:pt idx="2970">
                  <c:v>177.54301663030969</c:v>
                </c:pt>
                <c:pt idx="2971">
                  <c:v>177.58109270495069</c:v>
                </c:pt>
                <c:pt idx="2972">
                  <c:v>177.61917694542939</c:v>
                </c:pt>
                <c:pt idx="2973">
                  <c:v>177.65726935349707</c:v>
                </c:pt>
                <c:pt idx="2974">
                  <c:v>177.69536993090534</c:v>
                </c:pt>
                <c:pt idx="2975">
                  <c:v>177.7334786794062</c:v>
                </c:pt>
                <c:pt idx="2976">
                  <c:v>177.77159560075205</c:v>
                </c:pt>
                <c:pt idx="2977">
                  <c:v>177.80972069669562</c:v>
                </c:pt>
                <c:pt idx="2978">
                  <c:v>177.84785396899008</c:v>
                </c:pt>
                <c:pt idx="2979">
                  <c:v>177.88599541938891</c:v>
                </c:pt>
                <c:pt idx="2980">
                  <c:v>177.924145049646</c:v>
                </c:pt>
                <c:pt idx="2981">
                  <c:v>177.96230286151564</c:v>
                </c:pt>
                <c:pt idx="2982">
                  <c:v>178.00046885675243</c:v>
                </c:pt>
                <c:pt idx="2983">
                  <c:v>178.0386430371114</c:v>
                </c:pt>
                <c:pt idx="2984">
                  <c:v>178.07682540434794</c:v>
                </c:pt>
                <c:pt idx="2985">
                  <c:v>178.11501596021782</c:v>
                </c:pt>
                <c:pt idx="2986">
                  <c:v>178.15321470647717</c:v>
                </c:pt>
                <c:pt idx="2987">
                  <c:v>178.19142164488255</c:v>
                </c:pt>
                <c:pt idx="2988">
                  <c:v>178.22963677719082</c:v>
                </c:pt>
                <c:pt idx="2989">
                  <c:v>178.26786010515926</c:v>
                </c:pt>
                <c:pt idx="2990">
                  <c:v>178.30609163054552</c:v>
                </c:pt>
                <c:pt idx="2991">
                  <c:v>178.34433135510764</c:v>
                </c:pt>
                <c:pt idx="2992">
                  <c:v>178.38257928060401</c:v>
                </c:pt>
                <c:pt idx="2993">
                  <c:v>178.42083540879341</c:v>
                </c:pt>
                <c:pt idx="2994">
                  <c:v>178.45909974143501</c:v>
                </c:pt>
                <c:pt idx="2995">
                  <c:v>178.49737228028835</c:v>
                </c:pt>
                <c:pt idx="2996">
                  <c:v>178.53565302711331</c:v>
                </c:pt>
                <c:pt idx="2997">
                  <c:v>178.57394198367021</c:v>
                </c:pt>
                <c:pt idx="2998">
                  <c:v>178.61223915171971</c:v>
                </c:pt>
                <c:pt idx="2999">
                  <c:v>178.65054453302287</c:v>
                </c:pt>
                <c:pt idx="3000">
                  <c:v>178.6888581293411</c:v>
                </c:pt>
                <c:pt idx="3001">
                  <c:v>178.72717994243621</c:v>
                </c:pt>
                <c:pt idx="3002">
                  <c:v>178.76550997407037</c:v>
                </c:pt>
                <c:pt idx="3003">
                  <c:v>178.80384822600612</c:v>
                </c:pt>
                <c:pt idx="3004">
                  <c:v>178.84219470000644</c:v>
                </c:pt>
                <c:pt idx="3005">
                  <c:v>178.88054939783461</c:v>
                </c:pt>
                <c:pt idx="3006">
                  <c:v>178.91891232125434</c:v>
                </c:pt>
                <c:pt idx="3007">
                  <c:v>178.95728347202967</c:v>
                </c:pt>
                <c:pt idx="3008">
                  <c:v>178.99566285192509</c:v>
                </c:pt>
                <c:pt idx="3009">
                  <c:v>179.03405046270538</c:v>
                </c:pt>
                <c:pt idx="3010">
                  <c:v>179.07244630613579</c:v>
                </c:pt>
                <c:pt idx="3011">
                  <c:v>179.11085038398187</c:v>
                </c:pt>
                <c:pt idx="3012">
                  <c:v>179.14926269800961</c:v>
                </c:pt>
                <c:pt idx="3013">
                  <c:v>179.18768324998533</c:v>
                </c:pt>
                <c:pt idx="3014">
                  <c:v>179.22611204167575</c:v>
                </c:pt>
                <c:pt idx="3015">
                  <c:v>179.26454907484796</c:v>
                </c:pt>
                <c:pt idx="3016">
                  <c:v>179.30299435126946</c:v>
                </c:pt>
                <c:pt idx="3017">
                  <c:v>179.3414478727081</c:v>
                </c:pt>
                <c:pt idx="3018">
                  <c:v>179.37990964093211</c:v>
                </c:pt>
                <c:pt idx="3019">
                  <c:v>179.41837965771012</c:v>
                </c:pt>
                <c:pt idx="3020">
                  <c:v>179.45685792481109</c:v>
                </c:pt>
                <c:pt idx="3021">
                  <c:v>179.49534444400442</c:v>
                </c:pt>
                <c:pt idx="3022">
                  <c:v>179.53383921705986</c:v>
                </c:pt>
                <c:pt idx="3023">
                  <c:v>179.57234224574754</c:v>
                </c:pt>
                <c:pt idx="3024">
                  <c:v>179.61085353183796</c:v>
                </c:pt>
                <c:pt idx="3025">
                  <c:v>179.64937307710204</c:v>
                </c:pt>
                <c:pt idx="3026">
                  <c:v>179.68790088331104</c:v>
                </c:pt>
                <c:pt idx="3027">
                  <c:v>179.72643695223661</c:v>
                </c:pt>
                <c:pt idx="3028">
                  <c:v>179.76498128565078</c:v>
                </c:pt>
                <c:pt idx="3029">
                  <c:v>179.80353388532595</c:v>
                </c:pt>
                <c:pt idx="3030">
                  <c:v>179.84209475303493</c:v>
                </c:pt>
                <c:pt idx="3031">
                  <c:v>179.88066389055086</c:v>
                </c:pt>
                <c:pt idx="3032">
                  <c:v>179.91924129964733</c:v>
                </c:pt>
                <c:pt idx="3033">
                  <c:v>179.95782698209825</c:v>
                </c:pt>
                <c:pt idx="3034">
                  <c:v>179.99642093967796</c:v>
                </c:pt>
                <c:pt idx="3035">
                  <c:v>180.03502317416113</c:v>
                </c:pt>
                <c:pt idx="3036">
                  <c:v>180.07363368732283</c:v>
                </c:pt>
                <c:pt idx="3037">
                  <c:v>180.11225248093854</c:v>
                </c:pt>
                <c:pt idx="3038">
                  <c:v>180.15087955678408</c:v>
                </c:pt>
                <c:pt idx="3039">
                  <c:v>180.18951491663566</c:v>
                </c:pt>
                <c:pt idx="3040">
                  <c:v>180.22815856226987</c:v>
                </c:pt>
                <c:pt idx="3041">
                  <c:v>180.26681049546372</c:v>
                </c:pt>
                <c:pt idx="3042">
                  <c:v>180.30547071799452</c:v>
                </c:pt>
                <c:pt idx="3043">
                  <c:v>180.34413923164007</c:v>
                </c:pt>
                <c:pt idx="3044">
                  <c:v>180.38281603817845</c:v>
                </c:pt>
                <c:pt idx="3045">
                  <c:v>180.42150113938817</c:v>
                </c:pt>
                <c:pt idx="3046">
                  <c:v>180.46019453704812</c:v>
                </c:pt>
                <c:pt idx="3047">
                  <c:v>180.49889623293757</c:v>
                </c:pt>
                <c:pt idx="3048">
                  <c:v>180.53760622883615</c:v>
                </c:pt>
                <c:pt idx="3049">
                  <c:v>180.57632452652393</c:v>
                </c:pt>
                <c:pt idx="3050">
                  <c:v>180.61505112778127</c:v>
                </c:pt>
                <c:pt idx="3051">
                  <c:v>180.65378603438899</c:v>
                </c:pt>
                <c:pt idx="3052">
                  <c:v>180.69252924812827</c:v>
                </c:pt>
                <c:pt idx="3053">
                  <c:v>180.73128077078064</c:v>
                </c:pt>
                <c:pt idx="3054">
                  <c:v>180.77004060412807</c:v>
                </c:pt>
                <c:pt idx="3055">
                  <c:v>180.80880874995287</c:v>
                </c:pt>
                <c:pt idx="3056">
                  <c:v>180.84758521003775</c:v>
                </c:pt>
                <c:pt idx="3057">
                  <c:v>180.88636998616579</c:v>
                </c:pt>
                <c:pt idx="3058">
                  <c:v>180.92516308012046</c:v>
                </c:pt>
                <c:pt idx="3059">
                  <c:v>180.96396449368558</c:v>
                </c:pt>
                <c:pt idx="3060">
                  <c:v>181.00277422864542</c:v>
                </c:pt>
                <c:pt idx="3061">
                  <c:v>183.29601111202712</c:v>
                </c:pt>
                <c:pt idx="3062">
                  <c:v>183.33532098032248</c:v>
                </c:pt>
                <c:pt idx="3063">
                  <c:v>183.37463927905631</c:v>
                </c:pt>
                <c:pt idx="3064">
                  <c:v>183.41396601003663</c:v>
                </c:pt>
                <c:pt idx="3065">
                  <c:v>183.45330117507183</c:v>
                </c:pt>
                <c:pt idx="3066">
                  <c:v>183.49264477597066</c:v>
                </c:pt>
                <c:pt idx="3067">
                  <c:v>183.53199681454231</c:v>
                </c:pt>
                <c:pt idx="3068">
                  <c:v>183.57135729259633</c:v>
                </c:pt>
                <c:pt idx="3069">
                  <c:v>183.61072621194265</c:v>
                </c:pt>
                <c:pt idx="3070">
                  <c:v>183.65010357439161</c:v>
                </c:pt>
                <c:pt idx="3071">
                  <c:v>183.68948938175393</c:v>
                </c:pt>
                <c:pt idx="3072">
                  <c:v>183.7288836358407</c:v>
                </c:pt>
                <c:pt idx="3073">
                  <c:v>183.76828633846344</c:v>
                </c:pt>
                <c:pt idx="3074">
                  <c:v>183.807697491434</c:v>
                </c:pt>
                <c:pt idx="3075">
                  <c:v>183.84711709656466</c:v>
                </c:pt>
                <c:pt idx="3076">
                  <c:v>183.8865451556681</c:v>
                </c:pt>
                <c:pt idx="3077">
                  <c:v>183.92598167055735</c:v>
                </c:pt>
                <c:pt idx="3078">
                  <c:v>183.96542664304584</c:v>
                </c:pt>
                <c:pt idx="3079">
                  <c:v>184.00488007494741</c:v>
                </c:pt>
                <c:pt idx="3080">
                  <c:v>184.04434196807628</c:v>
                </c:pt>
                <c:pt idx="3081">
                  <c:v>184.08381232424705</c:v>
                </c:pt>
                <c:pt idx="3082">
                  <c:v>184.12329114527469</c:v>
                </c:pt>
                <c:pt idx="3083">
                  <c:v>184.16277843297462</c:v>
                </c:pt>
                <c:pt idx="3084">
                  <c:v>184.20227418916258</c:v>
                </c:pt>
                <c:pt idx="3085">
                  <c:v>184.24177841565475</c:v>
                </c:pt>
                <c:pt idx="3086">
                  <c:v>184.28129111426767</c:v>
                </c:pt>
                <c:pt idx="3087">
                  <c:v>184.3208122868183</c:v>
                </c:pt>
                <c:pt idx="3088">
                  <c:v>184.36034193512396</c:v>
                </c:pt>
                <c:pt idx="3089">
                  <c:v>184.39988006100236</c:v>
                </c:pt>
                <c:pt idx="3090">
                  <c:v>184.43942666627163</c:v>
                </c:pt>
                <c:pt idx="3091">
                  <c:v>185.06840232933925</c:v>
                </c:pt>
                <c:pt idx="3092">
                  <c:v>185.10809230664461</c:v>
                </c:pt>
                <c:pt idx="3093">
                  <c:v>185.14779079590704</c:v>
                </c:pt>
                <c:pt idx="3094">
                  <c:v>185.18749779895205</c:v>
                </c:pt>
                <c:pt idx="3095">
                  <c:v>185.2272133176055</c:v>
                </c:pt>
                <c:pt idx="3096">
                  <c:v>185.26693735369366</c:v>
                </c:pt>
                <c:pt idx="3097">
                  <c:v>185.30666990904319</c:v>
                </c:pt>
                <c:pt idx="3098">
                  <c:v>185.34641098548116</c:v>
                </c:pt>
                <c:pt idx="3099">
                  <c:v>185.38616058483498</c:v>
                </c:pt>
                <c:pt idx="3100">
                  <c:v>185.4259187089325</c:v>
                </c:pt>
                <c:pt idx="3101">
                  <c:v>185.46568535960193</c:v>
                </c:pt>
                <c:pt idx="3102">
                  <c:v>185.50546053867191</c:v>
                </c:pt>
                <c:pt idx="3103">
                  <c:v>185.54524424797145</c:v>
                </c:pt>
                <c:pt idx="3104">
                  <c:v>185.58503648932995</c:v>
                </c:pt>
                <c:pt idx="3105">
                  <c:v>185.6248372645772</c:v>
                </c:pt>
                <c:pt idx="3106">
                  <c:v>185.66464657554337</c:v>
                </c:pt>
                <c:pt idx="3107">
                  <c:v>185.70446442405907</c:v>
                </c:pt>
                <c:pt idx="3108">
                  <c:v>185.74429081195524</c:v>
                </c:pt>
                <c:pt idx="3109">
                  <c:v>185.78412574106326</c:v>
                </c:pt>
                <c:pt idx="3110">
                  <c:v>185.82396921321492</c:v>
                </c:pt>
                <c:pt idx="3111">
                  <c:v>185.86382123024234</c:v>
                </c:pt>
                <c:pt idx="3112">
                  <c:v>185.90368179397805</c:v>
                </c:pt>
                <c:pt idx="3113">
                  <c:v>185.94355090625501</c:v>
                </c:pt>
                <c:pt idx="3114">
                  <c:v>185.98342856890653</c:v>
                </c:pt>
                <c:pt idx="3115">
                  <c:v>186.02331478376635</c:v>
                </c:pt>
                <c:pt idx="3116">
                  <c:v>186.06320955266858</c:v>
                </c:pt>
                <c:pt idx="3117">
                  <c:v>163.26557515798137</c:v>
                </c:pt>
                <c:pt idx="3118">
                  <c:v>163.30058927649759</c:v>
                </c:pt>
                <c:pt idx="3119">
                  <c:v>163.33561090418098</c:v>
                </c:pt>
                <c:pt idx="3120">
                  <c:v>163.37064004264195</c:v>
                </c:pt>
                <c:pt idx="3121">
                  <c:v>163.40567669349127</c:v>
                </c:pt>
                <c:pt idx="3122">
                  <c:v>163.44072085834006</c:v>
                </c:pt>
                <c:pt idx="3123">
                  <c:v>163.47577253879979</c:v>
                </c:pt>
                <c:pt idx="3124">
                  <c:v>163.51083173648226</c:v>
                </c:pt>
                <c:pt idx="3125">
                  <c:v>163.54589845299961</c:v>
                </c:pt>
                <c:pt idx="3126">
                  <c:v>163.58097268996434</c:v>
                </c:pt>
                <c:pt idx="3127">
                  <c:v>163.6160544489893</c:v>
                </c:pt>
                <c:pt idx="3128">
                  <c:v>163.65114373168768</c:v>
                </c:pt>
                <c:pt idx="3129">
                  <c:v>163.68624053967304</c:v>
                </c:pt>
                <c:pt idx="3130">
                  <c:v>163.72134487455921</c:v>
                </c:pt>
                <c:pt idx="3131">
                  <c:v>163.75645673796046</c:v>
                </c:pt>
                <c:pt idx="3132">
                  <c:v>163.79157613149135</c:v>
                </c:pt>
                <c:pt idx="3133">
                  <c:v>163.8267030567668</c:v>
                </c:pt>
                <c:pt idx="3134">
                  <c:v>163.86183751540207</c:v>
                </c:pt>
                <c:pt idx="3135">
                  <c:v>163.89697950901277</c:v>
                </c:pt>
                <c:pt idx="3136">
                  <c:v>163.93212903921486</c:v>
                </c:pt>
                <c:pt idx="3137">
                  <c:v>163.96728610762466</c:v>
                </c:pt>
                <c:pt idx="3138">
                  <c:v>164.00245071585883</c:v>
                </c:pt>
                <c:pt idx="3139">
                  <c:v>164.03762286553433</c:v>
                </c:pt>
                <c:pt idx="3140">
                  <c:v>164.07280255826853</c:v>
                </c:pt>
                <c:pt idx="3141">
                  <c:v>164.10798979567915</c:v>
                </c:pt>
                <c:pt idx="3142">
                  <c:v>164.14318457938418</c:v>
                </c:pt>
                <c:pt idx="3143">
                  <c:v>164.17838691100204</c:v>
                </c:pt>
                <c:pt idx="3144">
                  <c:v>164.21359679215146</c:v>
                </c:pt>
                <c:pt idx="3145">
                  <c:v>164.24881422445151</c:v>
                </c:pt>
                <c:pt idx="3146">
                  <c:v>164.28403920952161</c:v>
                </c:pt>
                <c:pt idx="3147">
                  <c:v>164.31927174898155</c:v>
                </c:pt>
                <c:pt idx="3148">
                  <c:v>164.35451184445145</c:v>
                </c:pt>
                <c:pt idx="3149">
                  <c:v>164.38975949755181</c:v>
                </c:pt>
                <c:pt idx="3150">
                  <c:v>164.42501470990339</c:v>
                </c:pt>
                <c:pt idx="3151">
                  <c:v>164.46027748312741</c:v>
                </c:pt>
                <c:pt idx="3152">
                  <c:v>164.49554781884535</c:v>
                </c:pt>
                <c:pt idx="3153">
                  <c:v>164.53082571867907</c:v>
                </c:pt>
                <c:pt idx="3154">
                  <c:v>164.56611118425079</c:v>
                </c:pt>
                <c:pt idx="3155">
                  <c:v>164.60140421718307</c:v>
                </c:pt>
                <c:pt idx="3156">
                  <c:v>164.63670481909881</c:v>
                </c:pt>
                <c:pt idx="3157">
                  <c:v>164.67201299162127</c:v>
                </c:pt>
                <c:pt idx="3158">
                  <c:v>164.70732873637405</c:v>
                </c:pt>
                <c:pt idx="3159">
                  <c:v>164.74265205498108</c:v>
                </c:pt>
                <c:pt idx="3160">
                  <c:v>164.77798294906665</c:v>
                </c:pt>
                <c:pt idx="3161">
                  <c:v>164.81332142025545</c:v>
                </c:pt>
                <c:pt idx="3162">
                  <c:v>164.84866747017244</c:v>
                </c:pt>
                <c:pt idx="3163">
                  <c:v>164.88402110044299</c:v>
                </c:pt>
                <c:pt idx="3164">
                  <c:v>164.91938231269276</c:v>
                </c:pt>
                <c:pt idx="3165">
                  <c:v>164.95475110854781</c:v>
                </c:pt>
                <c:pt idx="3166">
                  <c:v>164.99012748963452</c:v>
                </c:pt>
                <c:pt idx="3167">
                  <c:v>165.02551145757963</c:v>
                </c:pt>
                <c:pt idx="3168">
                  <c:v>165.06090301401022</c:v>
                </c:pt>
                <c:pt idx="3169">
                  <c:v>165.09630216055373</c:v>
                </c:pt>
                <c:pt idx="3170">
                  <c:v>165.13170889883793</c:v>
                </c:pt>
                <c:pt idx="3171">
                  <c:v>165.16712323049097</c:v>
                </c:pt>
                <c:pt idx="3172">
                  <c:v>165.20254515714134</c:v>
                </c:pt>
                <c:pt idx="3173">
                  <c:v>165.23797468041786</c:v>
                </c:pt>
                <c:pt idx="3174">
                  <c:v>165.27341180194972</c:v>
                </c:pt>
                <c:pt idx="3175">
                  <c:v>165.30885652336642</c:v>
                </c:pt>
                <c:pt idx="3176">
                  <c:v>165.34430884629788</c:v>
                </c:pt>
                <c:pt idx="3177">
                  <c:v>165.37976877237429</c:v>
                </c:pt>
                <c:pt idx="3178">
                  <c:v>165.41523630322627</c:v>
                </c:pt>
                <c:pt idx="3179">
                  <c:v>165.45071144048472</c:v>
                </c:pt>
                <c:pt idx="3180">
                  <c:v>165.48619418578093</c:v>
                </c:pt>
                <c:pt idx="3181">
                  <c:v>166.28735971535667</c:v>
                </c:pt>
                <c:pt idx="3182">
                  <c:v>166.32302188918106</c:v>
                </c:pt>
                <c:pt idx="3183">
                  <c:v>166.35869171115527</c:v>
                </c:pt>
                <c:pt idx="3184">
                  <c:v>166.39436918291955</c:v>
                </c:pt>
                <c:pt idx="3185">
                  <c:v>166.43005430611447</c:v>
                </c:pt>
                <c:pt idx="3186">
                  <c:v>166.46574708238097</c:v>
                </c:pt>
                <c:pt idx="3187">
                  <c:v>166.50144751336035</c:v>
                </c:pt>
                <c:pt idx="3188">
                  <c:v>166.53715560069421</c:v>
                </c:pt>
                <c:pt idx="3189">
                  <c:v>166.57287134602456</c:v>
                </c:pt>
                <c:pt idx="3190">
                  <c:v>166.60859475099375</c:v>
                </c:pt>
                <c:pt idx="3191">
                  <c:v>166.64432581724446</c:v>
                </c:pt>
                <c:pt idx="3192">
                  <c:v>166.68006454641977</c:v>
                </c:pt>
                <c:pt idx="3193">
                  <c:v>166.71581094016304</c:v>
                </c:pt>
                <c:pt idx="3194">
                  <c:v>166.75156500011803</c:v>
                </c:pt>
                <c:pt idx="3195">
                  <c:v>166.78732672792887</c:v>
                </c:pt>
                <c:pt idx="3196">
                  <c:v>166.82309612524</c:v>
                </c:pt>
                <c:pt idx="3197">
                  <c:v>166.85887319369621</c:v>
                </c:pt>
                <c:pt idx="3198">
                  <c:v>166.8946579349427</c:v>
                </c:pt>
                <c:pt idx="3199">
                  <c:v>166.93045035062497</c:v>
                </c:pt>
                <c:pt idx="3200">
                  <c:v>179.93708779921889</c:v>
                </c:pt>
                <c:pt idx="3201">
                  <c:v>179.97567730905016</c:v>
                </c:pt>
                <c:pt idx="3202">
                  <c:v>180.01427509483102</c:v>
                </c:pt>
                <c:pt idx="3203">
                  <c:v>180.05288115833633</c:v>
                </c:pt>
                <c:pt idx="3204">
                  <c:v>180.09149550134137</c:v>
                </c:pt>
                <c:pt idx="3205">
                  <c:v>180.13011812562175</c:v>
                </c:pt>
                <c:pt idx="3206">
                  <c:v>180.16874903295349</c:v>
                </c:pt>
                <c:pt idx="3207">
                  <c:v>180.20738822511296</c:v>
                </c:pt>
                <c:pt idx="3208">
                  <c:v>180.24603570387697</c:v>
                </c:pt>
                <c:pt idx="3209">
                  <c:v>180.28469147102265</c:v>
                </c:pt>
                <c:pt idx="3210">
                  <c:v>180.32335552832757</c:v>
                </c:pt>
                <c:pt idx="3211">
                  <c:v>180.3620278775696</c:v>
                </c:pt>
                <c:pt idx="3212">
                  <c:v>180.40070852052708</c:v>
                </c:pt>
                <c:pt idx="3213">
                  <c:v>180.43939745897865</c:v>
                </c:pt>
                <c:pt idx="3214">
                  <c:v>180.4780946947034</c:v>
                </c:pt>
                <c:pt idx="3215">
                  <c:v>180.51680022948076</c:v>
                </c:pt>
                <c:pt idx="3216">
                  <c:v>180.55551406509056</c:v>
                </c:pt>
                <c:pt idx="3217">
                  <c:v>180.59423620331299</c:v>
                </c:pt>
                <c:pt idx="3218">
                  <c:v>180.63296664592866</c:v>
                </c:pt>
                <c:pt idx="3219">
                  <c:v>180.67170539471851</c:v>
                </c:pt>
                <c:pt idx="3220">
                  <c:v>180.71045245146394</c:v>
                </c:pt>
                <c:pt idx="3221">
                  <c:v>180.74920781794663</c:v>
                </c:pt>
                <c:pt idx="3222">
                  <c:v>180.78797149594871</c:v>
                </c:pt>
                <c:pt idx="3223">
                  <c:v>180.82674348725271</c:v>
                </c:pt>
                <c:pt idx="3224">
                  <c:v>180.86552379364147</c:v>
                </c:pt>
                <c:pt idx="3225">
                  <c:v>180.90431241689828</c:v>
                </c:pt>
                <c:pt idx="3226">
                  <c:v>180.94310935880677</c:v>
                </c:pt>
                <c:pt idx="3227">
                  <c:v>180.98191462115096</c:v>
                </c:pt>
                <c:pt idx="3228">
                  <c:v>181.0207282057153</c:v>
                </c:pt>
                <c:pt idx="3229">
                  <c:v>181.05955011428455</c:v>
                </c:pt>
                <c:pt idx="3230">
                  <c:v>181.09838034864387</c:v>
                </c:pt>
                <c:pt idx="3231">
                  <c:v>181.13721891057884</c:v>
                </c:pt>
                <c:pt idx="3232">
                  <c:v>181.17606580187541</c:v>
                </c:pt>
                <c:pt idx="3233">
                  <c:v>181.21492102431989</c:v>
                </c:pt>
                <c:pt idx="3234">
                  <c:v>181.25378457969899</c:v>
                </c:pt>
                <c:pt idx="3235">
                  <c:v>181.29265646979979</c:v>
                </c:pt>
                <c:pt idx="3236">
                  <c:v>181.33153669640978</c:v>
                </c:pt>
                <c:pt idx="3237">
                  <c:v>181.37042526131683</c:v>
                </c:pt>
                <c:pt idx="3238">
                  <c:v>181.40932216630915</c:v>
                </c:pt>
                <c:pt idx="3239">
                  <c:v>181.44822741317537</c:v>
                </c:pt>
                <c:pt idx="3240">
                  <c:v>181.48714100370452</c:v>
                </c:pt>
                <c:pt idx="3241">
                  <c:v>181.52606293968597</c:v>
                </c:pt>
                <c:pt idx="3242">
                  <c:v>181.56499322290949</c:v>
                </c:pt>
                <c:pt idx="3243">
                  <c:v>181.60393185516526</c:v>
                </c:pt>
                <c:pt idx="3244">
                  <c:v>181.6428788382438</c:v>
                </c:pt>
                <c:pt idx="3245">
                  <c:v>181.68183417393607</c:v>
                </c:pt>
                <c:pt idx="3246">
                  <c:v>181.72079786403336</c:v>
                </c:pt>
                <c:pt idx="3247">
                  <c:v>181.75976991032735</c:v>
                </c:pt>
                <c:pt idx="3248">
                  <c:v>181.79875031461015</c:v>
                </c:pt>
                <c:pt idx="3249">
                  <c:v>181.83773907867419</c:v>
                </c:pt>
                <c:pt idx="3250">
                  <c:v>181.87673620431235</c:v>
                </c:pt>
                <c:pt idx="3251">
                  <c:v>181.91574169331784</c:v>
                </c:pt>
                <c:pt idx="3252">
                  <c:v>181.9547555474843</c:v>
                </c:pt>
                <c:pt idx="3253">
                  <c:v>181.9937777686057</c:v>
                </c:pt>
                <c:pt idx="3254">
                  <c:v>182.03280835847644</c:v>
                </c:pt>
                <c:pt idx="3255">
                  <c:v>182.07184731889132</c:v>
                </c:pt>
                <c:pt idx="3256">
                  <c:v>182.11089465164545</c:v>
                </c:pt>
                <c:pt idx="3257">
                  <c:v>182.14995035853443</c:v>
                </c:pt>
                <c:pt idx="3258">
                  <c:v>182.18901444135412</c:v>
                </c:pt>
                <c:pt idx="3259">
                  <c:v>182.22808690190087</c:v>
                </c:pt>
                <c:pt idx="3260">
                  <c:v>182.26716774197138</c:v>
                </c:pt>
                <c:pt idx="3261">
                  <c:v>182.3062569633627</c:v>
                </c:pt>
                <c:pt idx="3262">
                  <c:v>182.34535456787233</c:v>
                </c:pt>
                <c:pt idx="3263">
                  <c:v>182.38446055729813</c:v>
                </c:pt>
                <c:pt idx="3264">
                  <c:v>182.42357493343829</c:v>
                </c:pt>
                <c:pt idx="3265">
                  <c:v>182.46269769809146</c:v>
                </c:pt>
                <c:pt idx="3266">
                  <c:v>182.50182885305665</c:v>
                </c:pt>
                <c:pt idx="3267">
                  <c:v>182.54096840013327</c:v>
                </c:pt>
                <c:pt idx="3268">
                  <c:v>182.58011634112108</c:v>
                </c:pt>
                <c:pt idx="3269">
                  <c:v>182.61927267782028</c:v>
                </c:pt>
                <c:pt idx="3270">
                  <c:v>182.65843741203139</c:v>
                </c:pt>
                <c:pt idx="3271">
                  <c:v>182.69761054555536</c:v>
                </c:pt>
                <c:pt idx="3272">
                  <c:v>182.73679208019354</c:v>
                </c:pt>
                <c:pt idx="3273">
                  <c:v>182.77598201774759</c:v>
                </c:pt>
                <c:pt idx="3274">
                  <c:v>182.81518036001967</c:v>
                </c:pt>
                <c:pt idx="3275">
                  <c:v>182.8543871088122</c:v>
                </c:pt>
                <c:pt idx="3276">
                  <c:v>182.89360226592811</c:v>
                </c:pt>
                <c:pt idx="3277">
                  <c:v>182.93282583317063</c:v>
                </c:pt>
                <c:pt idx="3278">
                  <c:v>182.97205781234339</c:v>
                </c:pt>
                <c:pt idx="3279">
                  <c:v>183.01129820525045</c:v>
                </c:pt>
                <c:pt idx="3280">
                  <c:v>183.05054701369625</c:v>
                </c:pt>
                <c:pt idx="3281">
                  <c:v>183.08980423948555</c:v>
                </c:pt>
                <c:pt idx="3282">
                  <c:v>183.12906988442356</c:v>
                </c:pt>
                <c:pt idx="3283">
                  <c:v>183.16834395031586</c:v>
                </c:pt>
                <c:pt idx="3284">
                  <c:v>183.20762643896842</c:v>
                </c:pt>
                <c:pt idx="3285">
                  <c:v>183.24691735218758</c:v>
                </c:pt>
                <c:pt idx="3286">
                  <c:v>183.28621669178011</c:v>
                </c:pt>
                <c:pt idx="3287">
                  <c:v>183.32552445955312</c:v>
                </c:pt>
                <c:pt idx="3288">
                  <c:v>183.36484065731412</c:v>
                </c:pt>
                <c:pt idx="3289">
                  <c:v>183.40416528687103</c:v>
                </c:pt>
                <c:pt idx="3290">
                  <c:v>183.44349835003214</c:v>
                </c:pt>
                <c:pt idx="3291">
                  <c:v>183.48283984860612</c:v>
                </c:pt>
                <c:pt idx="3292">
                  <c:v>183.52218978440206</c:v>
                </c:pt>
                <c:pt idx="3293">
                  <c:v>183.56154815922937</c:v>
                </c:pt>
                <c:pt idx="3294">
                  <c:v>183.60091497489796</c:v>
                </c:pt>
                <c:pt idx="3295">
                  <c:v>183.64029023321802</c:v>
                </c:pt>
                <c:pt idx="3296">
                  <c:v>183.67967393600017</c:v>
                </c:pt>
                <c:pt idx="3297">
                  <c:v>183.71906608505543</c:v>
                </c:pt>
                <c:pt idx="3298">
                  <c:v>183.75846668219521</c:v>
                </c:pt>
                <c:pt idx="3299">
                  <c:v>183.79787572923127</c:v>
                </c:pt>
                <c:pt idx="3300">
                  <c:v>183.83729322797578</c:v>
                </c:pt>
                <c:pt idx="3301">
                  <c:v>183.87671918024131</c:v>
                </c:pt>
                <c:pt idx="3302">
                  <c:v>183.91615358784082</c:v>
                </c:pt>
                <c:pt idx="3303">
                  <c:v>183.95559645258766</c:v>
                </c:pt>
                <c:pt idx="3304">
                  <c:v>183.99504777629554</c:v>
                </c:pt>
                <c:pt idx="3305">
                  <c:v>184.03450756077859</c:v>
                </c:pt>
                <c:pt idx="3306">
                  <c:v>184.07397580785133</c:v>
                </c:pt>
                <c:pt idx="3307">
                  <c:v>184.11345251932863</c:v>
                </c:pt>
                <c:pt idx="3308">
                  <c:v>184.15293769702581</c:v>
                </c:pt>
                <c:pt idx="3309">
                  <c:v>184.19243134275851</c:v>
                </c:pt>
                <c:pt idx="3310">
                  <c:v>184.23193345834281</c:v>
                </c:pt>
                <c:pt idx="3311">
                  <c:v>184.27144404559516</c:v>
                </c:pt>
                <c:pt idx="3312">
                  <c:v>184.31096310633239</c:v>
                </c:pt>
                <c:pt idx="3313">
                  <c:v>184.35049064237177</c:v>
                </c:pt>
                <c:pt idx="3314">
                  <c:v>184.39002665553087</c:v>
                </c:pt>
                <c:pt idx="3315">
                  <c:v>184.42957114762774</c:v>
                </c:pt>
                <c:pt idx="3316">
                  <c:v>184.46912412048079</c:v>
                </c:pt>
                <c:pt idx="3317">
                  <c:v>184.50868557590877</c:v>
                </c:pt>
                <c:pt idx="3318">
                  <c:v>184.54825551573092</c:v>
                </c:pt>
                <c:pt idx="3319">
                  <c:v>184.58783394176675</c:v>
                </c:pt>
                <c:pt idx="3320">
                  <c:v>184.62742085583628</c:v>
                </c:pt>
                <c:pt idx="3321">
                  <c:v>184.66701625975983</c:v>
                </c:pt>
                <c:pt idx="3322">
                  <c:v>184.70662015535814</c:v>
                </c:pt>
                <c:pt idx="3323">
                  <c:v>184.74623254445237</c:v>
                </c:pt>
                <c:pt idx="3324">
                  <c:v>184.78585342886402</c:v>
                </c:pt>
                <c:pt idx="3325">
                  <c:v>184.82548281041502</c:v>
                </c:pt>
                <c:pt idx="3326">
                  <c:v>184.86512069092768</c:v>
                </c:pt>
                <c:pt idx="3327">
                  <c:v>184.90476707222467</c:v>
                </c:pt>
                <c:pt idx="3328">
                  <c:v>184.9444219561291</c:v>
                </c:pt>
                <c:pt idx="3329">
                  <c:v>184.98408534446446</c:v>
                </c:pt>
                <c:pt idx="3330">
                  <c:v>185.02375723905459</c:v>
                </c:pt>
                <c:pt idx="3331">
                  <c:v>185.06343764172377</c:v>
                </c:pt>
                <c:pt idx="3332">
                  <c:v>185.10312655429664</c:v>
                </c:pt>
                <c:pt idx="3333">
                  <c:v>185.14282397859827</c:v>
                </c:pt>
                <c:pt idx="3334">
                  <c:v>185.18252991645409</c:v>
                </c:pt>
                <c:pt idx="3335">
                  <c:v>185.22224436968989</c:v>
                </c:pt>
                <c:pt idx="3336">
                  <c:v>185.26196734013192</c:v>
                </c:pt>
                <c:pt idx="3337">
                  <c:v>185.30169882960678</c:v>
                </c:pt>
                <c:pt idx="3338">
                  <c:v>185.34143883994147</c:v>
                </c:pt>
                <c:pt idx="3339">
                  <c:v>185.38118737296338</c:v>
                </c:pt>
                <c:pt idx="3340">
                  <c:v>185.4209444305003</c:v>
                </c:pt>
                <c:pt idx="3341">
                  <c:v>185.4607100143804</c:v>
                </c:pt>
                <c:pt idx="3342">
                  <c:v>185.50048412643227</c:v>
                </c:pt>
                <c:pt idx="3343">
                  <c:v>185.54026676848486</c:v>
                </c:pt>
                <c:pt idx="3344">
                  <c:v>185.58005794236752</c:v>
                </c:pt>
                <c:pt idx="3345">
                  <c:v>185.61985764990999</c:v>
                </c:pt>
                <c:pt idx="3346">
                  <c:v>185.65966589294243</c:v>
                </c:pt>
                <c:pt idx="3347">
                  <c:v>185.69948267329534</c:v>
                </c:pt>
                <c:pt idx="3348">
                  <c:v>185.73930799279967</c:v>
                </c:pt>
                <c:pt idx="3349">
                  <c:v>185.77914185328672</c:v>
                </c:pt>
                <c:pt idx="3350">
                  <c:v>185.81898425658821</c:v>
                </c:pt>
                <c:pt idx="3351">
                  <c:v>185.85883520453623</c:v>
                </c:pt>
                <c:pt idx="3352">
                  <c:v>185.89869469896328</c:v>
                </c:pt>
                <c:pt idx="3353">
                  <c:v>185.93856274170224</c:v>
                </c:pt>
                <c:pt idx="3354">
                  <c:v>185.9784393345864</c:v>
                </c:pt>
                <c:pt idx="3355">
                  <c:v>186.01832447944943</c:v>
                </c:pt>
                <c:pt idx="3356">
                  <c:v>186.0582181781254</c:v>
                </c:pt>
                <c:pt idx="3357">
                  <c:v>186.09812043244878</c:v>
                </c:pt>
                <c:pt idx="3358">
                  <c:v>186.13803124425442</c:v>
                </c:pt>
                <c:pt idx="3359">
                  <c:v>186.17795061537754</c:v>
                </c:pt>
                <c:pt idx="3360">
                  <c:v>186.21787854765381</c:v>
                </c:pt>
                <c:pt idx="3361">
                  <c:v>186.20703835803516</c:v>
                </c:pt>
                <c:pt idx="3362">
                  <c:v>186.24697252850137</c:v>
                </c:pt>
                <c:pt idx="3363">
                  <c:v>186.28691526329462</c:v>
                </c:pt>
                <c:pt idx="3364">
                  <c:v>186.32686656425159</c:v>
                </c:pt>
                <c:pt idx="3365">
                  <c:v>186.36682643320941</c:v>
                </c:pt>
                <c:pt idx="3366">
                  <c:v>186.40679487200558</c:v>
                </c:pt>
                <c:pt idx="3367">
                  <c:v>186.446771882478</c:v>
                </c:pt>
                <c:pt idx="3368">
                  <c:v>186.48675746646498</c:v>
                </c:pt>
                <c:pt idx="3369">
                  <c:v>186.52675162580516</c:v>
                </c:pt>
                <c:pt idx="3370">
                  <c:v>186.56675436233766</c:v>
                </c:pt>
                <c:pt idx="3371">
                  <c:v>186.60676567790193</c:v>
                </c:pt>
                <c:pt idx="3372">
                  <c:v>186.64678557433785</c:v>
                </c:pt>
                <c:pt idx="3373">
                  <c:v>186.6868140534857</c:v>
                </c:pt>
                <c:pt idx="3374">
                  <c:v>186.72685111718613</c:v>
                </c:pt>
                <c:pt idx="3375">
                  <c:v>186.76689676728017</c:v>
                </c:pt>
                <c:pt idx="3376">
                  <c:v>186.80695100560928</c:v>
                </c:pt>
                <c:pt idx="3377">
                  <c:v>186.84701383401529</c:v>
                </c:pt>
                <c:pt idx="3378">
                  <c:v>186.88708525434046</c:v>
                </c:pt>
                <c:pt idx="3379">
                  <c:v>186.92716526842742</c:v>
                </c:pt>
                <c:pt idx="3380">
                  <c:v>186.96725387811918</c:v>
                </c:pt>
                <c:pt idx="3381">
                  <c:v>187.00735108525919</c:v>
                </c:pt>
                <c:pt idx="3382">
                  <c:v>187.04745689169124</c:v>
                </c:pt>
                <c:pt idx="3383">
                  <c:v>187.08757129925957</c:v>
                </c:pt>
                <c:pt idx="3384">
                  <c:v>187.12769430980876</c:v>
                </c:pt>
                <c:pt idx="3385">
                  <c:v>187.16782592518385</c:v>
                </c:pt>
                <c:pt idx="3386">
                  <c:v>187.2079661472302</c:v>
                </c:pt>
                <c:pt idx="3387">
                  <c:v>187.24811497779362</c:v>
                </c:pt>
                <c:pt idx="3388">
                  <c:v>187.28827241872031</c:v>
                </c:pt>
                <c:pt idx="3389">
                  <c:v>187.32843847185688</c:v>
                </c:pt>
                <c:pt idx="3390">
                  <c:v>187.3686131390503</c:v>
                </c:pt>
                <c:pt idx="3391">
                  <c:v>191.35792619609774</c:v>
                </c:pt>
                <c:pt idx="3392">
                  <c:v>191.39896503175163</c:v>
                </c:pt>
                <c:pt idx="3393">
                  <c:v>191.44001266864029</c:v>
                </c:pt>
                <c:pt idx="3394">
                  <c:v>191.48106910865124</c:v>
                </c:pt>
                <c:pt idx="3395">
                  <c:v>191.52213435367239</c:v>
                </c:pt>
                <c:pt idx="3396">
                  <c:v>191.56320840559209</c:v>
                </c:pt>
                <c:pt idx="3397">
                  <c:v>191.60429126629907</c:v>
                </c:pt>
                <c:pt idx="3398">
                  <c:v>191.64538293768248</c:v>
                </c:pt>
                <c:pt idx="3399">
                  <c:v>191.68648342163186</c:v>
                </c:pt>
                <c:pt idx="3400">
                  <c:v>191.72759272003717</c:v>
                </c:pt>
                <c:pt idx="3401">
                  <c:v>191.76871083478875</c:v>
                </c:pt>
                <c:pt idx="3402">
                  <c:v>191.80983776777737</c:v>
                </c:pt>
                <c:pt idx="3403">
                  <c:v>191.8509735208942</c:v>
                </c:pt>
                <c:pt idx="3404">
                  <c:v>191.89211809603083</c:v>
                </c:pt>
                <c:pt idx="3405">
                  <c:v>191.93327149507923</c:v>
                </c:pt>
                <c:pt idx="3406">
                  <c:v>191.97443371993177</c:v>
                </c:pt>
                <c:pt idx="3407">
                  <c:v>192.01560477248128</c:v>
                </c:pt>
                <c:pt idx="3408">
                  <c:v>192.05678465462094</c:v>
                </c:pt>
                <c:pt idx="3409">
                  <c:v>192.09797336824434</c:v>
                </c:pt>
                <c:pt idx="3410">
                  <c:v>192.1391709152455</c:v>
                </c:pt>
                <c:pt idx="3411">
                  <c:v>192.18037729751882</c:v>
                </c:pt>
                <c:pt idx="3412">
                  <c:v>192.22159251695913</c:v>
                </c:pt>
                <c:pt idx="3413">
                  <c:v>192.2628165754617</c:v>
                </c:pt>
                <c:pt idx="3414">
                  <c:v>192.30404947492212</c:v>
                </c:pt>
                <c:pt idx="3415">
                  <c:v>192.34529121723645</c:v>
                </c:pt>
                <c:pt idx="3416">
                  <c:v>192.38654180430112</c:v>
                </c:pt>
                <c:pt idx="3417">
                  <c:v>192.42780123801299</c:v>
                </c:pt>
                <c:pt idx="3418">
                  <c:v>192.46906952026933</c:v>
                </c:pt>
                <c:pt idx="3419">
                  <c:v>192.5103466529678</c:v>
                </c:pt>
                <c:pt idx="3420">
                  <c:v>192.55163263800648</c:v>
                </c:pt>
                <c:pt idx="3421">
                  <c:v>198.35983049108631</c:v>
                </c:pt>
                <c:pt idx="3422">
                  <c:v>198.40237096299506</c:v>
                </c:pt>
                <c:pt idx="3423">
                  <c:v>198.44492055818117</c:v>
                </c:pt>
                <c:pt idx="3424">
                  <c:v>198.4874792786012</c:v>
                </c:pt>
                <c:pt idx="3425">
                  <c:v>198.5300471262122</c:v>
                </c:pt>
                <c:pt idx="3426">
                  <c:v>198.57262410297159</c:v>
                </c:pt>
                <c:pt idx="3427">
                  <c:v>198.6152102108372</c:v>
                </c:pt>
                <c:pt idx="3428">
                  <c:v>198.6578054517673</c:v>
                </c:pt>
                <c:pt idx="3429">
                  <c:v>198.70040982772059</c:v>
                </c:pt>
                <c:pt idx="3430">
                  <c:v>198.74302334065618</c:v>
                </c:pt>
                <c:pt idx="3431">
                  <c:v>198.78564599253357</c:v>
                </c:pt>
                <c:pt idx="3432">
                  <c:v>198.82827778531274</c:v>
                </c:pt>
                <c:pt idx="3433">
                  <c:v>198.87091872095402</c:v>
                </c:pt>
                <c:pt idx="3434">
                  <c:v>198.91356880141825</c:v>
                </c:pt>
                <c:pt idx="3435">
                  <c:v>198.9562280286666</c:v>
                </c:pt>
                <c:pt idx="3436">
                  <c:v>198.99889640466071</c:v>
                </c:pt>
                <c:pt idx="3437">
                  <c:v>199.04157393136265</c:v>
                </c:pt>
                <c:pt idx="3438">
                  <c:v>199.08426061073484</c:v>
                </c:pt>
                <c:pt idx="3439">
                  <c:v>199.12695644474022</c:v>
                </c:pt>
                <c:pt idx="3440">
                  <c:v>199.16966143534208</c:v>
                </c:pt>
                <c:pt idx="3441">
                  <c:v>199.21237558450417</c:v>
                </c:pt>
                <c:pt idx="3442">
                  <c:v>199.25509889419064</c:v>
                </c:pt>
                <c:pt idx="3443">
                  <c:v>199.29783136636607</c:v>
                </c:pt>
                <c:pt idx="3444">
                  <c:v>199.34057300299543</c:v>
                </c:pt>
                <c:pt idx="3445">
                  <c:v>199.38332380604416</c:v>
                </c:pt>
                <c:pt idx="3446">
                  <c:v>199.42608377747811</c:v>
                </c:pt>
                <c:pt idx="3447">
                  <c:v>199.46885291926353</c:v>
                </c:pt>
                <c:pt idx="3448">
                  <c:v>199.5116312333671</c:v>
                </c:pt>
                <c:pt idx="3449">
                  <c:v>199.55441872175595</c:v>
                </c:pt>
                <c:pt idx="3450">
                  <c:v>199.59721538639758</c:v>
                </c:pt>
                <c:pt idx="3451">
                  <c:v>199.64002122925996</c:v>
                </c:pt>
                <c:pt idx="3452">
                  <c:v>199.68283625231143</c:v>
                </c:pt>
                <c:pt idx="3453">
                  <c:v>199.7256604575208</c:v>
                </c:pt>
                <c:pt idx="3454">
                  <c:v>199.7684938468573</c:v>
                </c:pt>
                <c:pt idx="3455">
                  <c:v>199.81133642229057</c:v>
                </c:pt>
                <c:pt idx="3456">
                  <c:v>199.85418818579063</c:v>
                </c:pt>
                <c:pt idx="3457">
                  <c:v>199.897049139328</c:v>
                </c:pt>
                <c:pt idx="3458">
                  <c:v>199.93991928487358</c:v>
                </c:pt>
                <c:pt idx="3459">
                  <c:v>199.9827986243987</c:v>
                </c:pt>
                <c:pt idx="3460">
                  <c:v>200.0256871598751</c:v>
                </c:pt>
                <c:pt idx="3461">
                  <c:v>200.06858489327499</c:v>
                </c:pt>
                <c:pt idx="3462">
                  <c:v>200.11149182657093</c:v>
                </c:pt>
                <c:pt idx="3463">
                  <c:v>200.15440796173593</c:v>
                </c:pt>
                <c:pt idx="3464">
                  <c:v>200.19733330074345</c:v>
                </c:pt>
                <c:pt idx="3465">
                  <c:v>200.24026784556736</c:v>
                </c:pt>
                <c:pt idx="3466">
                  <c:v>200.28321159818196</c:v>
                </c:pt>
                <c:pt idx="3467">
                  <c:v>200.32616456056195</c:v>
                </c:pt>
                <c:pt idx="3468">
                  <c:v>200.36912673468245</c:v>
                </c:pt>
                <c:pt idx="3469">
                  <c:v>200.41209812251907</c:v>
                </c:pt>
                <c:pt idx="3470">
                  <c:v>200.45507872604773</c:v>
                </c:pt>
                <c:pt idx="3471">
                  <c:v>200.49806854724488</c:v>
                </c:pt>
                <c:pt idx="3472">
                  <c:v>200.54106758808734</c:v>
                </c:pt>
                <c:pt idx="3473">
                  <c:v>200.58407585055238</c:v>
                </c:pt>
                <c:pt idx="3474">
                  <c:v>200.62709333661766</c:v>
                </c:pt>
                <c:pt idx="3475">
                  <c:v>200.67012004826128</c:v>
                </c:pt>
                <c:pt idx="3476">
                  <c:v>200.71315598746179</c:v>
                </c:pt>
                <c:pt idx="3477">
                  <c:v>200.75620115619813</c:v>
                </c:pt>
                <c:pt idx="3478">
                  <c:v>200.79925555644968</c:v>
                </c:pt>
                <c:pt idx="3479">
                  <c:v>200.84231919019624</c:v>
                </c:pt>
                <c:pt idx="3480">
                  <c:v>200.88539205941802</c:v>
                </c:pt>
                <c:pt idx="3481">
                  <c:v>200.9284741660957</c:v>
                </c:pt>
                <c:pt idx="3482">
                  <c:v>200.9715655122103</c:v>
                </c:pt>
                <c:pt idx="3483">
                  <c:v>201.01466609974338</c:v>
                </c:pt>
                <c:pt idx="3484">
                  <c:v>201.05777593067685</c:v>
                </c:pt>
                <c:pt idx="3485">
                  <c:v>201.10089500699306</c:v>
                </c:pt>
                <c:pt idx="3486">
                  <c:v>201.14402333067477</c:v>
                </c:pt>
                <c:pt idx="3487">
                  <c:v>201.18716090370518</c:v>
                </c:pt>
                <c:pt idx="3488">
                  <c:v>201.23030772806791</c:v>
                </c:pt>
                <c:pt idx="3489">
                  <c:v>201.27346380574704</c:v>
                </c:pt>
                <c:pt idx="3490">
                  <c:v>201.31662913872702</c:v>
                </c:pt>
                <c:pt idx="3491">
                  <c:v>201.35980372899277</c:v>
                </c:pt>
                <c:pt idx="3492">
                  <c:v>201.40298757852963</c:v>
                </c:pt>
                <c:pt idx="3493">
                  <c:v>201.44618068932334</c:v>
                </c:pt>
                <c:pt idx="3494">
                  <c:v>201.48938306336007</c:v>
                </c:pt>
                <c:pt idx="3495">
                  <c:v>201.53259470262643</c:v>
                </c:pt>
                <c:pt idx="3496">
                  <c:v>201.57581560910944</c:v>
                </c:pt>
                <c:pt idx="3497">
                  <c:v>201.61904578479658</c:v>
                </c:pt>
                <c:pt idx="3498">
                  <c:v>201.66228523167572</c:v>
                </c:pt>
                <c:pt idx="3499">
                  <c:v>201.70553395173519</c:v>
                </c:pt>
                <c:pt idx="3500">
                  <c:v>201.74879194696371</c:v>
                </c:pt>
                <c:pt idx="3501">
                  <c:v>201.79205921935042</c:v>
                </c:pt>
                <c:pt idx="3502">
                  <c:v>201.83533577088494</c:v>
                </c:pt>
                <c:pt idx="3503">
                  <c:v>201.87862160355729</c:v>
                </c:pt>
                <c:pt idx="3504">
                  <c:v>201.92191671935791</c:v>
                </c:pt>
                <c:pt idx="3505">
                  <c:v>201.96522112027765</c:v>
                </c:pt>
                <c:pt idx="3506">
                  <c:v>202.00853480830781</c:v>
                </c:pt>
                <c:pt idx="3507">
                  <c:v>202.05185778544015</c:v>
                </c:pt>
                <c:pt idx="3508">
                  <c:v>202.09519005366678</c:v>
                </c:pt>
                <c:pt idx="3509">
                  <c:v>202.13853161498031</c:v>
                </c:pt>
                <c:pt idx="3510">
                  <c:v>202.18188247137371</c:v>
                </c:pt>
                <c:pt idx="3511">
                  <c:v>202.72664661047224</c:v>
                </c:pt>
                <c:pt idx="3512">
                  <c:v>202.77012359466775</c:v>
                </c:pt>
                <c:pt idx="3513">
                  <c:v>202.81360990298609</c:v>
                </c:pt>
                <c:pt idx="3514">
                  <c:v>202.85710553742692</c:v>
                </c:pt>
                <c:pt idx="3515">
                  <c:v>202.90061049999034</c:v>
                </c:pt>
                <c:pt idx="3516">
                  <c:v>202.94412479267686</c:v>
                </c:pt>
                <c:pt idx="3517">
                  <c:v>202.98764841748746</c:v>
                </c:pt>
                <c:pt idx="3518">
                  <c:v>203.03118137642349</c:v>
                </c:pt>
                <c:pt idx="3519">
                  <c:v>203.07472367148677</c:v>
                </c:pt>
                <c:pt idx="3520">
                  <c:v>203.11827530467951</c:v>
                </c:pt>
                <c:pt idx="3521">
                  <c:v>203.16183627800439</c:v>
                </c:pt>
                <c:pt idx="3522">
                  <c:v>203.20540659346452</c:v>
                </c:pt>
                <c:pt idx="3523">
                  <c:v>203.24898625306341</c:v>
                </c:pt>
                <c:pt idx="3524">
                  <c:v>203.29257525880502</c:v>
                </c:pt>
                <c:pt idx="3525">
                  <c:v>203.3361736126937</c:v>
                </c:pt>
                <c:pt idx="3526">
                  <c:v>203.37978131673432</c:v>
                </c:pt>
                <c:pt idx="3527">
                  <c:v>203.4233983729321</c:v>
                </c:pt>
                <c:pt idx="3528">
                  <c:v>203.46702478329271</c:v>
                </c:pt>
                <c:pt idx="3529">
                  <c:v>203.51066054982226</c:v>
                </c:pt>
                <c:pt idx="3530">
                  <c:v>203.55430567452728</c:v>
                </c:pt>
                <c:pt idx="3531">
                  <c:v>203.59796015941473</c:v>
                </c:pt>
                <c:pt idx="3532">
                  <c:v>203.64162400649201</c:v>
                </c:pt>
                <c:pt idx="3533">
                  <c:v>203.68529721776696</c:v>
                </c:pt>
                <c:pt idx="3534">
                  <c:v>203.72897979524782</c:v>
                </c:pt>
                <c:pt idx="3535">
                  <c:v>203.77267174094328</c:v>
                </c:pt>
                <c:pt idx="3536">
                  <c:v>203.81637305686246</c:v>
                </c:pt>
                <c:pt idx="3537">
                  <c:v>203.86008374501489</c:v>
                </c:pt>
                <c:pt idx="3538">
                  <c:v>203.90380380741058</c:v>
                </c:pt>
                <c:pt idx="3539">
                  <c:v>203.94753324605992</c:v>
                </c:pt>
                <c:pt idx="3540">
                  <c:v>203.99127206297376</c:v>
                </c:pt>
                <c:pt idx="3541">
                  <c:v>204.03502026016338</c:v>
                </c:pt>
                <c:pt idx="3542">
                  <c:v>204.07877783964048</c:v>
                </c:pt>
                <c:pt idx="3543">
                  <c:v>204.12254480341718</c:v>
                </c:pt>
                <c:pt idx="3544">
                  <c:v>204.16632115350606</c:v>
                </c:pt>
                <c:pt idx="3545">
                  <c:v>204.21010689192013</c:v>
                </c:pt>
                <c:pt idx="3546">
                  <c:v>204.2539020206728</c:v>
                </c:pt>
                <c:pt idx="3547">
                  <c:v>204.29770654177796</c:v>
                </c:pt>
                <c:pt idx="3548">
                  <c:v>204.34152045724989</c:v>
                </c:pt>
                <c:pt idx="3549">
                  <c:v>204.38534376910329</c:v>
                </c:pt>
                <c:pt idx="3550">
                  <c:v>204.42917647935334</c:v>
                </c:pt>
                <c:pt idx="3551">
                  <c:v>204.47301859001564</c:v>
                </c:pt>
                <c:pt idx="3552">
                  <c:v>204.51687010310621</c:v>
                </c:pt>
                <c:pt idx="3553">
                  <c:v>204.5607310206415</c:v>
                </c:pt>
                <c:pt idx="3554">
                  <c:v>204.60460134463841</c:v>
                </c:pt>
                <c:pt idx="3555">
                  <c:v>204.64848107711424</c:v>
                </c:pt>
                <c:pt idx="3556">
                  <c:v>204.69237022008676</c:v>
                </c:pt>
                <c:pt idx="3557">
                  <c:v>204.73626877557413</c:v>
                </c:pt>
                <c:pt idx="3558">
                  <c:v>204.78017674559501</c:v>
                </c:pt>
                <c:pt idx="3559">
                  <c:v>204.82409413216843</c:v>
                </c:pt>
                <c:pt idx="3560">
                  <c:v>204.86802093731384</c:v>
                </c:pt>
                <c:pt idx="3561">
                  <c:v>204.91195716305123</c:v>
                </c:pt>
                <c:pt idx="3562">
                  <c:v>204.95590281140088</c:v>
                </c:pt>
                <c:pt idx="3563">
                  <c:v>204.9998578843836</c:v>
                </c:pt>
                <c:pt idx="3564">
                  <c:v>205.04382238402061</c:v>
                </c:pt>
                <c:pt idx="3565">
                  <c:v>205.08779631233358</c:v>
                </c:pt>
                <c:pt idx="3566">
                  <c:v>205.13177967134459</c:v>
                </c:pt>
                <c:pt idx="3567">
                  <c:v>205.17577246307613</c:v>
                </c:pt>
                <c:pt idx="3568">
                  <c:v>205.21977468955117</c:v>
                </c:pt>
                <c:pt idx="3569">
                  <c:v>205.26378635279309</c:v>
                </c:pt>
                <c:pt idx="3570">
                  <c:v>205.30780745482571</c:v>
                </c:pt>
                <c:pt idx="3571">
                  <c:v>205.3518379976733</c:v>
                </c:pt>
                <c:pt idx="3572">
                  <c:v>205.39587798336052</c:v>
                </c:pt>
                <c:pt idx="3573">
                  <c:v>205.4399274139125</c:v>
                </c:pt>
                <c:pt idx="3574">
                  <c:v>205.48398629135482</c:v>
                </c:pt>
                <c:pt idx="3575">
                  <c:v>205.52805461771345</c:v>
                </c:pt>
                <c:pt idx="3576">
                  <c:v>205.57213239501482</c:v>
                </c:pt>
                <c:pt idx="3577">
                  <c:v>205.61621962528579</c:v>
                </c:pt>
                <c:pt idx="3578">
                  <c:v>205.66031631055364</c:v>
                </c:pt>
                <c:pt idx="3579">
                  <c:v>205.7044224528461</c:v>
                </c:pt>
                <c:pt idx="3580">
                  <c:v>205.74853805419136</c:v>
                </c:pt>
                <c:pt idx="3581">
                  <c:v>205.792663116618</c:v>
                </c:pt>
                <c:pt idx="3582">
                  <c:v>205.83679764215506</c:v>
                </c:pt>
                <c:pt idx="3583">
                  <c:v>205.88094163283202</c:v>
                </c:pt>
                <c:pt idx="3584">
                  <c:v>205.92509509067878</c:v>
                </c:pt>
                <c:pt idx="3585">
                  <c:v>205.96925801772565</c:v>
                </c:pt>
                <c:pt idx="3586">
                  <c:v>206.01343041600344</c:v>
                </c:pt>
                <c:pt idx="3587">
                  <c:v>206.05761228754335</c:v>
                </c:pt>
                <c:pt idx="3588">
                  <c:v>206.10180363437703</c:v>
                </c:pt>
                <c:pt idx="3589">
                  <c:v>206.14600445853657</c:v>
                </c:pt>
                <c:pt idx="3590">
                  <c:v>206.19021476205444</c:v>
                </c:pt>
                <c:pt idx="3591">
                  <c:v>206.23443454696366</c:v>
                </c:pt>
                <c:pt idx="3592">
                  <c:v>206.27866381529756</c:v>
                </c:pt>
                <c:pt idx="3593">
                  <c:v>206.32290256909002</c:v>
                </c:pt>
                <c:pt idx="3594">
                  <c:v>206.36715081037525</c:v>
                </c:pt>
                <c:pt idx="3595">
                  <c:v>206.411408541188</c:v>
                </c:pt>
                <c:pt idx="3596">
                  <c:v>206.45567576356336</c:v>
                </c:pt>
                <c:pt idx="3597">
                  <c:v>206.49995247953694</c:v>
                </c:pt>
                <c:pt idx="3598">
                  <c:v>206.54423869114473</c:v>
                </c:pt>
                <c:pt idx="3599">
                  <c:v>206.58853440042316</c:v>
                </c:pt>
                <c:pt idx="3600">
                  <c:v>206.63283960940913</c:v>
                </c:pt>
                <c:pt idx="3601">
                  <c:v>209.45025570163574</c:v>
                </c:pt>
                <c:pt idx="3602">
                  <c:v>209.49517463858427</c:v>
                </c:pt>
                <c:pt idx="3603">
                  <c:v>209.54010320889847</c:v>
                </c:pt>
                <c:pt idx="3604">
                  <c:v>209.58504141464428</c:v>
                </c:pt>
                <c:pt idx="3605">
                  <c:v>209.62998925788813</c:v>
                </c:pt>
                <c:pt idx="3606">
                  <c:v>209.6749467406969</c:v>
                </c:pt>
                <c:pt idx="3607">
                  <c:v>209.7199138651379</c:v>
                </c:pt>
                <c:pt idx="3608">
                  <c:v>209.7648906332789</c:v>
                </c:pt>
                <c:pt idx="3609">
                  <c:v>209.80987704718805</c:v>
                </c:pt>
                <c:pt idx="3610">
                  <c:v>209.85487310893404</c:v>
                </c:pt>
                <c:pt idx="3611">
                  <c:v>209.89987882058594</c:v>
                </c:pt>
                <c:pt idx="3612">
                  <c:v>209.9448941842133</c:v>
                </c:pt>
                <c:pt idx="3613">
                  <c:v>209.98991920188607</c:v>
                </c:pt>
                <c:pt idx="3614">
                  <c:v>210.03495387567466</c:v>
                </c:pt>
                <c:pt idx="3615">
                  <c:v>210.07999820764994</c:v>
                </c:pt>
                <c:pt idx="3616">
                  <c:v>210.12505219988321</c:v>
                </c:pt>
                <c:pt idx="3617">
                  <c:v>210.17011585444624</c:v>
                </c:pt>
                <c:pt idx="3618">
                  <c:v>210.2151891734112</c:v>
                </c:pt>
                <c:pt idx="3619">
                  <c:v>210.26027215885077</c:v>
                </c:pt>
                <c:pt idx="3620">
                  <c:v>210.30536481283798</c:v>
                </c:pt>
                <c:pt idx="3621">
                  <c:v>210.35046713744637</c:v>
                </c:pt>
                <c:pt idx="3622">
                  <c:v>210.39557913474994</c:v>
                </c:pt>
                <c:pt idx="3623">
                  <c:v>210.44070080682309</c:v>
                </c:pt>
                <c:pt idx="3624">
                  <c:v>210.4858321557407</c:v>
                </c:pt>
                <c:pt idx="3625">
                  <c:v>210.53097318357803</c:v>
                </c:pt>
                <c:pt idx="3626">
                  <c:v>210.57612389241086</c:v>
                </c:pt>
                <c:pt idx="3627">
                  <c:v>210.62128428431541</c:v>
                </c:pt>
                <c:pt idx="3628">
                  <c:v>210.6664543613683</c:v>
                </c:pt>
                <c:pt idx="3629">
                  <c:v>210.71163412564661</c:v>
                </c:pt>
                <c:pt idx="3630">
                  <c:v>210.7568235792279</c:v>
                </c:pt>
                <c:pt idx="3631">
                  <c:v>213.97825513496792</c:v>
                </c:pt>
                <c:pt idx="3632">
                  <c:v>214.02414515175769</c:v>
                </c:pt>
                <c:pt idx="3633">
                  <c:v>214.07004501017198</c:v>
                </c:pt>
                <c:pt idx="3634">
                  <c:v>214.11595471232141</c:v>
                </c:pt>
                <c:pt idx="3635">
                  <c:v>214.16187426031709</c:v>
                </c:pt>
                <c:pt idx="3636">
                  <c:v>214.20780365627058</c:v>
                </c:pt>
                <c:pt idx="3637">
                  <c:v>214.25374290229391</c:v>
                </c:pt>
                <c:pt idx="3638">
                  <c:v>214.29969200049948</c:v>
                </c:pt>
                <c:pt idx="3639">
                  <c:v>214.34565095300024</c:v>
                </c:pt>
                <c:pt idx="3640">
                  <c:v>214.39161976190954</c:v>
                </c:pt>
                <c:pt idx="3641">
                  <c:v>214.43759842934119</c:v>
                </c:pt>
                <c:pt idx="3642">
                  <c:v>214.48358695740947</c:v>
                </c:pt>
                <c:pt idx="3643">
                  <c:v>214.52958534822912</c:v>
                </c:pt>
                <c:pt idx="3644">
                  <c:v>214.57559360391528</c:v>
                </c:pt>
                <c:pt idx="3645">
                  <c:v>214.62161172658361</c:v>
                </c:pt>
                <c:pt idx="3646">
                  <c:v>214.66763971835019</c:v>
                </c:pt>
                <c:pt idx="3647">
                  <c:v>214.71367758133155</c:v>
                </c:pt>
                <c:pt idx="3648">
                  <c:v>214.75972531764469</c:v>
                </c:pt>
                <c:pt idx="3649">
                  <c:v>214.80578292940703</c:v>
                </c:pt>
                <c:pt idx="3650">
                  <c:v>214.85185041873649</c:v>
                </c:pt>
                <c:pt idx="3651">
                  <c:v>214.89792778775143</c:v>
                </c:pt>
                <c:pt idx="3652">
                  <c:v>214.94401503857065</c:v>
                </c:pt>
                <c:pt idx="3653">
                  <c:v>214.99011217331343</c:v>
                </c:pt>
                <c:pt idx="3654">
                  <c:v>215.03621919409946</c:v>
                </c:pt>
                <c:pt idx="3655">
                  <c:v>215.08233610304893</c:v>
                </c:pt>
                <c:pt idx="3656">
                  <c:v>215.12846290228245</c:v>
                </c:pt>
                <c:pt idx="3657">
                  <c:v>215.1745995939211</c:v>
                </c:pt>
                <c:pt idx="3658">
                  <c:v>215.22074618008645</c:v>
                </c:pt>
                <c:pt idx="3659">
                  <c:v>215.26690266290046</c:v>
                </c:pt>
                <c:pt idx="3660">
                  <c:v>215.31306904448559</c:v>
                </c:pt>
                <c:pt idx="3661">
                  <c:v>219.1822000752482</c:v>
                </c:pt>
                <c:pt idx="3662">
                  <c:v>219.22920613591137</c:v>
                </c:pt>
                <c:pt idx="3663">
                  <c:v>219.27622227754705</c:v>
                </c:pt>
                <c:pt idx="3664">
                  <c:v>219.32324850231726</c:v>
                </c:pt>
                <c:pt idx="3665">
                  <c:v>219.3702848123844</c:v>
                </c:pt>
                <c:pt idx="3666">
                  <c:v>219.4173312099114</c:v>
                </c:pt>
                <c:pt idx="3667">
                  <c:v>219.46438769706162</c:v>
                </c:pt>
                <c:pt idx="3668">
                  <c:v>219.51145427599891</c:v>
                </c:pt>
                <c:pt idx="3669">
                  <c:v>219.55853094888755</c:v>
                </c:pt>
                <c:pt idx="3670">
                  <c:v>219.6056177178923</c:v>
                </c:pt>
                <c:pt idx="3671">
                  <c:v>219.65271458517839</c:v>
                </c:pt>
                <c:pt idx="3672">
                  <c:v>219.69982155291149</c:v>
                </c:pt>
                <c:pt idx="3673">
                  <c:v>219.74693862325779</c:v>
                </c:pt>
                <c:pt idx="3674">
                  <c:v>219.79406579838388</c:v>
                </c:pt>
                <c:pt idx="3675">
                  <c:v>219.84120308045684</c:v>
                </c:pt>
                <c:pt idx="3676">
                  <c:v>219.88835047164423</c:v>
                </c:pt>
                <c:pt idx="3677">
                  <c:v>219.93550797411405</c:v>
                </c:pt>
                <c:pt idx="3678">
                  <c:v>219.98267559003477</c:v>
                </c:pt>
                <c:pt idx="3679">
                  <c:v>220.02985332157536</c:v>
                </c:pt>
                <c:pt idx="3680">
                  <c:v>220.07704117090523</c:v>
                </c:pt>
                <c:pt idx="3681">
                  <c:v>220.12423914019422</c:v>
                </c:pt>
                <c:pt idx="3682">
                  <c:v>220.17144723161269</c:v>
                </c:pt>
                <c:pt idx="3683">
                  <c:v>220.21866544733143</c:v>
                </c:pt>
                <c:pt idx="3684">
                  <c:v>220.26589378952173</c:v>
                </c:pt>
                <c:pt idx="3685">
                  <c:v>220.3131322603553</c:v>
                </c:pt>
                <c:pt idx="3686">
                  <c:v>220.36038086200435</c:v>
                </c:pt>
                <c:pt idx="3687">
                  <c:v>220.40763959664156</c:v>
                </c:pt>
                <c:pt idx="3688">
                  <c:v>220.45490846644003</c:v>
                </c:pt>
                <c:pt idx="3689">
                  <c:v>220.5021874735734</c:v>
                </c:pt>
                <c:pt idx="3690">
                  <c:v>220.5494766202157</c:v>
                </c:pt>
                <c:pt idx="3691">
                  <c:v>220.59677590854147</c:v>
                </c:pt>
                <c:pt idx="3692">
                  <c:v>220.64408534072572</c:v>
                </c:pt>
                <c:pt idx="3693">
                  <c:v>220.6914049189439</c:v>
                </c:pt>
                <c:pt idx="3694">
                  <c:v>220.73873464537195</c:v>
                </c:pt>
                <c:pt idx="3695">
                  <c:v>220.78607452218625</c:v>
                </c:pt>
                <c:pt idx="3696">
                  <c:v>220.83342455156367</c:v>
                </c:pt>
                <c:pt idx="3697">
                  <c:v>220.88078473568154</c:v>
                </c:pt>
                <c:pt idx="3698">
                  <c:v>220.92815507671764</c:v>
                </c:pt>
                <c:pt idx="3699">
                  <c:v>220.97553557685026</c:v>
                </c:pt>
                <c:pt idx="3700">
                  <c:v>221.02292623825812</c:v>
                </c:pt>
                <c:pt idx="3701">
                  <c:v>221.07032706312043</c:v>
                </c:pt>
                <c:pt idx="3702">
                  <c:v>221.11773805361685</c:v>
                </c:pt>
                <c:pt idx="3703">
                  <c:v>221.16515921192752</c:v>
                </c:pt>
                <c:pt idx="3704">
                  <c:v>221.21259054023301</c:v>
                </c:pt>
                <c:pt idx="3705">
                  <c:v>221.26003204071444</c:v>
                </c:pt>
                <c:pt idx="3706">
                  <c:v>221.3074837155533</c:v>
                </c:pt>
                <c:pt idx="3707">
                  <c:v>221.3549455669316</c:v>
                </c:pt>
                <c:pt idx="3708">
                  <c:v>221.40241759703184</c:v>
                </c:pt>
                <c:pt idx="3709">
                  <c:v>221.44989980803695</c:v>
                </c:pt>
                <c:pt idx="3710">
                  <c:v>221.49739220213033</c:v>
                </c:pt>
                <c:pt idx="3711">
                  <c:v>221.54489478149586</c:v>
                </c:pt>
                <c:pt idx="3712">
                  <c:v>221.59240754831788</c:v>
                </c:pt>
                <c:pt idx="3713">
                  <c:v>221.6399305047812</c:v>
                </c:pt>
                <c:pt idx="3714">
                  <c:v>221.68746365307112</c:v>
                </c:pt>
                <c:pt idx="3715">
                  <c:v>221.73500699537337</c:v>
                </c:pt>
                <c:pt idx="3716">
                  <c:v>221.78256053387418</c:v>
                </c:pt>
                <c:pt idx="3717">
                  <c:v>221.83012427076022</c:v>
                </c:pt>
                <c:pt idx="3718">
                  <c:v>221.87769820821867</c:v>
                </c:pt>
                <c:pt idx="3719">
                  <c:v>221.92528234843715</c:v>
                </c:pt>
                <c:pt idx="3720">
                  <c:v>221.97287669360375</c:v>
                </c:pt>
                <c:pt idx="3721">
                  <c:v>224.51568418680907</c:v>
                </c:pt>
                <c:pt idx="3722">
                  <c:v>224.5638340724617</c:v>
                </c:pt>
                <c:pt idx="3723">
                  <c:v>224.61199428439286</c:v>
                </c:pt>
                <c:pt idx="3724">
                  <c:v>224.66016482481712</c:v>
                </c:pt>
                <c:pt idx="3725">
                  <c:v>224.70834569594956</c:v>
                </c:pt>
                <c:pt idx="3726">
                  <c:v>224.7565369000057</c:v>
                </c:pt>
                <c:pt idx="3727">
                  <c:v>224.80473843920157</c:v>
                </c:pt>
                <c:pt idx="3728">
                  <c:v>224.85295031575365</c:v>
                </c:pt>
                <c:pt idx="3729">
                  <c:v>224.90117253187887</c:v>
                </c:pt>
                <c:pt idx="3730">
                  <c:v>224.94940508979471</c:v>
                </c:pt>
                <c:pt idx="3731">
                  <c:v>224.99764799171905</c:v>
                </c:pt>
                <c:pt idx="3732">
                  <c:v>225.04590123987029</c:v>
                </c:pt>
                <c:pt idx="3733">
                  <c:v>225.09416483646729</c:v>
                </c:pt>
                <c:pt idx="3734">
                  <c:v>225.1424387837294</c:v>
                </c:pt>
                <c:pt idx="3735">
                  <c:v>225.19072308387643</c:v>
                </c:pt>
                <c:pt idx="3736">
                  <c:v>225.23901773912866</c:v>
                </c:pt>
                <c:pt idx="3737">
                  <c:v>225.28732275170685</c:v>
                </c:pt>
                <c:pt idx="3738">
                  <c:v>225.33563812383227</c:v>
                </c:pt>
                <c:pt idx="3739">
                  <c:v>225.38396385772663</c:v>
                </c:pt>
                <c:pt idx="3740">
                  <c:v>225.43229995561214</c:v>
                </c:pt>
                <c:pt idx="3741">
                  <c:v>225.48064641971146</c:v>
                </c:pt>
                <c:pt idx="3742">
                  <c:v>225.52900325224775</c:v>
                </c:pt>
                <c:pt idx="3743">
                  <c:v>225.57737045544462</c:v>
                </c:pt>
                <c:pt idx="3744">
                  <c:v>225.62574803152617</c:v>
                </c:pt>
                <c:pt idx="3745">
                  <c:v>225.67413598271699</c:v>
                </c:pt>
                <c:pt idx="3746">
                  <c:v>225.72253431124216</c:v>
                </c:pt>
                <c:pt idx="3747">
                  <c:v>225.77094301932718</c:v>
                </c:pt>
                <c:pt idx="3748">
                  <c:v>225.81936210919807</c:v>
                </c:pt>
                <c:pt idx="3749">
                  <c:v>225.86779158308133</c:v>
                </c:pt>
                <c:pt idx="3750">
                  <c:v>225.91623144320391</c:v>
                </c:pt>
                <c:pt idx="3751">
                  <c:v>225.96468169179329</c:v>
                </c:pt>
                <c:pt idx="3752">
                  <c:v>226.01314233107735</c:v>
                </c:pt>
                <c:pt idx="3753">
                  <c:v>226.06161336328452</c:v>
                </c:pt>
                <c:pt idx="3754">
                  <c:v>226.11009479064367</c:v>
                </c:pt>
                <c:pt idx="3755">
                  <c:v>226.15858661538414</c:v>
                </c:pt>
                <c:pt idx="3756">
                  <c:v>226.20708883973577</c:v>
                </c:pt>
                <c:pt idx="3757">
                  <c:v>226.25560146592889</c:v>
                </c:pt>
                <c:pt idx="3758">
                  <c:v>226.30412449619428</c:v>
                </c:pt>
                <c:pt idx="3759">
                  <c:v>226.35265793276321</c:v>
                </c:pt>
                <c:pt idx="3760">
                  <c:v>226.40120177786741</c:v>
                </c:pt>
                <c:pt idx="3761">
                  <c:v>226.44975603373913</c:v>
                </c:pt>
                <c:pt idx="3762">
                  <c:v>226.49832070261107</c:v>
                </c:pt>
                <c:pt idx="3763">
                  <c:v>226.54689578671642</c:v>
                </c:pt>
                <c:pt idx="3764">
                  <c:v>226.59548128828882</c:v>
                </c:pt>
                <c:pt idx="3765">
                  <c:v>226.64407720956243</c:v>
                </c:pt>
                <c:pt idx="3766">
                  <c:v>226.69268355277185</c:v>
                </c:pt>
                <c:pt idx="3767">
                  <c:v>226.74130032015222</c:v>
                </c:pt>
                <c:pt idx="3768">
                  <c:v>226.78992751393909</c:v>
                </c:pt>
                <c:pt idx="3769">
                  <c:v>226.83856513636852</c:v>
                </c:pt>
                <c:pt idx="3770">
                  <c:v>226.88721318967706</c:v>
                </c:pt>
                <c:pt idx="3771">
                  <c:v>226.9358716761017</c:v>
                </c:pt>
                <c:pt idx="3772">
                  <c:v>226.98454059787997</c:v>
                </c:pt>
                <c:pt idx="3773">
                  <c:v>227.03321995724983</c:v>
                </c:pt>
                <c:pt idx="3774">
                  <c:v>227.08190975644976</c:v>
                </c:pt>
                <c:pt idx="3775">
                  <c:v>227.13060999771866</c:v>
                </c:pt>
                <c:pt idx="3776">
                  <c:v>227.179320683296</c:v>
                </c:pt>
                <c:pt idx="3777">
                  <c:v>227.22804181542162</c:v>
                </c:pt>
                <c:pt idx="3778">
                  <c:v>227.27677339633593</c:v>
                </c:pt>
                <c:pt idx="3779">
                  <c:v>227.3255154282798</c:v>
                </c:pt>
                <c:pt idx="3780">
                  <c:v>227.37426791349455</c:v>
                </c:pt>
                <c:pt idx="3781">
                  <c:v>227.42303085422199</c:v>
                </c:pt>
                <c:pt idx="3782">
                  <c:v>227.47180425270446</c:v>
                </c:pt>
                <c:pt idx="3783">
                  <c:v>227.52058811118471</c:v>
                </c:pt>
                <c:pt idx="3784">
                  <c:v>227.56938243190601</c:v>
                </c:pt>
                <c:pt idx="3785">
                  <c:v>227.61818721711211</c:v>
                </c:pt>
                <c:pt idx="3786">
                  <c:v>227.66700246904722</c:v>
                </c:pt>
                <c:pt idx="3787">
                  <c:v>227.71582818995606</c:v>
                </c:pt>
                <c:pt idx="3788">
                  <c:v>227.76466438208379</c:v>
                </c:pt>
                <c:pt idx="3789">
                  <c:v>227.81351104767612</c:v>
                </c:pt>
                <c:pt idx="3790">
                  <c:v>227.86236818897919</c:v>
                </c:pt>
                <c:pt idx="3791">
                  <c:v>227.91123580823961</c:v>
                </c:pt>
                <c:pt idx="3792">
                  <c:v>227.96011390770451</c:v>
                </c:pt>
                <c:pt idx="3793">
                  <c:v>228.00900248962151</c:v>
                </c:pt>
                <c:pt idx="3794">
                  <c:v>228.05790155623865</c:v>
                </c:pt>
                <c:pt idx="3795">
                  <c:v>228.10681110980451</c:v>
                </c:pt>
                <c:pt idx="3796">
                  <c:v>228.15573115256814</c:v>
                </c:pt>
                <c:pt idx="3797">
                  <c:v>228.20466168677905</c:v>
                </c:pt>
                <c:pt idx="3798">
                  <c:v>228.25360271468725</c:v>
                </c:pt>
                <c:pt idx="3799">
                  <c:v>228.30255423854322</c:v>
                </c:pt>
                <c:pt idx="3800">
                  <c:v>228.35151626059795</c:v>
                </c:pt>
                <c:pt idx="3801">
                  <c:v>228.4004887831029</c:v>
                </c:pt>
                <c:pt idx="3802">
                  <c:v>228.44947180830999</c:v>
                </c:pt>
                <c:pt idx="3803">
                  <c:v>228.49846533847165</c:v>
                </c:pt>
                <c:pt idx="3804">
                  <c:v>228.54746937584079</c:v>
                </c:pt>
                <c:pt idx="3805">
                  <c:v>228.59648392267079</c:v>
                </c:pt>
                <c:pt idx="3806">
                  <c:v>228.64550898121553</c:v>
                </c:pt>
                <c:pt idx="3807">
                  <c:v>228.69454455372934</c:v>
                </c:pt>
                <c:pt idx="3808">
                  <c:v>228.7435906424671</c:v>
                </c:pt>
                <c:pt idx="3809">
                  <c:v>228.79264724968408</c:v>
                </c:pt>
                <c:pt idx="3810">
                  <c:v>228.84171437763612</c:v>
                </c:pt>
                <c:pt idx="3811">
                  <c:v>228.89079202857951</c:v>
                </c:pt>
                <c:pt idx="3812">
                  <c:v>228.93988020477101</c:v>
                </c:pt>
                <c:pt idx="3813">
                  <c:v>228.98897890846789</c:v>
                </c:pt>
                <c:pt idx="3814">
                  <c:v>229.03808814192786</c:v>
                </c:pt>
                <c:pt idx="3815">
                  <c:v>229.08720790740915</c:v>
                </c:pt>
                <c:pt idx="3816">
                  <c:v>229.1363382071705</c:v>
                </c:pt>
                <c:pt idx="3817">
                  <c:v>229.18547904347108</c:v>
                </c:pt>
                <c:pt idx="3818">
                  <c:v>229.23463041857056</c:v>
                </c:pt>
                <c:pt idx="3819">
                  <c:v>229.28379233472913</c:v>
                </c:pt>
                <c:pt idx="3820">
                  <c:v>229.33296479420741</c:v>
                </c:pt>
                <c:pt idx="3821">
                  <c:v>229.38214779926656</c:v>
                </c:pt>
                <c:pt idx="3822">
                  <c:v>229.43134135216818</c:v>
                </c:pt>
                <c:pt idx="3823">
                  <c:v>229.48054545517437</c:v>
                </c:pt>
                <c:pt idx="3824">
                  <c:v>229.52976011054773</c:v>
                </c:pt>
                <c:pt idx="3825">
                  <c:v>229.57898532055134</c:v>
                </c:pt>
                <c:pt idx="3826">
                  <c:v>229.62822108744874</c:v>
                </c:pt>
                <c:pt idx="3827">
                  <c:v>229.67746741350396</c:v>
                </c:pt>
                <c:pt idx="3828">
                  <c:v>229.72672430098154</c:v>
                </c:pt>
                <c:pt idx="3829">
                  <c:v>229.77599175214652</c:v>
                </c:pt>
                <c:pt idx="3830">
                  <c:v>229.82526976926437</c:v>
                </c:pt>
                <c:pt idx="3831">
                  <c:v>229.87455835460108</c:v>
                </c:pt>
                <c:pt idx="3832">
                  <c:v>229.92385751042315</c:v>
                </c:pt>
                <c:pt idx="3833">
                  <c:v>229.97316723899749</c:v>
                </c:pt>
                <c:pt idx="3834">
                  <c:v>230.02248754259159</c:v>
                </c:pt>
                <c:pt idx="3835">
                  <c:v>230.07181842347336</c:v>
                </c:pt>
                <c:pt idx="3836">
                  <c:v>230.12115988391122</c:v>
                </c:pt>
                <c:pt idx="3837">
                  <c:v>230.17051192617407</c:v>
                </c:pt>
                <c:pt idx="3838">
                  <c:v>230.21987455253131</c:v>
                </c:pt>
                <c:pt idx="3839">
                  <c:v>230.2692477652528</c:v>
                </c:pt>
                <c:pt idx="3840">
                  <c:v>230.3186315666089</c:v>
                </c:pt>
                <c:pt idx="3841">
                  <c:v>230.36802595887048</c:v>
                </c:pt>
                <c:pt idx="3842">
                  <c:v>230.41743094430888</c:v>
                </c:pt>
                <c:pt idx="3843">
                  <c:v>230.4668465251959</c:v>
                </c:pt>
                <c:pt idx="3844">
                  <c:v>230.51627270380388</c:v>
                </c:pt>
                <c:pt idx="3845">
                  <c:v>230.56570948240559</c:v>
                </c:pt>
                <c:pt idx="3846">
                  <c:v>230.61515686327436</c:v>
                </c:pt>
                <c:pt idx="3847">
                  <c:v>230.66461484868393</c:v>
                </c:pt>
                <c:pt idx="3848">
                  <c:v>230.71408344090855</c:v>
                </c:pt>
                <c:pt idx="3849">
                  <c:v>230.76356264222301</c:v>
                </c:pt>
                <c:pt idx="3850">
                  <c:v>230.8130524549025</c:v>
                </c:pt>
                <c:pt idx="3851">
                  <c:v>230.8625528812228</c:v>
                </c:pt>
                <c:pt idx="3852">
                  <c:v>230.91206392346007</c:v>
                </c:pt>
                <c:pt idx="3853">
                  <c:v>230.96158558389104</c:v>
                </c:pt>
                <c:pt idx="3854">
                  <c:v>231.01111786479288</c:v>
                </c:pt>
                <c:pt idx="3855">
                  <c:v>231.06066076844331</c:v>
                </c:pt>
                <c:pt idx="3856">
                  <c:v>231.11021429712045</c:v>
                </c:pt>
                <c:pt idx="3857">
                  <c:v>231.15977845310297</c:v>
                </c:pt>
                <c:pt idx="3858">
                  <c:v>231.20935323867005</c:v>
                </c:pt>
                <c:pt idx="3859">
                  <c:v>231.25893865610126</c:v>
                </c:pt>
                <c:pt idx="3860">
                  <c:v>231.30853470767678</c:v>
                </c:pt>
                <c:pt idx="3861">
                  <c:v>231.35814139567719</c:v>
                </c:pt>
                <c:pt idx="3862">
                  <c:v>231.40775872238359</c:v>
                </c:pt>
                <c:pt idx="3863">
                  <c:v>231.45738669007756</c:v>
                </c:pt>
                <c:pt idx="3864">
                  <c:v>231.50702530104118</c:v>
                </c:pt>
                <c:pt idx="3865">
                  <c:v>231.55667455755705</c:v>
                </c:pt>
                <c:pt idx="3866">
                  <c:v>231.60633446190818</c:v>
                </c:pt>
                <c:pt idx="3867">
                  <c:v>231.65600501637815</c:v>
                </c:pt>
                <c:pt idx="3868">
                  <c:v>231.70568622325098</c:v>
                </c:pt>
                <c:pt idx="3869">
                  <c:v>231.75537808481121</c:v>
                </c:pt>
                <c:pt idx="3870">
                  <c:v>231.80508060334387</c:v>
                </c:pt>
                <c:pt idx="3871">
                  <c:v>231.85479378113442</c:v>
                </c:pt>
                <c:pt idx="3872">
                  <c:v>231.90451762046891</c:v>
                </c:pt>
                <c:pt idx="3873">
                  <c:v>231.95425212363378</c:v>
                </c:pt>
                <c:pt idx="3874">
                  <c:v>232.00399729291604</c:v>
                </c:pt>
                <c:pt idx="3875">
                  <c:v>232.05375313060313</c:v>
                </c:pt>
                <c:pt idx="3876">
                  <c:v>232.10351963898302</c:v>
                </c:pt>
                <c:pt idx="3877">
                  <c:v>232.15329682034417</c:v>
                </c:pt>
                <c:pt idx="3878">
                  <c:v>232.20308467697549</c:v>
                </c:pt>
                <c:pt idx="3879">
                  <c:v>232.25288321116645</c:v>
                </c:pt>
                <c:pt idx="3880">
                  <c:v>232.30269242520694</c:v>
                </c:pt>
                <c:pt idx="3881">
                  <c:v>232.35251232138739</c:v>
                </c:pt>
                <c:pt idx="3882">
                  <c:v>232.40234290199871</c:v>
                </c:pt>
                <c:pt idx="3883">
                  <c:v>232.45218416933227</c:v>
                </c:pt>
                <c:pt idx="3884">
                  <c:v>232.50203612567998</c:v>
                </c:pt>
                <c:pt idx="3885">
                  <c:v>232.55189877333422</c:v>
                </c:pt>
                <c:pt idx="3886">
                  <c:v>232.60177211458782</c:v>
                </c:pt>
                <c:pt idx="3887">
                  <c:v>232.65165615173419</c:v>
                </c:pt>
                <c:pt idx="3888">
                  <c:v>232.70155088706716</c:v>
                </c:pt>
                <c:pt idx="3889">
                  <c:v>232.75145632288107</c:v>
                </c:pt>
                <c:pt idx="3890">
                  <c:v>232.80137246147078</c:v>
                </c:pt>
                <c:pt idx="3891">
                  <c:v>232.85129930513159</c:v>
                </c:pt>
                <c:pt idx="3892">
                  <c:v>232.90123685615933</c:v>
                </c:pt>
                <c:pt idx="3893">
                  <c:v>232.95118511685033</c:v>
                </c:pt>
                <c:pt idx="3894">
                  <c:v>233.00114408950137</c:v>
                </c:pt>
                <c:pt idx="3895">
                  <c:v>233.05111377640978</c:v>
                </c:pt>
                <c:pt idx="3896">
                  <c:v>233.10109417987331</c:v>
                </c:pt>
                <c:pt idx="3897">
                  <c:v>233.1510853021903</c:v>
                </c:pt>
                <c:pt idx="3898">
                  <c:v>233.20108714565947</c:v>
                </c:pt>
                <c:pt idx="3899">
                  <c:v>233.25109971258013</c:v>
                </c:pt>
                <c:pt idx="3900">
                  <c:v>233.30112300525204</c:v>
                </c:pt>
                <c:pt idx="3901">
                  <c:v>233.35115702597545</c:v>
                </c:pt>
                <c:pt idx="3902">
                  <c:v>233.40120177705111</c:v>
                </c:pt>
                <c:pt idx="3903">
                  <c:v>233.45125726078027</c:v>
                </c:pt>
                <c:pt idx="3904">
                  <c:v>233.50132347946465</c:v>
                </c:pt>
                <c:pt idx="3905">
                  <c:v>233.55140043540646</c:v>
                </c:pt>
                <c:pt idx="3906">
                  <c:v>233.60148813090848</c:v>
                </c:pt>
                <c:pt idx="3907">
                  <c:v>233.6515865682739</c:v>
                </c:pt>
                <c:pt idx="3908">
                  <c:v>233.70169574980642</c:v>
                </c:pt>
                <c:pt idx="3909">
                  <c:v>233.75181567781027</c:v>
                </c:pt>
                <c:pt idx="3910">
                  <c:v>233.80194635459014</c:v>
                </c:pt>
                <c:pt idx="3911">
                  <c:v>233.85208778245124</c:v>
                </c:pt>
                <c:pt idx="3912">
                  <c:v>233.90223996369923</c:v>
                </c:pt>
                <c:pt idx="3913">
                  <c:v>233.95240290064029</c:v>
                </c:pt>
                <c:pt idx="3914">
                  <c:v>234.00257659558113</c:v>
                </c:pt>
                <c:pt idx="3915">
                  <c:v>234.05276105082891</c:v>
                </c:pt>
                <c:pt idx="3916">
                  <c:v>234.10295626869129</c:v>
                </c:pt>
                <c:pt idx="3917">
                  <c:v>234.15316225147643</c:v>
                </c:pt>
                <c:pt idx="3918">
                  <c:v>234.203379001493</c:v>
                </c:pt>
                <c:pt idx="3919">
                  <c:v>234.25360652105016</c:v>
                </c:pt>
                <c:pt idx="3920">
                  <c:v>234.30384481245753</c:v>
                </c:pt>
                <c:pt idx="3921">
                  <c:v>234.35409387802528</c:v>
                </c:pt>
                <c:pt idx="3922">
                  <c:v>234.40435372006402</c:v>
                </c:pt>
                <c:pt idx="3923">
                  <c:v>234.45462434088492</c:v>
                </c:pt>
                <c:pt idx="3924">
                  <c:v>234.50490574279959</c:v>
                </c:pt>
                <c:pt idx="3925">
                  <c:v>234.55519792812015</c:v>
                </c:pt>
                <c:pt idx="3926">
                  <c:v>234.60550089915924</c:v>
                </c:pt>
                <c:pt idx="3927">
                  <c:v>234.65581465822996</c:v>
                </c:pt>
                <c:pt idx="3928">
                  <c:v>234.70613920764592</c:v>
                </c:pt>
                <c:pt idx="3929">
                  <c:v>234.75647454972125</c:v>
                </c:pt>
                <c:pt idx="3930">
                  <c:v>234.80682068677052</c:v>
                </c:pt>
                <c:pt idx="3931">
                  <c:v>234.85717762110886</c:v>
                </c:pt>
                <c:pt idx="3932">
                  <c:v>234.90754535505187</c:v>
                </c:pt>
                <c:pt idx="3933">
                  <c:v>234.95792389091565</c:v>
                </c:pt>
                <c:pt idx="3934">
                  <c:v>235.00831323101679</c:v>
                </c:pt>
                <c:pt idx="3935">
                  <c:v>235.05871337767235</c:v>
                </c:pt>
                <c:pt idx="3936">
                  <c:v>235.10912433319993</c:v>
                </c:pt>
                <c:pt idx="3937">
                  <c:v>235.15954609991763</c:v>
                </c:pt>
                <c:pt idx="3938">
                  <c:v>235.20997868014402</c:v>
                </c:pt>
                <c:pt idx="3939">
                  <c:v>235.26042207619818</c:v>
                </c:pt>
                <c:pt idx="3940">
                  <c:v>235.31087629039968</c:v>
                </c:pt>
                <c:pt idx="3941">
                  <c:v>235.36134132506859</c:v>
                </c:pt>
                <c:pt idx="3942">
                  <c:v>235.41181718252548</c:v>
                </c:pt>
                <c:pt idx="3943">
                  <c:v>235.46230386509143</c:v>
                </c:pt>
                <c:pt idx="3944">
                  <c:v>235.512801375088</c:v>
                </c:pt>
                <c:pt idx="3945">
                  <c:v>235.56330971483723</c:v>
                </c:pt>
                <c:pt idx="3946">
                  <c:v>235.61382888666171</c:v>
                </c:pt>
                <c:pt idx="3947">
                  <c:v>235.66435889288448</c:v>
                </c:pt>
                <c:pt idx="3948">
                  <c:v>235.71489973582911</c:v>
                </c:pt>
                <c:pt idx="3949">
                  <c:v>235.76545141781966</c:v>
                </c:pt>
                <c:pt idx="3950">
                  <c:v>235.81601394118067</c:v>
                </c:pt>
                <c:pt idx="3951">
                  <c:v>235.8665873082372</c:v>
                </c:pt>
                <c:pt idx="3952">
                  <c:v>235.9171715213148</c:v>
                </c:pt>
                <c:pt idx="3953">
                  <c:v>235.9677665827395</c:v>
                </c:pt>
                <c:pt idx="3954">
                  <c:v>236.01837249483788</c:v>
                </c:pt>
                <c:pt idx="3955">
                  <c:v>236.06898925993696</c:v>
                </c:pt>
                <c:pt idx="3956">
                  <c:v>236.1196168803643</c:v>
                </c:pt>
                <c:pt idx="3957">
                  <c:v>236.17025535844797</c:v>
                </c:pt>
                <c:pt idx="3958">
                  <c:v>236.2209046965165</c:v>
                </c:pt>
                <c:pt idx="3959">
                  <c:v>236.27156489689889</c:v>
                </c:pt>
                <c:pt idx="3960">
                  <c:v>236.32223596192475</c:v>
                </c:pt>
                <c:pt idx="3961">
                  <c:v>233.36640643357899</c:v>
                </c:pt>
                <c:pt idx="3962">
                  <c:v>233.41645445505972</c:v>
                </c:pt>
                <c:pt idx="3963">
                  <c:v>233.46651320989531</c:v>
                </c:pt>
                <c:pt idx="3964">
                  <c:v>233.51658270038766</c:v>
                </c:pt>
                <c:pt idx="3965">
                  <c:v>233.56666292883915</c:v>
                </c:pt>
                <c:pt idx="3966">
                  <c:v>233.61675389755263</c:v>
                </c:pt>
                <c:pt idx="3967">
                  <c:v>233.6668556088315</c:v>
                </c:pt>
                <c:pt idx="3968">
                  <c:v>233.7169680649796</c:v>
                </c:pt>
                <c:pt idx="3969">
                  <c:v>233.7670912683013</c:v>
                </c:pt>
                <c:pt idx="3970">
                  <c:v>233.81722522110147</c:v>
                </c:pt>
                <c:pt idx="3971">
                  <c:v>233.86736992568541</c:v>
                </c:pt>
                <c:pt idx="3972">
                  <c:v>233.91752538435898</c:v>
                </c:pt>
                <c:pt idx="3973">
                  <c:v>233.96769159942852</c:v>
                </c:pt>
                <c:pt idx="3974">
                  <c:v>234.01786857320087</c:v>
                </c:pt>
                <c:pt idx="3975">
                  <c:v>234.06805630798334</c:v>
                </c:pt>
                <c:pt idx="3976">
                  <c:v>234.11825480608374</c:v>
                </c:pt>
                <c:pt idx="3977">
                  <c:v>234.1684640698104</c:v>
                </c:pt>
                <c:pt idx="3978">
                  <c:v>234.21868410147212</c:v>
                </c:pt>
                <c:pt idx="3979">
                  <c:v>234.2689149033782</c:v>
                </c:pt>
                <c:pt idx="3980">
                  <c:v>234.31915647783845</c:v>
                </c:pt>
                <c:pt idx="3981">
                  <c:v>234.36940882716314</c:v>
                </c:pt>
                <c:pt idx="3982">
                  <c:v>234.41967195366308</c:v>
                </c:pt>
                <c:pt idx="3983">
                  <c:v>234.46994585964956</c:v>
                </c:pt>
                <c:pt idx="3984">
                  <c:v>234.52023054743432</c:v>
                </c:pt>
                <c:pt idx="3985">
                  <c:v>234.57052601932969</c:v>
                </c:pt>
                <c:pt idx="3986">
                  <c:v>234.62083227764842</c:v>
                </c:pt>
                <c:pt idx="3987">
                  <c:v>234.67114932470378</c:v>
                </c:pt>
                <c:pt idx="3988">
                  <c:v>234.72147716280952</c:v>
                </c:pt>
                <c:pt idx="3989">
                  <c:v>234.77181579427992</c:v>
                </c:pt>
                <c:pt idx="3990">
                  <c:v>234.82216522142974</c:v>
                </c:pt>
                <c:pt idx="3991">
                  <c:v>234.87252544657423</c:v>
                </c:pt>
                <c:pt idx="3992">
                  <c:v>234.92289647202912</c:v>
                </c:pt>
                <c:pt idx="3993">
                  <c:v>234.97327830011068</c:v>
                </c:pt>
                <c:pt idx="3994">
                  <c:v>235.02367093313563</c:v>
                </c:pt>
                <c:pt idx="3995">
                  <c:v>235.07407437342124</c:v>
                </c:pt>
                <c:pt idx="3996">
                  <c:v>235.12448862328523</c:v>
                </c:pt>
                <c:pt idx="3997">
                  <c:v>235.17491368504582</c:v>
                </c:pt>
                <c:pt idx="3998">
                  <c:v>235.22534956102177</c:v>
                </c:pt>
                <c:pt idx="3999">
                  <c:v>235.27579625353229</c:v>
                </c:pt>
                <c:pt idx="4000">
                  <c:v>235.32625376489713</c:v>
                </c:pt>
                <c:pt idx="4001">
                  <c:v>235.3767220974365</c:v>
                </c:pt>
                <c:pt idx="4002">
                  <c:v>235.42720125347111</c:v>
                </c:pt>
                <c:pt idx="4003">
                  <c:v>235.47769123532217</c:v>
                </c:pt>
                <c:pt idx="4004">
                  <c:v>235.52819204531141</c:v>
                </c:pt>
                <c:pt idx="4005">
                  <c:v>235.57870368576107</c:v>
                </c:pt>
                <c:pt idx="4006">
                  <c:v>235.62922615899384</c:v>
                </c:pt>
                <c:pt idx="4007">
                  <c:v>235.67975946733293</c:v>
                </c:pt>
                <c:pt idx="4008">
                  <c:v>235.73030361310205</c:v>
                </c:pt>
                <c:pt idx="4009">
                  <c:v>235.7808585986254</c:v>
                </c:pt>
                <c:pt idx="4010">
                  <c:v>235.8314244262277</c:v>
                </c:pt>
                <c:pt idx="4011">
                  <c:v>235.88200109823416</c:v>
                </c:pt>
                <c:pt idx="4012">
                  <c:v>235.93258861697046</c:v>
                </c:pt>
                <c:pt idx="4013">
                  <c:v>235.98318698476282</c:v>
                </c:pt>
                <c:pt idx="4014">
                  <c:v>236.03379620393792</c:v>
                </c:pt>
                <c:pt idx="4015">
                  <c:v>236.08441627682299</c:v>
                </c:pt>
                <c:pt idx="4016">
                  <c:v>236.13504720574571</c:v>
                </c:pt>
                <c:pt idx="4017">
                  <c:v>236.18568899303426</c:v>
                </c:pt>
                <c:pt idx="4018">
                  <c:v>236.23634164101736</c:v>
                </c:pt>
                <c:pt idx="4019">
                  <c:v>236.28700515202422</c:v>
                </c:pt>
                <c:pt idx="4020">
                  <c:v>236.33767952838451</c:v>
                </c:pt>
                <c:pt idx="4021">
                  <c:v>236.38836477242845</c:v>
                </c:pt>
                <c:pt idx="4022">
                  <c:v>236.43906088648671</c:v>
                </c:pt>
                <c:pt idx="4023">
                  <c:v>236.4897678728905</c:v>
                </c:pt>
                <c:pt idx="4024">
                  <c:v>236.54048573397151</c:v>
                </c:pt>
                <c:pt idx="4025">
                  <c:v>236.59121447206195</c:v>
                </c:pt>
                <c:pt idx="4026">
                  <c:v>236.6419540894945</c:v>
                </c:pt>
                <c:pt idx="4027">
                  <c:v>236.69270458860237</c:v>
                </c:pt>
                <c:pt idx="4028">
                  <c:v>236.74346597171925</c:v>
                </c:pt>
                <c:pt idx="4029">
                  <c:v>236.79423824117933</c:v>
                </c:pt>
                <c:pt idx="4030">
                  <c:v>236.84502139931729</c:v>
                </c:pt>
                <c:pt idx="4031">
                  <c:v>236.89581544846837</c:v>
                </c:pt>
                <c:pt idx="4032">
                  <c:v>236.94662039096823</c:v>
                </c:pt>
                <c:pt idx="4033">
                  <c:v>236.9974362291531</c:v>
                </c:pt>
                <c:pt idx="4034">
                  <c:v>237.04826296535967</c:v>
                </c:pt>
                <c:pt idx="4035">
                  <c:v>237.09910060192513</c:v>
                </c:pt>
                <c:pt idx="4036">
                  <c:v>237.14994914118719</c:v>
                </c:pt>
                <c:pt idx="4037">
                  <c:v>237.20080858548408</c:v>
                </c:pt>
                <c:pt idx="4038">
                  <c:v>237.25167893715448</c:v>
                </c:pt>
                <c:pt idx="4039">
                  <c:v>237.30256019853761</c:v>
                </c:pt>
                <c:pt idx="4040">
                  <c:v>237.35345237197316</c:v>
                </c:pt>
                <c:pt idx="4041">
                  <c:v>237.40435545980134</c:v>
                </c:pt>
                <c:pt idx="4042">
                  <c:v>237.45526946436289</c:v>
                </c:pt>
                <c:pt idx="4043">
                  <c:v>237.50619438799899</c:v>
                </c:pt>
                <c:pt idx="4044">
                  <c:v>237.5571302330514</c:v>
                </c:pt>
                <c:pt idx="4045">
                  <c:v>237.60807700186231</c:v>
                </c:pt>
                <c:pt idx="4046">
                  <c:v>237.65903469677446</c:v>
                </c:pt>
                <c:pt idx="4047">
                  <c:v>237.71000332013105</c:v>
                </c:pt>
                <c:pt idx="4048">
                  <c:v>237.76098287427581</c:v>
                </c:pt>
                <c:pt idx="4049">
                  <c:v>237.81197336155299</c:v>
                </c:pt>
                <c:pt idx="4050">
                  <c:v>237.86297478430728</c:v>
                </c:pt>
                <c:pt idx="4051">
                  <c:v>231.44270650317327</c:v>
                </c:pt>
                <c:pt idx="4052">
                  <c:v>231.49234196580755</c:v>
                </c:pt>
                <c:pt idx="4053">
                  <c:v>231.54198807331886</c:v>
                </c:pt>
                <c:pt idx="4054">
                  <c:v>231.59164482799011</c:v>
                </c:pt>
                <c:pt idx="4055">
                  <c:v>231.6413122321047</c:v>
                </c:pt>
                <c:pt idx="4056">
                  <c:v>231.69099028794653</c:v>
                </c:pt>
                <c:pt idx="4057">
                  <c:v>231.74067899779999</c:v>
                </c:pt>
                <c:pt idx="4058">
                  <c:v>231.79037836394994</c:v>
                </c:pt>
                <c:pt idx="4059">
                  <c:v>231.84008838868175</c:v>
                </c:pt>
                <c:pt idx="4060">
                  <c:v>231.88980907428126</c:v>
                </c:pt>
                <c:pt idx="4061">
                  <c:v>231.9395404230348</c:v>
                </c:pt>
                <c:pt idx="4062">
                  <c:v>231.98928243722924</c:v>
                </c:pt>
                <c:pt idx="4063">
                  <c:v>232.03903511915186</c:v>
                </c:pt>
                <c:pt idx="4064">
                  <c:v>232.08879847109051</c:v>
                </c:pt>
                <c:pt idx="4065">
                  <c:v>232.13857249533348</c:v>
                </c:pt>
                <c:pt idx="4066">
                  <c:v>232.18835719416955</c:v>
                </c:pt>
                <c:pt idx="4067">
                  <c:v>232.23815256988803</c:v>
                </c:pt>
                <c:pt idx="4068">
                  <c:v>232.28795862477867</c:v>
                </c:pt>
                <c:pt idx="4069">
                  <c:v>232.33777536113175</c:v>
                </c:pt>
                <c:pt idx="4070">
                  <c:v>232.38760278123803</c:v>
                </c:pt>
                <c:pt idx="4071">
                  <c:v>232.43744088738876</c:v>
                </c:pt>
                <c:pt idx="4072">
                  <c:v>232.48728968187567</c:v>
                </c:pt>
                <c:pt idx="4073">
                  <c:v>232.53714916699101</c:v>
                </c:pt>
                <c:pt idx="4074">
                  <c:v>232.5870193450275</c:v>
                </c:pt>
                <c:pt idx="4075">
                  <c:v>232.63690021827833</c:v>
                </c:pt>
                <c:pt idx="4076">
                  <c:v>232.68679178903724</c:v>
                </c:pt>
                <c:pt idx="4077">
                  <c:v>232.73669405959842</c:v>
                </c:pt>
                <c:pt idx="4078">
                  <c:v>232.78660703225657</c:v>
                </c:pt>
                <c:pt idx="4079">
                  <c:v>232.83653070930686</c:v>
                </c:pt>
                <c:pt idx="4080">
                  <c:v>232.88646509304496</c:v>
                </c:pt>
                <c:pt idx="4081">
                  <c:v>232.93641018576704</c:v>
                </c:pt>
                <c:pt idx="4082">
                  <c:v>232.98636598976978</c:v>
                </c:pt>
                <c:pt idx="4083">
                  <c:v>233.03633250735032</c:v>
                </c:pt>
                <c:pt idx="4084">
                  <c:v>233.08630974080631</c:v>
                </c:pt>
                <c:pt idx="4085">
                  <c:v>233.1362976924359</c:v>
                </c:pt>
                <c:pt idx="4086">
                  <c:v>233.1862963645377</c:v>
                </c:pt>
                <c:pt idx="4087">
                  <c:v>233.23630575941084</c:v>
                </c:pt>
                <c:pt idx="4088">
                  <c:v>233.28632587935493</c:v>
                </c:pt>
                <c:pt idx="4089">
                  <c:v>233.33635672667012</c:v>
                </c:pt>
                <c:pt idx="4090">
                  <c:v>233.38639830365696</c:v>
                </c:pt>
                <c:pt idx="4091">
                  <c:v>233.4364506126166</c:v>
                </c:pt>
                <c:pt idx="4092">
                  <c:v>233.48651365585059</c:v>
                </c:pt>
                <c:pt idx="4093">
                  <c:v>233.53658743566103</c:v>
                </c:pt>
                <c:pt idx="4094">
                  <c:v>233.58667195435049</c:v>
                </c:pt>
                <c:pt idx="4095">
                  <c:v>233.63676721422206</c:v>
                </c:pt>
                <c:pt idx="4096">
                  <c:v>233.68687321757929</c:v>
                </c:pt>
                <c:pt idx="4097">
                  <c:v>233.73698996672624</c:v>
                </c:pt>
                <c:pt idx="4098">
                  <c:v>233.78711746396746</c:v>
                </c:pt>
                <c:pt idx="4099">
                  <c:v>233.83725571160801</c:v>
                </c:pt>
                <c:pt idx="4100">
                  <c:v>233.88740471195342</c:v>
                </c:pt>
                <c:pt idx="4101">
                  <c:v>233.93756446730976</c:v>
                </c:pt>
                <c:pt idx="4102">
                  <c:v>233.98773497998351</c:v>
                </c:pt>
                <c:pt idx="4103">
                  <c:v>234.03791625228175</c:v>
                </c:pt>
                <c:pt idx="4104">
                  <c:v>234.08810828651198</c:v>
                </c:pt>
                <c:pt idx="4105">
                  <c:v>234.13831108498221</c:v>
                </c:pt>
                <c:pt idx="4106">
                  <c:v>234.18852465000094</c:v>
                </c:pt>
                <c:pt idx="4107">
                  <c:v>234.2387489838772</c:v>
                </c:pt>
                <c:pt idx="4108">
                  <c:v>234.28898408892047</c:v>
                </c:pt>
                <c:pt idx="4109">
                  <c:v>234.33922996744076</c:v>
                </c:pt>
                <c:pt idx="4110">
                  <c:v>234.38948662174857</c:v>
                </c:pt>
                <c:pt idx="4111">
                  <c:v>234.43975405415489</c:v>
                </c:pt>
                <c:pt idx="4112">
                  <c:v>234.49003226697118</c:v>
                </c:pt>
                <c:pt idx="4113">
                  <c:v>234.54032126250942</c:v>
                </c:pt>
                <c:pt idx="4114">
                  <c:v>234.59062104308211</c:v>
                </c:pt>
                <c:pt idx="4115">
                  <c:v>234.64093161100217</c:v>
                </c:pt>
                <c:pt idx="4116">
                  <c:v>234.69125296858311</c:v>
                </c:pt>
                <c:pt idx="4117">
                  <c:v>234.74158511813889</c:v>
                </c:pt>
                <c:pt idx="4118">
                  <c:v>234.79192806198395</c:v>
                </c:pt>
                <c:pt idx="4119">
                  <c:v>234.84228180243326</c:v>
                </c:pt>
                <c:pt idx="4120">
                  <c:v>234.89264634180228</c:v>
                </c:pt>
                <c:pt idx="4121">
                  <c:v>234.94302168240694</c:v>
                </c:pt>
                <c:pt idx="4122">
                  <c:v>234.9934078265637</c:v>
                </c:pt>
                <c:pt idx="4123">
                  <c:v>235.0438047765895</c:v>
                </c:pt>
                <c:pt idx="4124">
                  <c:v>235.09421253480176</c:v>
                </c:pt>
                <c:pt idx="4125">
                  <c:v>235.14463110351844</c:v>
                </c:pt>
                <c:pt idx="4126">
                  <c:v>235.19506048505795</c:v>
                </c:pt>
                <c:pt idx="4127">
                  <c:v>235.24550068173926</c:v>
                </c:pt>
                <c:pt idx="4128">
                  <c:v>235.29595169588174</c:v>
                </c:pt>
                <c:pt idx="4129">
                  <c:v>235.34641352980535</c:v>
                </c:pt>
                <c:pt idx="4130">
                  <c:v>235.39688618583051</c:v>
                </c:pt>
                <c:pt idx="4131">
                  <c:v>235.44736966627815</c:v>
                </c:pt>
                <c:pt idx="4132">
                  <c:v>235.49786397346966</c:v>
                </c:pt>
                <c:pt idx="4133">
                  <c:v>235.54836910972699</c:v>
                </c:pt>
                <c:pt idx="4134">
                  <c:v>235.59888507737253</c:v>
                </c:pt>
                <c:pt idx="4135">
                  <c:v>235.64941187872918</c:v>
                </c:pt>
                <c:pt idx="4136">
                  <c:v>235.69994951612037</c:v>
                </c:pt>
                <c:pt idx="4137">
                  <c:v>235.75049799187002</c:v>
                </c:pt>
                <c:pt idx="4138">
                  <c:v>235.80105730830252</c:v>
                </c:pt>
                <c:pt idx="4139">
                  <c:v>235.85162746774276</c:v>
                </c:pt>
                <c:pt idx="4140">
                  <c:v>235.90220847251618</c:v>
                </c:pt>
                <c:pt idx="4141">
                  <c:v>235.95280032494864</c:v>
                </c:pt>
                <c:pt idx="4142">
                  <c:v>236.00340302736657</c:v>
                </c:pt>
                <c:pt idx="4143">
                  <c:v>236.05401658209686</c:v>
                </c:pt>
                <c:pt idx="4144">
                  <c:v>236.10464099146691</c:v>
                </c:pt>
                <c:pt idx="4145">
                  <c:v>236.15527625780462</c:v>
                </c:pt>
                <c:pt idx="4146">
                  <c:v>236.20592238343838</c:v>
                </c:pt>
                <c:pt idx="4147">
                  <c:v>236.2565793706971</c:v>
                </c:pt>
                <c:pt idx="4148">
                  <c:v>236.30724722191019</c:v>
                </c:pt>
                <c:pt idx="4149">
                  <c:v>236.35792593940752</c:v>
                </c:pt>
                <c:pt idx="4150">
                  <c:v>236.40861552551948</c:v>
                </c:pt>
                <c:pt idx="4151">
                  <c:v>236.45931598257698</c:v>
                </c:pt>
                <c:pt idx="4152">
                  <c:v>236.5100273129114</c:v>
                </c:pt>
                <c:pt idx="4153">
                  <c:v>236.56074951885466</c:v>
                </c:pt>
                <c:pt idx="4154">
                  <c:v>236.61148260273916</c:v>
                </c:pt>
                <c:pt idx="4155">
                  <c:v>236.66222656689777</c:v>
                </c:pt>
                <c:pt idx="4156">
                  <c:v>236.7129814136639</c:v>
                </c:pt>
                <c:pt idx="4157">
                  <c:v>236.76374714537144</c:v>
                </c:pt>
                <c:pt idx="4158">
                  <c:v>236.81452376435479</c:v>
                </c:pt>
                <c:pt idx="4159">
                  <c:v>236.86531127294884</c:v>
                </c:pt>
                <c:pt idx="4160">
                  <c:v>236.91610967348899</c:v>
                </c:pt>
                <c:pt idx="4161">
                  <c:v>236.96691896831115</c:v>
                </c:pt>
                <c:pt idx="4162">
                  <c:v>237.0177391597517</c:v>
                </c:pt>
                <c:pt idx="4163">
                  <c:v>237.06857025014756</c:v>
                </c:pt>
                <c:pt idx="4164">
                  <c:v>237.1194122418361</c:v>
                </c:pt>
                <c:pt idx="4165">
                  <c:v>237.17026513715527</c:v>
                </c:pt>
                <c:pt idx="4166">
                  <c:v>237.22112893844346</c:v>
                </c:pt>
                <c:pt idx="4167">
                  <c:v>237.27200364803954</c:v>
                </c:pt>
                <c:pt idx="4168">
                  <c:v>237.32288926828298</c:v>
                </c:pt>
                <c:pt idx="4169">
                  <c:v>237.37378580151363</c:v>
                </c:pt>
                <c:pt idx="4170">
                  <c:v>237.42469325007195</c:v>
                </c:pt>
                <c:pt idx="4171">
                  <c:v>237.47561161629883</c:v>
                </c:pt>
                <c:pt idx="4172">
                  <c:v>237.52654090253569</c:v>
                </c:pt>
                <c:pt idx="4173">
                  <c:v>237.57748111112443</c:v>
                </c:pt>
                <c:pt idx="4174">
                  <c:v>237.62843224440749</c:v>
                </c:pt>
                <c:pt idx="4175">
                  <c:v>237.67939430472779</c:v>
                </c:pt>
                <c:pt idx="4176">
                  <c:v>237.73036729442876</c:v>
                </c:pt>
                <c:pt idx="4177">
                  <c:v>237.7813512158543</c:v>
                </c:pt>
                <c:pt idx="4178">
                  <c:v>237.83234607134887</c:v>
                </c:pt>
                <c:pt idx="4179">
                  <c:v>237.88335186325739</c:v>
                </c:pt>
                <c:pt idx="4180">
                  <c:v>237.93436859392529</c:v>
                </c:pt>
                <c:pt idx="4181">
                  <c:v>237.98539626569851</c:v>
                </c:pt>
                <c:pt idx="4182">
                  <c:v>238.03643488092351</c:v>
                </c:pt>
                <c:pt idx="4183">
                  <c:v>238.08748444194723</c:v>
                </c:pt>
                <c:pt idx="4184">
                  <c:v>238.1385449511171</c:v>
                </c:pt>
                <c:pt idx="4185">
                  <c:v>238.1896164107811</c:v>
                </c:pt>
                <c:pt idx="4186">
                  <c:v>238.24069882328766</c:v>
                </c:pt>
                <c:pt idx="4187">
                  <c:v>238.29179219098575</c:v>
                </c:pt>
                <c:pt idx="4188">
                  <c:v>238.34289651622481</c:v>
                </c:pt>
                <c:pt idx="4189">
                  <c:v>238.39401180135485</c:v>
                </c:pt>
                <c:pt idx="4190">
                  <c:v>238.44513804872631</c:v>
                </c:pt>
                <c:pt idx="4191">
                  <c:v>238.49627526069017</c:v>
                </c:pt>
                <c:pt idx="4192">
                  <c:v>238.54742343959791</c:v>
                </c:pt>
                <c:pt idx="4193">
                  <c:v>238.5985825878015</c:v>
                </c:pt>
                <c:pt idx="4194">
                  <c:v>238.64975270765345</c:v>
                </c:pt>
                <c:pt idx="4195">
                  <c:v>238.70093380150675</c:v>
                </c:pt>
                <c:pt idx="4196">
                  <c:v>238.75212587171487</c:v>
                </c:pt>
                <c:pt idx="4197">
                  <c:v>238.80332892063183</c:v>
                </c:pt>
                <c:pt idx="4198">
                  <c:v>238.85454295061214</c:v>
                </c:pt>
                <c:pt idx="4199">
                  <c:v>238.90576796401081</c:v>
                </c:pt>
                <c:pt idx="4200">
                  <c:v>238.95700396318335</c:v>
                </c:pt>
                <c:pt idx="4201">
                  <c:v>239.0082509504858</c:v>
                </c:pt>
                <c:pt idx="4202">
                  <c:v>239.05950892827468</c:v>
                </c:pt>
                <c:pt idx="4203">
                  <c:v>239.110777898907</c:v>
                </c:pt>
                <c:pt idx="4204">
                  <c:v>239.16205786474032</c:v>
                </c:pt>
                <c:pt idx="4205">
                  <c:v>239.21334882813267</c:v>
                </c:pt>
                <c:pt idx="4206">
                  <c:v>239.26465079144259</c:v>
                </c:pt>
                <c:pt idx="4207">
                  <c:v>239.31596375702915</c:v>
                </c:pt>
                <c:pt idx="4208">
                  <c:v>239.36728772725192</c:v>
                </c:pt>
                <c:pt idx="4209">
                  <c:v>239.41862270447095</c:v>
                </c:pt>
                <c:pt idx="4210">
                  <c:v>239.46996869104683</c:v>
                </c:pt>
                <c:pt idx="4211">
                  <c:v>239.52132568934061</c:v>
                </c:pt>
                <c:pt idx="4212">
                  <c:v>239.57269370171392</c:v>
                </c:pt>
                <c:pt idx="4213">
                  <c:v>239.62407273052881</c:v>
                </c:pt>
                <c:pt idx="4214">
                  <c:v>239.6754627781479</c:v>
                </c:pt>
                <c:pt idx="4215">
                  <c:v>239.72686384693429</c:v>
                </c:pt>
                <c:pt idx="4216">
                  <c:v>239.77827593925159</c:v>
                </c:pt>
                <c:pt idx="4217">
                  <c:v>239.8296990574639</c:v>
                </c:pt>
                <c:pt idx="4218">
                  <c:v>239.88113320393589</c:v>
                </c:pt>
                <c:pt idx="4219">
                  <c:v>239.93257838103264</c:v>
                </c:pt>
                <c:pt idx="4220">
                  <c:v>239.98403459111984</c:v>
                </c:pt>
                <c:pt idx="4221">
                  <c:v>240.03550183656361</c:v>
                </c:pt>
                <c:pt idx="4222">
                  <c:v>240.08698011973061</c:v>
                </c:pt>
                <c:pt idx="4223">
                  <c:v>240.138469442988</c:v>
                </c:pt>
                <c:pt idx="4224">
                  <c:v>240.18996980870347</c:v>
                </c:pt>
                <c:pt idx="4225">
                  <c:v>240.24148121924517</c:v>
                </c:pt>
                <c:pt idx="4226">
                  <c:v>240.29300367698181</c:v>
                </c:pt>
                <c:pt idx="4227">
                  <c:v>240.34453718428256</c:v>
                </c:pt>
                <c:pt idx="4228">
                  <c:v>240.39608174351713</c:v>
                </c:pt>
                <c:pt idx="4229">
                  <c:v>240.44763735705573</c:v>
                </c:pt>
                <c:pt idx="4230">
                  <c:v>240.49920402726909</c:v>
                </c:pt>
                <c:pt idx="4231">
                  <c:v>240.55078175652841</c:v>
                </c:pt>
                <c:pt idx="4232">
                  <c:v>240.60237054720545</c:v>
                </c:pt>
                <c:pt idx="4233">
                  <c:v>240.65397040167247</c:v>
                </c:pt>
                <c:pt idx="4234">
                  <c:v>240.70558132230218</c:v>
                </c:pt>
                <c:pt idx="4235">
                  <c:v>240.75720331146786</c:v>
                </c:pt>
                <c:pt idx="4236">
                  <c:v>240.80883637154329</c:v>
                </c:pt>
                <c:pt idx="4237">
                  <c:v>240.86048050490274</c:v>
                </c:pt>
                <c:pt idx="4238">
                  <c:v>240.912135713921</c:v>
                </c:pt>
                <c:pt idx="4239">
                  <c:v>240.96380200097337</c:v>
                </c:pt>
                <c:pt idx="4240">
                  <c:v>241.01547936843565</c:v>
                </c:pt>
                <c:pt idx="4241">
                  <c:v>241.06716781868417</c:v>
                </c:pt>
                <c:pt idx="4242">
                  <c:v>241.11886735409576</c:v>
                </c:pt>
                <c:pt idx="4243">
                  <c:v>241.17057797704774</c:v>
                </c:pt>
                <c:pt idx="4244">
                  <c:v>241.22229968991797</c:v>
                </c:pt>
                <c:pt idx="4245">
                  <c:v>241.27403249508481</c:v>
                </c:pt>
                <c:pt idx="4246">
                  <c:v>241.32577639492712</c:v>
                </c:pt>
                <c:pt idx="4247">
                  <c:v>241.37753139182425</c:v>
                </c:pt>
                <c:pt idx="4248">
                  <c:v>241.42929748815612</c:v>
                </c:pt>
                <c:pt idx="4249">
                  <c:v>241.48107468630312</c:v>
                </c:pt>
                <c:pt idx="4250">
                  <c:v>241.53286298864614</c:v>
                </c:pt>
                <c:pt idx="4251">
                  <c:v>241.58466239756663</c:v>
                </c:pt>
                <c:pt idx="4252">
                  <c:v>241.63647291544649</c:v>
                </c:pt>
                <c:pt idx="4253">
                  <c:v>241.68829454466817</c:v>
                </c:pt>
                <c:pt idx="4254">
                  <c:v>241.74012728761463</c:v>
                </c:pt>
                <c:pt idx="4255">
                  <c:v>241.79197114666931</c:v>
                </c:pt>
                <c:pt idx="4256">
                  <c:v>241.84382612421621</c:v>
                </c:pt>
                <c:pt idx="4257">
                  <c:v>241.89569222263981</c:v>
                </c:pt>
                <c:pt idx="4258">
                  <c:v>241.9475694443251</c:v>
                </c:pt>
                <c:pt idx="4259">
                  <c:v>241.99945779165759</c:v>
                </c:pt>
                <c:pt idx="4260">
                  <c:v>242.05135726702329</c:v>
                </c:pt>
                <c:pt idx="4261">
                  <c:v>242.10326787280874</c:v>
                </c:pt>
                <c:pt idx="4262">
                  <c:v>242.15518961140097</c:v>
                </c:pt>
                <c:pt idx="4263">
                  <c:v>242.20712248518754</c:v>
                </c:pt>
                <c:pt idx="4264">
                  <c:v>242.25906649655653</c:v>
                </c:pt>
                <c:pt idx="4265">
                  <c:v>242.3110216478965</c:v>
                </c:pt>
                <c:pt idx="4266">
                  <c:v>242.36298794159654</c:v>
                </c:pt>
                <c:pt idx="4267">
                  <c:v>242.41496538004625</c:v>
                </c:pt>
                <c:pt idx="4268">
                  <c:v>242.46695396563578</c:v>
                </c:pt>
                <c:pt idx="4269">
                  <c:v>242.51895370075573</c:v>
                </c:pt>
                <c:pt idx="4270">
                  <c:v>242.57096458779722</c:v>
                </c:pt>
                <c:pt idx="4271">
                  <c:v>242.62298662915194</c:v>
                </c:pt>
                <c:pt idx="4272">
                  <c:v>242.67501982721205</c:v>
                </c:pt>
                <c:pt idx="4273">
                  <c:v>242.72706418437022</c:v>
                </c:pt>
                <c:pt idx="4274">
                  <c:v>242.77911970301966</c:v>
                </c:pt>
                <c:pt idx="4275">
                  <c:v>242.83118638555405</c:v>
                </c:pt>
                <c:pt idx="4276">
                  <c:v>242.88326423436763</c:v>
                </c:pt>
                <c:pt idx="4277">
                  <c:v>242.9353532518551</c:v>
                </c:pt>
                <c:pt idx="4278">
                  <c:v>242.98745344041174</c:v>
                </c:pt>
                <c:pt idx="4279">
                  <c:v>243.03956480243332</c:v>
                </c:pt>
                <c:pt idx="4280">
                  <c:v>243.09168734031607</c:v>
                </c:pt>
                <c:pt idx="4281">
                  <c:v>243.14382105645683</c:v>
                </c:pt>
                <c:pt idx="4282">
                  <c:v>243.19596595325285</c:v>
                </c:pt>
                <c:pt idx="4283">
                  <c:v>243.24812203310199</c:v>
                </c:pt>
                <c:pt idx="4284">
                  <c:v>243.30028929840256</c:v>
                </c:pt>
                <c:pt idx="4285">
                  <c:v>243.35246775155341</c:v>
                </c:pt>
                <c:pt idx="4286">
                  <c:v>243.40465739495389</c:v>
                </c:pt>
                <c:pt idx="4287">
                  <c:v>243.45685823100385</c:v>
                </c:pt>
                <c:pt idx="4288">
                  <c:v>243.50907026210373</c:v>
                </c:pt>
                <c:pt idx="4289">
                  <c:v>243.56129349065441</c:v>
                </c:pt>
                <c:pt idx="4290">
                  <c:v>243.6135279190573</c:v>
                </c:pt>
                <c:pt idx="4291">
                  <c:v>243.66577354971434</c:v>
                </c:pt>
                <c:pt idx="4292">
                  <c:v>243.71803038502799</c:v>
                </c:pt>
                <c:pt idx="4293">
                  <c:v>243.77029842740117</c:v>
                </c:pt>
                <c:pt idx="4294">
                  <c:v>243.82257767923741</c:v>
                </c:pt>
                <c:pt idx="4295">
                  <c:v>243.87486814294067</c:v>
                </c:pt>
                <c:pt idx="4296">
                  <c:v>243.92716982091548</c:v>
                </c:pt>
                <c:pt idx="4297">
                  <c:v>243.97948271556686</c:v>
                </c:pt>
                <c:pt idx="4298">
                  <c:v>244.03180682930034</c:v>
                </c:pt>
                <c:pt idx="4299">
                  <c:v>244.08414216452198</c:v>
                </c:pt>
                <c:pt idx="4300">
                  <c:v>244.13648872363837</c:v>
                </c:pt>
                <c:pt idx="4301">
                  <c:v>244.18884650905659</c:v>
                </c:pt>
                <c:pt idx="4302">
                  <c:v>244.24121552318425</c:v>
                </c:pt>
                <c:pt idx="4303">
                  <c:v>244.29359576842947</c:v>
                </c:pt>
                <c:pt idx="4304">
                  <c:v>244.34598724720087</c:v>
                </c:pt>
                <c:pt idx="4305">
                  <c:v>244.39838996190761</c:v>
                </c:pt>
                <c:pt idx="4306">
                  <c:v>244.45080391495938</c:v>
                </c:pt>
                <c:pt idx="4307">
                  <c:v>244.50322910876636</c:v>
                </c:pt>
                <c:pt idx="4308">
                  <c:v>244.55566554573923</c:v>
                </c:pt>
                <c:pt idx="4309">
                  <c:v>244.60811322828926</c:v>
                </c:pt>
                <c:pt idx="4310">
                  <c:v>244.66057215882813</c:v>
                </c:pt>
                <c:pt idx="4311">
                  <c:v>244.71304233976815</c:v>
                </c:pt>
                <c:pt idx="4312">
                  <c:v>244.76552377352206</c:v>
                </c:pt>
                <c:pt idx="4313">
                  <c:v>244.81801646250318</c:v>
                </c:pt>
                <c:pt idx="4314">
                  <c:v>244.87052040912531</c:v>
                </c:pt>
                <c:pt idx="4315">
                  <c:v>244.92303561580275</c:v>
                </c:pt>
                <c:pt idx="4316">
                  <c:v>244.97556208495035</c:v>
                </c:pt>
                <c:pt idx="4317">
                  <c:v>245.02809981898352</c:v>
                </c:pt>
                <c:pt idx="4318">
                  <c:v>245.08064882031809</c:v>
                </c:pt>
                <c:pt idx="4319">
                  <c:v>245.13320909137047</c:v>
                </c:pt>
                <c:pt idx="4320">
                  <c:v>245.18578063455757</c:v>
                </c:pt>
                <c:pt idx="4321">
                  <c:v>245.23836345229685</c:v>
                </c:pt>
                <c:pt idx="4322">
                  <c:v>245.29095754700626</c:v>
                </c:pt>
                <c:pt idx="4323">
                  <c:v>245.34356292110425</c:v>
                </c:pt>
                <c:pt idx="4324">
                  <c:v>245.3961795770098</c:v>
                </c:pt>
                <c:pt idx="4325">
                  <c:v>245.44880751714246</c:v>
                </c:pt>
                <c:pt idx="4326">
                  <c:v>245.50144674392223</c:v>
                </c:pt>
                <c:pt idx="4327">
                  <c:v>245.55409725976966</c:v>
                </c:pt>
                <c:pt idx="4328">
                  <c:v>245.60675906710583</c:v>
                </c:pt>
                <c:pt idx="4329">
                  <c:v>245.65943216835231</c:v>
                </c:pt>
                <c:pt idx="4330">
                  <c:v>245.71211656593121</c:v>
                </c:pt>
                <c:pt idx="4331">
                  <c:v>245.76481226226514</c:v>
                </c:pt>
                <c:pt idx="4332">
                  <c:v>245.81751925977727</c:v>
                </c:pt>
                <c:pt idx="4333">
                  <c:v>245.87023756089124</c:v>
                </c:pt>
                <c:pt idx="4334">
                  <c:v>245.92296716803125</c:v>
                </c:pt>
                <c:pt idx="4335">
                  <c:v>245.97570808362201</c:v>
                </c:pt>
                <c:pt idx="4336">
                  <c:v>246.02846031008872</c:v>
                </c:pt>
                <c:pt idx="4337">
                  <c:v>246.08122384985714</c:v>
                </c:pt>
                <c:pt idx="4338">
                  <c:v>246.13399870535352</c:v>
                </c:pt>
                <c:pt idx="4339">
                  <c:v>246.18678487900465</c:v>
                </c:pt>
                <c:pt idx="4340">
                  <c:v>246.23958237323782</c:v>
                </c:pt>
                <c:pt idx="4341">
                  <c:v>246.29239119048088</c:v>
                </c:pt>
                <c:pt idx="4342">
                  <c:v>246.34521133316218</c:v>
                </c:pt>
                <c:pt idx="4343">
                  <c:v>246.39804280371055</c:v>
                </c:pt>
                <c:pt idx="4344">
                  <c:v>246.4508856045554</c:v>
                </c:pt>
                <c:pt idx="4345">
                  <c:v>246.50373973812663</c:v>
                </c:pt>
                <c:pt idx="4346">
                  <c:v>246.55660520685467</c:v>
                </c:pt>
                <c:pt idx="4347">
                  <c:v>246.60948201317049</c:v>
                </c:pt>
                <c:pt idx="4348">
                  <c:v>246.66237015950554</c:v>
                </c:pt>
                <c:pt idx="4349">
                  <c:v>246.71526964829184</c:v>
                </c:pt>
                <c:pt idx="4350">
                  <c:v>246.76818048196188</c:v>
                </c:pt>
                <c:pt idx="4351">
                  <c:v>246.8211026629487</c:v>
                </c:pt>
                <c:pt idx="4352">
                  <c:v>246.87403619368587</c:v>
                </c:pt>
                <c:pt idx="4353">
                  <c:v>246.92698107660743</c:v>
                </c:pt>
                <c:pt idx="4354">
                  <c:v>246.97993731414803</c:v>
                </c:pt>
                <c:pt idx="4355">
                  <c:v>247.03290490874278</c:v>
                </c:pt>
                <c:pt idx="4356">
                  <c:v>247.08588386282733</c:v>
                </c:pt>
                <c:pt idx="4357">
                  <c:v>247.13887417883782</c:v>
                </c:pt>
                <c:pt idx="4358">
                  <c:v>247.19187585921097</c:v>
                </c:pt>
                <c:pt idx="4359">
                  <c:v>247.24488890638401</c:v>
                </c:pt>
                <c:pt idx="4360">
                  <c:v>247.29791332279464</c:v>
                </c:pt>
                <c:pt idx="4361">
                  <c:v>247.35094911088115</c:v>
                </c:pt>
                <c:pt idx="4362">
                  <c:v>247.4039962730823</c:v>
                </c:pt>
                <c:pt idx="4363">
                  <c:v>247.45705481183739</c:v>
                </c:pt>
                <c:pt idx="4364">
                  <c:v>247.51012472958627</c:v>
                </c:pt>
                <c:pt idx="4365">
                  <c:v>247.56320602876926</c:v>
                </c:pt>
                <c:pt idx="4366">
                  <c:v>247.61629871182728</c:v>
                </c:pt>
                <c:pt idx="4367">
                  <c:v>247.66940278120171</c:v>
                </c:pt>
                <c:pt idx="4368">
                  <c:v>247.72251823933445</c:v>
                </c:pt>
                <c:pt idx="4369">
                  <c:v>247.77564508866797</c:v>
                </c:pt>
                <c:pt idx="4370">
                  <c:v>247.82878333164524</c:v>
                </c:pt>
                <c:pt idx="4371">
                  <c:v>247.88193297070976</c:v>
                </c:pt>
                <c:pt idx="4372">
                  <c:v>247.9350940083055</c:v>
                </c:pt>
                <c:pt idx="4373">
                  <c:v>247.98826644687705</c:v>
                </c:pt>
                <c:pt idx="4374">
                  <c:v>248.04145028886947</c:v>
                </c:pt>
                <c:pt idx="4375">
                  <c:v>248.09464553672834</c:v>
                </c:pt>
                <c:pt idx="4376">
                  <c:v>248.14785219289976</c:v>
                </c:pt>
                <c:pt idx="4377">
                  <c:v>248.2010702598304</c:v>
                </c:pt>
                <c:pt idx="4378">
                  <c:v>248.25429973996742</c:v>
                </c:pt>
                <c:pt idx="4379">
                  <c:v>248.3075406357585</c:v>
                </c:pt>
                <c:pt idx="4380">
                  <c:v>248.36079294965185</c:v>
                </c:pt>
                <c:pt idx="4381">
                  <c:v>248.41405668409621</c:v>
                </c:pt>
                <c:pt idx="4382">
                  <c:v>248.46733184154084</c:v>
                </c:pt>
                <c:pt idx="4383">
                  <c:v>248.52061842443555</c:v>
                </c:pt>
                <c:pt idx="4384">
                  <c:v>248.57391643523064</c:v>
                </c:pt>
                <c:pt idx="4385">
                  <c:v>248.62722587637697</c:v>
                </c:pt>
                <c:pt idx="4386">
                  <c:v>248.68054675032587</c:v>
                </c:pt>
                <c:pt idx="4387">
                  <c:v>248.73387905952927</c:v>
                </c:pt>
                <c:pt idx="4388">
                  <c:v>248.78722280643956</c:v>
                </c:pt>
                <c:pt idx="4389">
                  <c:v>248.8405779935097</c:v>
                </c:pt>
                <c:pt idx="4390">
                  <c:v>248.89394462319314</c:v>
                </c:pt>
                <c:pt idx="4391">
                  <c:v>248.94732269794389</c:v>
                </c:pt>
                <c:pt idx="4392">
                  <c:v>249.00071222021646</c:v>
                </c:pt>
                <c:pt idx="4393">
                  <c:v>249.05411319246591</c:v>
                </c:pt>
                <c:pt idx="4394">
                  <c:v>249.10752561714781</c:v>
                </c:pt>
                <c:pt idx="4395">
                  <c:v>249.16094949671827</c:v>
                </c:pt>
                <c:pt idx="4396">
                  <c:v>249.21438483363391</c:v>
                </c:pt>
                <c:pt idx="4397">
                  <c:v>249.26783163035188</c:v>
                </c:pt>
                <c:pt idx="4398">
                  <c:v>249.32128988932988</c:v>
                </c:pt>
                <c:pt idx="4399">
                  <c:v>249.3747596130261</c:v>
                </c:pt>
                <c:pt idx="4400">
                  <c:v>249.42824080389929</c:v>
                </c:pt>
                <c:pt idx="4401">
                  <c:v>249.48173346440871</c:v>
                </c:pt>
                <c:pt idx="4402">
                  <c:v>249.53523759701415</c:v>
                </c:pt>
                <c:pt idx="4403">
                  <c:v>249.5887532041759</c:v>
                </c:pt>
                <c:pt idx="4404">
                  <c:v>249.64228028835487</c:v>
                </c:pt>
                <c:pt idx="4405">
                  <c:v>249.69581885201239</c:v>
                </c:pt>
                <c:pt idx="4406">
                  <c:v>249.74936889761037</c:v>
                </c:pt>
                <c:pt idx="4407">
                  <c:v>249.80293042761122</c:v>
                </c:pt>
                <c:pt idx="4408">
                  <c:v>249.85650344447794</c:v>
                </c:pt>
                <c:pt idx="4409">
                  <c:v>249.91008795067398</c:v>
                </c:pt>
                <c:pt idx="4410">
                  <c:v>249.96368394866337</c:v>
                </c:pt>
                <c:pt idx="4411">
                  <c:v>250.01729144091067</c:v>
                </c:pt>
                <c:pt idx="4412">
                  <c:v>250.07091042988091</c:v>
                </c:pt>
                <c:pt idx="4413">
                  <c:v>250.12454091803971</c:v>
                </c:pt>
                <c:pt idx="4414">
                  <c:v>250.1781829078532</c:v>
                </c:pt>
                <c:pt idx="4415">
                  <c:v>250.23183640178806</c:v>
                </c:pt>
                <c:pt idx="4416">
                  <c:v>250.28550140231144</c:v>
                </c:pt>
                <c:pt idx="4417">
                  <c:v>250.33917791189108</c:v>
                </c:pt>
                <c:pt idx="4418">
                  <c:v>250.39286593299522</c:v>
                </c:pt>
                <c:pt idx="4419">
                  <c:v>250.44656546809261</c:v>
                </c:pt>
                <c:pt idx="4420">
                  <c:v>250.5002765196526</c:v>
                </c:pt>
                <c:pt idx="4421">
                  <c:v>250.553999090145</c:v>
                </c:pt>
                <c:pt idx="4422">
                  <c:v>250.60773318204016</c:v>
                </c:pt>
                <c:pt idx="4423">
                  <c:v>250.661478797809</c:v>
                </c:pt>
                <c:pt idx="4424">
                  <c:v>250.71523593992291</c:v>
                </c:pt>
                <c:pt idx="4425">
                  <c:v>250.76900461085387</c:v>
                </c:pt>
                <c:pt idx="4426">
                  <c:v>250.82278481307435</c:v>
                </c:pt>
                <c:pt idx="4427">
                  <c:v>250.87657654905738</c:v>
                </c:pt>
                <c:pt idx="4428">
                  <c:v>250.93037982127646</c:v>
                </c:pt>
                <c:pt idx="4429">
                  <c:v>250.98419463220571</c:v>
                </c:pt>
                <c:pt idx="4430">
                  <c:v>251.03802098431973</c:v>
                </c:pt>
                <c:pt idx="4431">
                  <c:v>251.09185888009364</c:v>
                </c:pt>
                <c:pt idx="4432">
                  <c:v>251.14570832200312</c:v>
                </c:pt>
                <c:pt idx="4433">
                  <c:v>251.19956931252435</c:v>
                </c:pt>
                <c:pt idx="4434">
                  <c:v>251.25344185413405</c:v>
                </c:pt>
                <c:pt idx="4435">
                  <c:v>251.3073259493095</c:v>
                </c:pt>
                <c:pt idx="4436">
                  <c:v>251.36122160052849</c:v>
                </c:pt>
                <c:pt idx="4437">
                  <c:v>251.41512881026935</c:v>
                </c:pt>
                <c:pt idx="4438">
                  <c:v>251.46904758101093</c:v>
                </c:pt>
                <c:pt idx="4439">
                  <c:v>251.52297791523259</c:v>
                </c:pt>
                <c:pt idx="4440">
                  <c:v>251.57691981541427</c:v>
                </c:pt>
                <c:pt idx="4441">
                  <c:v>246.62041717662771</c:v>
                </c:pt>
                <c:pt idx="4442">
                  <c:v>246.67330766813021</c:v>
                </c:pt>
                <c:pt idx="4443">
                  <c:v>246.72620950258687</c:v>
                </c:pt>
                <c:pt idx="4444">
                  <c:v>246.77912268243034</c:v>
                </c:pt>
                <c:pt idx="4445">
                  <c:v>246.83204721009375</c:v>
                </c:pt>
                <c:pt idx="4446">
                  <c:v>246.88498308801078</c:v>
                </c:pt>
                <c:pt idx="4447">
                  <c:v>246.9379303186156</c:v>
                </c:pt>
                <c:pt idx="4448">
                  <c:v>246.99088890434294</c:v>
                </c:pt>
                <c:pt idx="4449">
                  <c:v>247.043858847628</c:v>
                </c:pt>
                <c:pt idx="4450">
                  <c:v>247.09684015090656</c:v>
                </c:pt>
                <c:pt idx="4451">
                  <c:v>247.14983281661489</c:v>
                </c:pt>
                <c:pt idx="4452">
                  <c:v>247.20283684718981</c:v>
                </c:pt>
                <c:pt idx="4453">
                  <c:v>247.25585224506864</c:v>
                </c:pt>
                <c:pt idx="4454">
                  <c:v>247.30887901268918</c:v>
                </c:pt>
                <c:pt idx="4455">
                  <c:v>247.36191715248984</c:v>
                </c:pt>
                <c:pt idx="4456">
                  <c:v>247.41496666690949</c:v>
                </c:pt>
                <c:pt idx="4457">
                  <c:v>247.46802755838755</c:v>
                </c:pt>
                <c:pt idx="4458">
                  <c:v>247.52109982936395</c:v>
                </c:pt>
                <c:pt idx="4459">
                  <c:v>247.57418348227918</c:v>
                </c:pt>
                <c:pt idx="4460">
                  <c:v>247.62727851957419</c:v>
                </c:pt>
                <c:pt idx="4461">
                  <c:v>247.68038494369051</c:v>
                </c:pt>
                <c:pt idx="4462">
                  <c:v>247.73350275707014</c:v>
                </c:pt>
                <c:pt idx="4463">
                  <c:v>247.78663196215567</c:v>
                </c:pt>
                <c:pt idx="4464">
                  <c:v>247.83977256139016</c:v>
                </c:pt>
                <c:pt idx="4465">
                  <c:v>247.89292455721721</c:v>
                </c:pt>
                <c:pt idx="4466">
                  <c:v>247.94608795208094</c:v>
                </c:pt>
                <c:pt idx="4467">
                  <c:v>247.99926274842602</c:v>
                </c:pt>
                <c:pt idx="4468">
                  <c:v>248.05244894869762</c:v>
                </c:pt>
                <c:pt idx="4469">
                  <c:v>248.10564655534142</c:v>
                </c:pt>
                <c:pt idx="4470">
                  <c:v>248.15885557080367</c:v>
                </c:pt>
                <c:pt idx="4471">
                  <c:v>248.21207599753109</c:v>
                </c:pt>
                <c:pt idx="4472">
                  <c:v>248.26530783797097</c:v>
                </c:pt>
                <c:pt idx="4473">
                  <c:v>248.31855109457109</c:v>
                </c:pt>
                <c:pt idx="4474">
                  <c:v>248.3718057697798</c:v>
                </c:pt>
                <c:pt idx="4475">
                  <c:v>248.42507186604593</c:v>
                </c:pt>
                <c:pt idx="4476">
                  <c:v>248.47834938581886</c:v>
                </c:pt>
                <c:pt idx="4477">
                  <c:v>248.53163833154849</c:v>
                </c:pt>
                <c:pt idx="4478">
                  <c:v>248.58493870568523</c:v>
                </c:pt>
                <c:pt idx="4479">
                  <c:v>248.63825051068005</c:v>
                </c:pt>
                <c:pt idx="4480">
                  <c:v>248.69157374898441</c:v>
                </c:pt>
                <c:pt idx="4481">
                  <c:v>248.7449084230503</c:v>
                </c:pt>
                <c:pt idx="4482">
                  <c:v>248.79825453533027</c:v>
                </c:pt>
                <c:pt idx="4483">
                  <c:v>248.85161208827736</c:v>
                </c:pt>
                <c:pt idx="4484">
                  <c:v>248.90498108434514</c:v>
                </c:pt>
                <c:pt idx="4485">
                  <c:v>248.95836152598773</c:v>
                </c:pt>
                <c:pt idx="4486">
                  <c:v>249.01175341565974</c:v>
                </c:pt>
                <c:pt idx="4487">
                  <c:v>249.06515675581636</c:v>
                </c:pt>
                <c:pt idx="4488">
                  <c:v>249.11857154891325</c:v>
                </c:pt>
                <c:pt idx="4489">
                  <c:v>249.17199779740665</c:v>
                </c:pt>
                <c:pt idx="4490">
                  <c:v>249.22543550375326</c:v>
                </c:pt>
                <c:pt idx="4491">
                  <c:v>249.27888467041035</c:v>
                </c:pt>
                <c:pt idx="4492">
                  <c:v>249.33234529983571</c:v>
                </c:pt>
                <c:pt idx="4493">
                  <c:v>249.38581739448767</c:v>
                </c:pt>
                <c:pt idx="4494">
                  <c:v>249.43930095682509</c:v>
                </c:pt>
                <c:pt idx="4495">
                  <c:v>249.49279598930733</c:v>
                </c:pt>
                <c:pt idx="4496">
                  <c:v>249.54630249439427</c:v>
                </c:pt>
                <c:pt idx="4497">
                  <c:v>249.59982047454636</c:v>
                </c:pt>
                <c:pt idx="4498">
                  <c:v>249.65334993222453</c:v>
                </c:pt>
                <c:pt idx="4499">
                  <c:v>249.70689086989029</c:v>
                </c:pt>
                <c:pt idx="4500">
                  <c:v>249.76044329000564</c:v>
                </c:pt>
                <c:pt idx="4501">
                  <c:v>249.81400719503313</c:v>
                </c:pt>
                <c:pt idx="4502">
                  <c:v>249.86758258743581</c:v>
                </c:pt>
                <c:pt idx="4503">
                  <c:v>249.9211694696773</c:v>
                </c:pt>
                <c:pt idx="4504">
                  <c:v>249.9747678442217</c:v>
                </c:pt>
                <c:pt idx="4505">
                  <c:v>250.02837771353367</c:v>
                </c:pt>
                <c:pt idx="4506">
                  <c:v>250.08199908007839</c:v>
                </c:pt>
                <c:pt idx="4507">
                  <c:v>250.13563194632155</c:v>
                </c:pt>
                <c:pt idx="4508">
                  <c:v>250.18927631472943</c:v>
                </c:pt>
                <c:pt idx="4509">
                  <c:v>250.24293218776876</c:v>
                </c:pt>
                <c:pt idx="4510">
                  <c:v>250.29659956790687</c:v>
                </c:pt>
                <c:pt idx="4511">
                  <c:v>250.35027845761155</c:v>
                </c:pt>
                <c:pt idx="4512">
                  <c:v>250.40396885935118</c:v>
                </c:pt>
                <c:pt idx="4513">
                  <c:v>250.45767077559464</c:v>
                </c:pt>
                <c:pt idx="4514">
                  <c:v>250.51138420881134</c:v>
                </c:pt>
                <c:pt idx="4515">
                  <c:v>250.56510916147121</c:v>
                </c:pt>
                <c:pt idx="4516">
                  <c:v>250.61884563604474</c:v>
                </c:pt>
                <c:pt idx="4517">
                  <c:v>250.67259363500293</c:v>
                </c:pt>
                <c:pt idx="4518">
                  <c:v>250.7263531608173</c:v>
                </c:pt>
                <c:pt idx="4519">
                  <c:v>250.78012421595992</c:v>
                </c:pt>
                <c:pt idx="4520">
                  <c:v>250.83390680290339</c:v>
                </c:pt>
                <c:pt idx="4521">
                  <c:v>250.88770092412082</c:v>
                </c:pt>
                <c:pt idx="4522">
                  <c:v>250.94150658208588</c:v>
                </c:pt>
                <c:pt idx="4523">
                  <c:v>250.99532377927275</c:v>
                </c:pt>
                <c:pt idx="4524">
                  <c:v>251.04915251815615</c:v>
                </c:pt>
                <c:pt idx="4525">
                  <c:v>251.10299280121129</c:v>
                </c:pt>
                <c:pt idx="4526">
                  <c:v>251.15684463091398</c:v>
                </c:pt>
                <c:pt idx="4527">
                  <c:v>251.21070800974053</c:v>
                </c:pt>
                <c:pt idx="4528">
                  <c:v>251.26458294016774</c:v>
                </c:pt>
                <c:pt idx="4529">
                  <c:v>251.31846942467303</c:v>
                </c:pt>
                <c:pt idx="4530">
                  <c:v>251.37236746573427</c:v>
                </c:pt>
                <c:pt idx="4531">
                  <c:v>251.42627706582988</c:v>
                </c:pt>
                <c:pt idx="4532">
                  <c:v>251.48019822743885</c:v>
                </c:pt>
                <c:pt idx="4533">
                  <c:v>251.53413095304066</c:v>
                </c:pt>
                <c:pt idx="4534">
                  <c:v>251.58807524511533</c:v>
                </c:pt>
                <c:pt idx="4535">
                  <c:v>251.64203110614346</c:v>
                </c:pt>
                <c:pt idx="4536">
                  <c:v>251.69599853860612</c:v>
                </c:pt>
                <c:pt idx="4537">
                  <c:v>251.74997754498492</c:v>
                </c:pt>
                <c:pt idx="4538">
                  <c:v>251.803968127762</c:v>
                </c:pt>
                <c:pt idx="4539">
                  <c:v>251.85797028942008</c:v>
                </c:pt>
                <c:pt idx="4540">
                  <c:v>251.91198403244238</c:v>
                </c:pt>
                <c:pt idx="4541">
                  <c:v>251.96600935931261</c:v>
                </c:pt>
                <c:pt idx="4542">
                  <c:v>252.02004627251509</c:v>
                </c:pt>
                <c:pt idx="4543">
                  <c:v>252.07409477453464</c:v>
                </c:pt>
                <c:pt idx="4544">
                  <c:v>252.12815486785661</c:v>
                </c:pt>
                <c:pt idx="4545">
                  <c:v>252.18222655496686</c:v>
                </c:pt>
                <c:pt idx="4546">
                  <c:v>252.23630983835184</c:v>
                </c:pt>
                <c:pt idx="4547">
                  <c:v>252.29040472049849</c:v>
                </c:pt>
                <c:pt idx="4548">
                  <c:v>252.34451120389429</c:v>
                </c:pt>
                <c:pt idx="4549">
                  <c:v>252.39862929102725</c:v>
                </c:pt>
                <c:pt idx="4550">
                  <c:v>252.45275898438592</c:v>
                </c:pt>
                <c:pt idx="4551">
                  <c:v>252.5069002864594</c:v>
                </c:pt>
                <c:pt idx="4552">
                  <c:v>252.56105319973727</c:v>
                </c:pt>
                <c:pt idx="4553">
                  <c:v>252.61521772670972</c:v>
                </c:pt>
                <c:pt idx="4554">
                  <c:v>252.66939386986741</c:v>
                </c:pt>
                <c:pt idx="4555">
                  <c:v>252.72358163170159</c:v>
                </c:pt>
                <c:pt idx="4556">
                  <c:v>252.777781014704</c:v>
                </c:pt>
                <c:pt idx="4557">
                  <c:v>252.83199202136694</c:v>
                </c:pt>
                <c:pt idx="4558">
                  <c:v>252.88621465418322</c:v>
                </c:pt>
                <c:pt idx="4559">
                  <c:v>252.94044891564619</c:v>
                </c:pt>
                <c:pt idx="4560">
                  <c:v>252.99469480824973</c:v>
                </c:pt>
                <c:pt idx="4561">
                  <c:v>253.04895233448832</c:v>
                </c:pt>
                <c:pt idx="4562">
                  <c:v>253.10322149685689</c:v>
                </c:pt>
                <c:pt idx="4563">
                  <c:v>253.15750229785093</c:v>
                </c:pt>
                <c:pt idx="4564">
                  <c:v>253.21179473996648</c:v>
                </c:pt>
                <c:pt idx="4565">
                  <c:v>253.26609882570011</c:v>
                </c:pt>
                <c:pt idx="4566">
                  <c:v>253.32041455754893</c:v>
                </c:pt>
                <c:pt idx="4567">
                  <c:v>253.37474193801057</c:v>
                </c:pt>
                <c:pt idx="4568">
                  <c:v>253.4290809695832</c:v>
                </c:pt>
                <c:pt idx="4569">
                  <c:v>253.48343165476555</c:v>
                </c:pt>
                <c:pt idx="4570">
                  <c:v>253.53779399605685</c:v>
                </c:pt>
                <c:pt idx="4571">
                  <c:v>253.59216799595688</c:v>
                </c:pt>
                <c:pt idx="4572">
                  <c:v>253.64655365696598</c:v>
                </c:pt>
                <c:pt idx="4573">
                  <c:v>253.70095098158498</c:v>
                </c:pt>
                <c:pt idx="4574">
                  <c:v>253.75535997231529</c:v>
                </c:pt>
                <c:pt idx="4575">
                  <c:v>253.80978063165881</c:v>
                </c:pt>
                <c:pt idx="4576">
                  <c:v>253.86421296211802</c:v>
                </c:pt>
                <c:pt idx="4577">
                  <c:v>253.91865696619593</c:v>
                </c:pt>
                <c:pt idx="4578">
                  <c:v>253.97311264639606</c:v>
                </c:pt>
                <c:pt idx="4579">
                  <c:v>254.02758000522249</c:v>
                </c:pt>
                <c:pt idx="4580">
                  <c:v>254.08205904517985</c:v>
                </c:pt>
                <c:pt idx="4581">
                  <c:v>254.13654976877325</c:v>
                </c:pt>
                <c:pt idx="4582">
                  <c:v>254.19105217850841</c:v>
                </c:pt>
                <c:pt idx="4583">
                  <c:v>254.24556627689154</c:v>
                </c:pt>
                <c:pt idx="4584">
                  <c:v>254.30009206642941</c:v>
                </c:pt>
                <c:pt idx="4585">
                  <c:v>254.35462954962932</c:v>
                </c:pt>
                <c:pt idx="4586">
                  <c:v>254.40917872899908</c:v>
                </c:pt>
                <c:pt idx="4587">
                  <c:v>254.46373960704707</c:v>
                </c:pt>
                <c:pt idx="4588">
                  <c:v>254.51831218628223</c:v>
                </c:pt>
                <c:pt idx="4589">
                  <c:v>254.57289646921399</c:v>
                </c:pt>
                <c:pt idx="4590">
                  <c:v>254.62749245835232</c:v>
                </c:pt>
                <c:pt idx="4591">
                  <c:v>254.68210015620778</c:v>
                </c:pt>
                <c:pt idx="4592">
                  <c:v>254.73671956529142</c:v>
                </c:pt>
                <c:pt idx="4593">
                  <c:v>254.79135068811485</c:v>
                </c:pt>
                <c:pt idx="4594">
                  <c:v>254.84599352719019</c:v>
                </c:pt>
                <c:pt idx="4595">
                  <c:v>254.90064808503013</c:v>
                </c:pt>
                <c:pt idx="4596">
                  <c:v>254.95531436414791</c:v>
                </c:pt>
                <c:pt idx="4597">
                  <c:v>255.00999236705727</c:v>
                </c:pt>
                <c:pt idx="4598">
                  <c:v>255.06468209627249</c:v>
                </c:pt>
                <c:pt idx="4599">
                  <c:v>255.11938355430846</c:v>
                </c:pt>
                <c:pt idx="4600">
                  <c:v>255.17409674368051</c:v>
                </c:pt>
                <c:pt idx="4601">
                  <c:v>255.22882166690457</c:v>
                </c:pt>
                <c:pt idx="4602">
                  <c:v>255.28355832649709</c:v>
                </c:pt>
                <c:pt idx="4603">
                  <c:v>255.33830672497507</c:v>
                </c:pt>
                <c:pt idx="4604">
                  <c:v>255.39306686485605</c:v>
                </c:pt>
                <c:pt idx="4605">
                  <c:v>255.44783874865809</c:v>
                </c:pt>
                <c:pt idx="4606">
                  <c:v>255.50262237889982</c:v>
                </c:pt>
                <c:pt idx="4607">
                  <c:v>255.55741775810037</c:v>
                </c:pt>
                <c:pt idx="4608">
                  <c:v>255.61222488877948</c:v>
                </c:pt>
                <c:pt idx="4609">
                  <c:v>255.66704377345735</c:v>
                </c:pt>
                <c:pt idx="4610">
                  <c:v>255.72187441465476</c:v>
                </c:pt>
                <c:pt idx="4611">
                  <c:v>255.77671681489304</c:v>
                </c:pt>
                <c:pt idx="4612">
                  <c:v>255.83157097669402</c:v>
                </c:pt>
                <c:pt idx="4613">
                  <c:v>255.88643690258013</c:v>
                </c:pt>
                <c:pt idx="4614">
                  <c:v>255.94131459507429</c:v>
                </c:pt>
                <c:pt idx="4615">
                  <c:v>255.99620405669998</c:v>
                </c:pt>
                <c:pt idx="4616">
                  <c:v>256.05110528998119</c:v>
                </c:pt>
                <c:pt idx="4617">
                  <c:v>256.10601829744257</c:v>
                </c:pt>
                <c:pt idx="4618">
                  <c:v>256.16094308160916</c:v>
                </c:pt>
                <c:pt idx="4619">
                  <c:v>256.21587964500662</c:v>
                </c:pt>
                <c:pt idx="4620">
                  <c:v>256.27082799016114</c:v>
                </c:pt>
                <c:pt idx="4621">
                  <c:v>256.32578811959939</c:v>
                </c:pt>
                <c:pt idx="4622">
                  <c:v>256.38076003584871</c:v>
                </c:pt>
                <c:pt idx="4623">
                  <c:v>256.43574374143691</c:v>
                </c:pt>
                <c:pt idx="4624">
                  <c:v>256.49073923889233</c:v>
                </c:pt>
                <c:pt idx="4625">
                  <c:v>256.54574653074388</c:v>
                </c:pt>
                <c:pt idx="4626">
                  <c:v>256.60076561952098</c:v>
                </c:pt>
                <c:pt idx="4627">
                  <c:v>256.65579650775362</c:v>
                </c:pt>
                <c:pt idx="4628">
                  <c:v>256.71083919797229</c:v>
                </c:pt>
                <c:pt idx="4629">
                  <c:v>256.76589369270812</c:v>
                </c:pt>
                <c:pt idx="4630">
                  <c:v>256.82095999449268</c:v>
                </c:pt>
                <c:pt idx="4631">
                  <c:v>256.87603810585813</c:v>
                </c:pt>
                <c:pt idx="4632">
                  <c:v>256.93112802933717</c:v>
                </c:pt>
                <c:pt idx="4633">
                  <c:v>256.98622976746304</c:v>
                </c:pt>
                <c:pt idx="4634">
                  <c:v>257.04134332276954</c:v>
                </c:pt>
                <c:pt idx="4635">
                  <c:v>257.09646869779095</c:v>
                </c:pt>
                <c:pt idx="4636">
                  <c:v>257.15160589506218</c:v>
                </c:pt>
                <c:pt idx="4637">
                  <c:v>257.20675491711864</c:v>
                </c:pt>
                <c:pt idx="4638">
                  <c:v>257.26191576649626</c:v>
                </c:pt>
                <c:pt idx="4639">
                  <c:v>257.31708844573154</c:v>
                </c:pt>
                <c:pt idx="4640">
                  <c:v>257.37227295736159</c:v>
                </c:pt>
                <c:pt idx="4641">
                  <c:v>257.42746930392394</c:v>
                </c:pt>
                <c:pt idx="4642">
                  <c:v>257.48267748795672</c:v>
                </c:pt>
                <c:pt idx="4643">
                  <c:v>257.53789751199861</c:v>
                </c:pt>
                <c:pt idx="4644">
                  <c:v>257.59312937858886</c:v>
                </c:pt>
                <c:pt idx="4645">
                  <c:v>257.64837309026717</c:v>
                </c:pt>
                <c:pt idx="4646">
                  <c:v>257.70362864957394</c:v>
                </c:pt>
                <c:pt idx="4647">
                  <c:v>257.75889605904996</c:v>
                </c:pt>
                <c:pt idx="4648">
                  <c:v>257.81417532123669</c:v>
                </c:pt>
                <c:pt idx="4649">
                  <c:v>257.869466438676</c:v>
                </c:pt>
                <c:pt idx="4650">
                  <c:v>257.92476941391044</c:v>
                </c:pt>
                <c:pt idx="4651">
                  <c:v>257.79925081801548</c:v>
                </c:pt>
                <c:pt idx="4652">
                  <c:v>257.85453873472909</c:v>
                </c:pt>
                <c:pt idx="4653">
                  <c:v>257.90983850855139</c:v>
                </c:pt>
                <c:pt idx="4654">
                  <c:v>257.96515014202527</c:v>
                </c:pt>
                <c:pt idx="4655">
                  <c:v>258.02047363769412</c:v>
                </c:pt>
                <c:pt idx="4656">
                  <c:v>258.07580899810199</c:v>
                </c:pt>
                <c:pt idx="4657">
                  <c:v>258.13115622579335</c:v>
                </c:pt>
                <c:pt idx="4658">
                  <c:v>258.1865153233133</c:v>
                </c:pt>
                <c:pt idx="4659">
                  <c:v>258.24188629320741</c:v>
                </c:pt>
                <c:pt idx="4660">
                  <c:v>258.29726913802187</c:v>
                </c:pt>
                <c:pt idx="4661">
                  <c:v>258.35266386030344</c:v>
                </c:pt>
                <c:pt idx="4662">
                  <c:v>258.40807046259931</c:v>
                </c:pt>
                <c:pt idx="4663">
                  <c:v>258.46348894745734</c:v>
                </c:pt>
                <c:pt idx="4664">
                  <c:v>258.5189193174258</c:v>
                </c:pt>
                <c:pt idx="4665">
                  <c:v>258.57436157505362</c:v>
                </c:pt>
                <c:pt idx="4666">
                  <c:v>258.62981572289027</c:v>
                </c:pt>
                <c:pt idx="4667">
                  <c:v>258.6852817634857</c:v>
                </c:pt>
                <c:pt idx="4668">
                  <c:v>258.74075969939048</c:v>
                </c:pt>
                <c:pt idx="4669">
                  <c:v>258.79624953315567</c:v>
                </c:pt>
                <c:pt idx="4670">
                  <c:v>258.85175126733287</c:v>
                </c:pt>
                <c:pt idx="4671">
                  <c:v>258.90726490447429</c:v>
                </c:pt>
                <c:pt idx="4672">
                  <c:v>258.96279044713265</c:v>
                </c:pt>
                <c:pt idx="4673">
                  <c:v>259.01832789786118</c:v>
                </c:pt>
                <c:pt idx="4674">
                  <c:v>259.07387725921376</c:v>
                </c:pt>
                <c:pt idx="4675">
                  <c:v>259.12943853374475</c:v>
                </c:pt>
                <c:pt idx="4676">
                  <c:v>259.18501172400903</c:v>
                </c:pt>
                <c:pt idx="4677">
                  <c:v>259.24059683256206</c:v>
                </c:pt>
                <c:pt idx="4678">
                  <c:v>259.29619386195986</c:v>
                </c:pt>
                <c:pt idx="4679">
                  <c:v>259.35180281475903</c:v>
                </c:pt>
                <c:pt idx="4680">
                  <c:v>259.40742369351665</c:v>
                </c:pt>
                <c:pt idx="4681">
                  <c:v>260.43659838339113</c:v>
                </c:pt>
                <c:pt idx="4682">
                  <c:v>260.49245190862405</c:v>
                </c:pt>
                <c:pt idx="4683">
                  <c:v>260.54831741226673</c:v>
                </c:pt>
                <c:pt idx="4684">
                  <c:v>260.60419489688803</c:v>
                </c:pt>
                <c:pt idx="4685">
                  <c:v>260.6600843650574</c:v>
                </c:pt>
                <c:pt idx="4686">
                  <c:v>260.71598581934484</c:v>
                </c:pt>
                <c:pt idx="4687">
                  <c:v>260.77189926232091</c:v>
                </c:pt>
                <c:pt idx="4688">
                  <c:v>260.82782469655672</c:v>
                </c:pt>
                <c:pt idx="4689">
                  <c:v>260.88376212462396</c:v>
                </c:pt>
                <c:pt idx="4690">
                  <c:v>260.9397115490948</c:v>
                </c:pt>
                <c:pt idx="4691">
                  <c:v>260.99567297254202</c:v>
                </c:pt>
                <c:pt idx="4692">
                  <c:v>261.05164639753895</c:v>
                </c:pt>
                <c:pt idx="4693">
                  <c:v>261.10763182665943</c:v>
                </c:pt>
                <c:pt idx="4694">
                  <c:v>261.16362926247785</c:v>
                </c:pt>
                <c:pt idx="4695">
                  <c:v>261.21963870756923</c:v>
                </c:pt>
                <c:pt idx="4696">
                  <c:v>261.27566016450908</c:v>
                </c:pt>
                <c:pt idx="4697">
                  <c:v>261.33169363587348</c:v>
                </c:pt>
                <c:pt idx="4698">
                  <c:v>261.38773912423903</c:v>
                </c:pt>
                <c:pt idx="4699">
                  <c:v>261.44379663218291</c:v>
                </c:pt>
                <c:pt idx="4700">
                  <c:v>261.4998661622829</c:v>
                </c:pt>
                <c:pt idx="4701">
                  <c:v>261.55594771711725</c:v>
                </c:pt>
                <c:pt idx="4702">
                  <c:v>261.61204129926477</c:v>
                </c:pt>
                <c:pt idx="4703">
                  <c:v>261.66814691130492</c:v>
                </c:pt>
                <c:pt idx="4704">
                  <c:v>261.72426455581757</c:v>
                </c:pt>
                <c:pt idx="4705">
                  <c:v>261.78039423538326</c:v>
                </c:pt>
                <c:pt idx="4706">
                  <c:v>261.83653595258306</c:v>
                </c:pt>
                <c:pt idx="4707">
                  <c:v>261.89268970999854</c:v>
                </c:pt>
                <c:pt idx="4708">
                  <c:v>261.94885551021184</c:v>
                </c:pt>
                <c:pt idx="4709">
                  <c:v>262.00503335580572</c:v>
                </c:pt>
                <c:pt idx="4710">
                  <c:v>262.06122324936342</c:v>
                </c:pt>
                <c:pt idx="4711">
                  <c:v>262.11742519346876</c:v>
                </c:pt>
                <c:pt idx="4712">
                  <c:v>262.17363919070613</c:v>
                </c:pt>
                <c:pt idx="4713">
                  <c:v>262.22986524366047</c:v>
                </c:pt>
                <c:pt idx="4714">
                  <c:v>262.28610335491726</c:v>
                </c:pt>
                <c:pt idx="4715">
                  <c:v>262.34235352706247</c:v>
                </c:pt>
                <c:pt idx="4716">
                  <c:v>262.39861576268277</c:v>
                </c:pt>
                <c:pt idx="4717">
                  <c:v>262.45489006436526</c:v>
                </c:pt>
                <c:pt idx="4718">
                  <c:v>262.51117643469769</c:v>
                </c:pt>
                <c:pt idx="4719">
                  <c:v>262.56747487626825</c:v>
                </c:pt>
                <c:pt idx="4720">
                  <c:v>262.62378539166582</c:v>
                </c:pt>
                <c:pt idx="4721">
                  <c:v>262.68010798347973</c:v>
                </c:pt>
                <c:pt idx="4722">
                  <c:v>262.73644265429988</c:v>
                </c:pt>
                <c:pt idx="4723">
                  <c:v>262.79278940671679</c:v>
                </c:pt>
                <c:pt idx="4724">
                  <c:v>262.84914824332145</c:v>
                </c:pt>
                <c:pt idx="4725">
                  <c:v>262.90551916670546</c:v>
                </c:pt>
                <c:pt idx="4726">
                  <c:v>262.96190217946099</c:v>
                </c:pt>
                <c:pt idx="4727">
                  <c:v>263.01829728418073</c:v>
                </c:pt>
                <c:pt idx="4728">
                  <c:v>263.07470448345794</c:v>
                </c:pt>
                <c:pt idx="4729">
                  <c:v>263.13112377988642</c:v>
                </c:pt>
                <c:pt idx="4730">
                  <c:v>263.18755517606053</c:v>
                </c:pt>
                <c:pt idx="4731">
                  <c:v>263.24399867457521</c:v>
                </c:pt>
                <c:pt idx="4732">
                  <c:v>263.30045427802594</c:v>
                </c:pt>
                <c:pt idx="4733">
                  <c:v>263.35692198900875</c:v>
                </c:pt>
                <c:pt idx="4734">
                  <c:v>263.41340181012026</c:v>
                </c:pt>
                <c:pt idx="4735">
                  <c:v>263.46989374395758</c:v>
                </c:pt>
                <c:pt idx="4736">
                  <c:v>263.52639779311846</c:v>
                </c:pt>
                <c:pt idx="4737">
                  <c:v>263.58291396020115</c:v>
                </c:pt>
                <c:pt idx="4738">
                  <c:v>263.63944224780448</c:v>
                </c:pt>
                <c:pt idx="4739">
                  <c:v>263.69598265852784</c:v>
                </c:pt>
                <c:pt idx="4740">
                  <c:v>263.75253519497113</c:v>
                </c:pt>
                <c:pt idx="4741">
                  <c:v>263.80909985973489</c:v>
                </c:pt>
                <c:pt idx="4742">
                  <c:v>263.86567665542015</c:v>
                </c:pt>
                <c:pt idx="4743">
                  <c:v>263.92226558462852</c:v>
                </c:pt>
                <c:pt idx="4744">
                  <c:v>263.97886664996213</c:v>
                </c:pt>
                <c:pt idx="4745">
                  <c:v>264.03547985402378</c:v>
                </c:pt>
                <c:pt idx="4746">
                  <c:v>264.09210519941672</c:v>
                </c:pt>
                <c:pt idx="4747">
                  <c:v>264.14874268874479</c:v>
                </c:pt>
                <c:pt idx="4748">
                  <c:v>264.20539232461238</c:v>
                </c:pt>
                <c:pt idx="4749">
                  <c:v>264.2620541096245</c:v>
                </c:pt>
              </c:numCache>
            </c:numRef>
          </c:val>
          <c:smooth val="0"/>
          <c:extLst>
            <c:ext xmlns:c16="http://schemas.microsoft.com/office/drawing/2014/chart" uri="{C3380CC4-5D6E-409C-BE32-E72D297353CC}">
              <c16:uniqueId val="{00000001-DDC9-4014-8542-8A2F1BA93B78}"/>
            </c:ext>
          </c:extLst>
        </c:ser>
        <c:dLbls>
          <c:showLegendKey val="0"/>
          <c:showVal val="0"/>
          <c:showCatName val="0"/>
          <c:showSerName val="0"/>
          <c:showPercent val="0"/>
          <c:showBubbleSize val="0"/>
        </c:dLbls>
        <c:smooth val="0"/>
        <c:axId val="1566878000"/>
        <c:axId val="1566873680"/>
      </c:lineChart>
      <c:dateAx>
        <c:axId val="156687800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1566873680"/>
        <c:crosses val="autoZero"/>
        <c:auto val="1"/>
        <c:lblOffset val="100"/>
        <c:baseTimeUnit val="days"/>
      </c:dateAx>
      <c:valAx>
        <c:axId val="15668736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r>
                  <a:rPr lang="en-US"/>
                  <a:t>Portfolio price rebased to 100 at 31/8/2011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crossAx val="15668780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venir Next LT Pro" panose="020B05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chemeClr val="tx1"/>
          </a:solidFill>
          <a:latin typeface="Avenir Next LT Pro" panose="020B05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retirement-income-underlying-data-2023-24.xlsx]2018-24 Data Tables'!$AG$95</c:f>
              <c:strCache>
                <c:ptCount val="1"/>
                <c:pt idx="0">
                  <c:v>Less than 2%</c:v>
                </c:pt>
              </c:strCache>
            </c:strRef>
          </c:tx>
          <c:spPr>
            <a:solidFill>
              <a:schemeClr val="accent1"/>
            </a:solidFill>
            <a:ln>
              <a:noFill/>
            </a:ln>
            <a:effectLst/>
          </c:spPr>
          <c:invertIfNegative val="0"/>
          <c:cat>
            <c:strRef>
              <c:f>'[retirement-income-underlying-data-2023-24.xlsx]2018-24 Data Tables'!$B$96:$B$101</c:f>
              <c:strCache>
                <c:ptCount val="6"/>
                <c:pt idx="0">
                  <c:v>Less than £10,000</c:v>
                </c:pt>
                <c:pt idx="1">
                  <c:v>£10,000 - £29,000</c:v>
                </c:pt>
                <c:pt idx="2">
                  <c:v>£30,000 - £49,000</c:v>
                </c:pt>
                <c:pt idx="3">
                  <c:v>£50,000 - £99,000</c:v>
                </c:pt>
                <c:pt idx="4">
                  <c:v>£100,000 - £249,000</c:v>
                </c:pt>
                <c:pt idx="5">
                  <c:v>£250,000 and above</c:v>
                </c:pt>
              </c:strCache>
            </c:strRef>
          </c:cat>
          <c:val>
            <c:numRef>
              <c:f>'[retirement-income-underlying-data-2023-24.xlsx]2018-24 Data Tables'!$AG$96:$AG$101</c:f>
              <c:numCache>
                <c:formatCode>#,##0</c:formatCode>
                <c:ptCount val="6"/>
                <c:pt idx="0">
                  <c:v>1975</c:v>
                </c:pt>
                <c:pt idx="1">
                  <c:v>2964</c:v>
                </c:pt>
                <c:pt idx="2">
                  <c:v>3339</c:v>
                </c:pt>
                <c:pt idx="3">
                  <c:v>8671</c:v>
                </c:pt>
                <c:pt idx="4">
                  <c:v>18087</c:v>
                </c:pt>
                <c:pt idx="5">
                  <c:v>32276</c:v>
                </c:pt>
              </c:numCache>
            </c:numRef>
          </c:val>
          <c:extLst>
            <c:ext xmlns:c16="http://schemas.microsoft.com/office/drawing/2014/chart" uri="{C3380CC4-5D6E-409C-BE32-E72D297353CC}">
              <c16:uniqueId val="{00000000-5BE1-4A04-A334-03C12B556F74}"/>
            </c:ext>
          </c:extLst>
        </c:ser>
        <c:ser>
          <c:idx val="1"/>
          <c:order val="1"/>
          <c:tx>
            <c:strRef>
              <c:f>'[retirement-income-underlying-data-2023-24.xlsx]2018-24 Data Tables'!$AH$95</c:f>
              <c:strCache>
                <c:ptCount val="1"/>
                <c:pt idx="0">
                  <c:v>2%-3.99%</c:v>
                </c:pt>
              </c:strCache>
            </c:strRef>
          </c:tx>
          <c:spPr>
            <a:solidFill>
              <a:schemeClr val="accent2"/>
            </a:solidFill>
            <a:ln>
              <a:noFill/>
            </a:ln>
            <a:effectLst/>
          </c:spPr>
          <c:invertIfNegative val="0"/>
          <c:cat>
            <c:strRef>
              <c:f>'[retirement-income-underlying-data-2023-24.xlsx]2018-24 Data Tables'!$B$96:$B$101</c:f>
              <c:strCache>
                <c:ptCount val="6"/>
                <c:pt idx="0">
                  <c:v>Less than £10,000</c:v>
                </c:pt>
                <c:pt idx="1">
                  <c:v>£10,000 - £29,000</c:v>
                </c:pt>
                <c:pt idx="2">
                  <c:v>£30,000 - £49,000</c:v>
                </c:pt>
                <c:pt idx="3">
                  <c:v>£50,000 - £99,000</c:v>
                </c:pt>
                <c:pt idx="4">
                  <c:v>£100,000 - £249,000</c:v>
                </c:pt>
                <c:pt idx="5">
                  <c:v>£250,000 and above</c:v>
                </c:pt>
              </c:strCache>
            </c:strRef>
          </c:cat>
          <c:val>
            <c:numRef>
              <c:f>'[retirement-income-underlying-data-2023-24.xlsx]2018-24 Data Tables'!$AH$96:$AH$101</c:f>
              <c:numCache>
                <c:formatCode>#,##0</c:formatCode>
                <c:ptCount val="6"/>
                <c:pt idx="0">
                  <c:v>1196</c:v>
                </c:pt>
                <c:pt idx="1">
                  <c:v>4092</c:v>
                </c:pt>
                <c:pt idx="2">
                  <c:v>5748</c:v>
                </c:pt>
                <c:pt idx="3">
                  <c:v>14379</c:v>
                </c:pt>
                <c:pt idx="4">
                  <c:v>24854</c:v>
                </c:pt>
                <c:pt idx="5">
                  <c:v>36654</c:v>
                </c:pt>
              </c:numCache>
            </c:numRef>
          </c:val>
          <c:extLst>
            <c:ext xmlns:c16="http://schemas.microsoft.com/office/drawing/2014/chart" uri="{C3380CC4-5D6E-409C-BE32-E72D297353CC}">
              <c16:uniqueId val="{00000001-5BE1-4A04-A334-03C12B556F74}"/>
            </c:ext>
          </c:extLst>
        </c:ser>
        <c:ser>
          <c:idx val="2"/>
          <c:order val="2"/>
          <c:tx>
            <c:strRef>
              <c:f>'[retirement-income-underlying-data-2023-24.xlsx]2018-24 Data Tables'!$AI$95</c:f>
              <c:strCache>
                <c:ptCount val="1"/>
                <c:pt idx="0">
                  <c:v>4%-5.99%</c:v>
                </c:pt>
              </c:strCache>
            </c:strRef>
          </c:tx>
          <c:spPr>
            <a:solidFill>
              <a:schemeClr val="accent3"/>
            </a:solidFill>
            <a:ln>
              <a:noFill/>
            </a:ln>
            <a:effectLst/>
          </c:spPr>
          <c:invertIfNegative val="0"/>
          <c:cat>
            <c:strRef>
              <c:f>'[retirement-income-underlying-data-2023-24.xlsx]2018-24 Data Tables'!$B$96:$B$101</c:f>
              <c:strCache>
                <c:ptCount val="6"/>
                <c:pt idx="0">
                  <c:v>Less than £10,000</c:v>
                </c:pt>
                <c:pt idx="1">
                  <c:v>£10,000 - £29,000</c:v>
                </c:pt>
                <c:pt idx="2">
                  <c:v>£30,000 - £49,000</c:v>
                </c:pt>
                <c:pt idx="3">
                  <c:v>£50,000 - £99,000</c:v>
                </c:pt>
                <c:pt idx="4">
                  <c:v>£100,000 - £249,000</c:v>
                </c:pt>
                <c:pt idx="5">
                  <c:v>£250,000 and above</c:v>
                </c:pt>
              </c:strCache>
            </c:strRef>
          </c:cat>
          <c:val>
            <c:numRef>
              <c:f>'[retirement-income-underlying-data-2023-24.xlsx]2018-24 Data Tables'!$AI$96:$AI$101</c:f>
              <c:numCache>
                <c:formatCode>#,##0</c:formatCode>
                <c:ptCount val="6"/>
                <c:pt idx="0">
                  <c:v>1227</c:v>
                </c:pt>
                <c:pt idx="1">
                  <c:v>5952</c:v>
                </c:pt>
                <c:pt idx="2">
                  <c:v>7947</c:v>
                </c:pt>
                <c:pt idx="3">
                  <c:v>17873</c:v>
                </c:pt>
                <c:pt idx="4">
                  <c:v>26771</c:v>
                </c:pt>
                <c:pt idx="5">
                  <c:v>26766</c:v>
                </c:pt>
              </c:numCache>
            </c:numRef>
          </c:val>
          <c:extLst>
            <c:ext xmlns:c16="http://schemas.microsoft.com/office/drawing/2014/chart" uri="{C3380CC4-5D6E-409C-BE32-E72D297353CC}">
              <c16:uniqueId val="{00000002-5BE1-4A04-A334-03C12B556F74}"/>
            </c:ext>
          </c:extLst>
        </c:ser>
        <c:ser>
          <c:idx val="3"/>
          <c:order val="3"/>
          <c:tx>
            <c:strRef>
              <c:f>'[retirement-income-underlying-data-2023-24.xlsx]2018-24 Data Tables'!$AJ$95</c:f>
              <c:strCache>
                <c:ptCount val="1"/>
                <c:pt idx="0">
                  <c:v>6%-7.99%</c:v>
                </c:pt>
              </c:strCache>
            </c:strRef>
          </c:tx>
          <c:spPr>
            <a:solidFill>
              <a:schemeClr val="accent4"/>
            </a:solidFill>
            <a:ln>
              <a:noFill/>
            </a:ln>
            <a:effectLst/>
          </c:spPr>
          <c:invertIfNegative val="0"/>
          <c:cat>
            <c:strRef>
              <c:f>'[retirement-income-underlying-data-2023-24.xlsx]2018-24 Data Tables'!$B$96:$B$101</c:f>
              <c:strCache>
                <c:ptCount val="6"/>
                <c:pt idx="0">
                  <c:v>Less than £10,000</c:v>
                </c:pt>
                <c:pt idx="1">
                  <c:v>£10,000 - £29,000</c:v>
                </c:pt>
                <c:pt idx="2">
                  <c:v>£30,000 - £49,000</c:v>
                </c:pt>
                <c:pt idx="3">
                  <c:v>£50,000 - £99,000</c:v>
                </c:pt>
                <c:pt idx="4">
                  <c:v>£100,000 - £249,000</c:v>
                </c:pt>
                <c:pt idx="5">
                  <c:v>£250,000 and above</c:v>
                </c:pt>
              </c:strCache>
            </c:strRef>
          </c:cat>
          <c:val>
            <c:numRef>
              <c:f>'[retirement-income-underlying-data-2023-24.xlsx]2018-24 Data Tables'!$AJ$96:$AJ$101</c:f>
              <c:numCache>
                <c:formatCode>#,##0</c:formatCode>
                <c:ptCount val="6"/>
                <c:pt idx="0">
                  <c:v>1191</c:v>
                </c:pt>
                <c:pt idx="1">
                  <c:v>5755</c:v>
                </c:pt>
                <c:pt idx="2">
                  <c:v>7297</c:v>
                </c:pt>
                <c:pt idx="3">
                  <c:v>14325</c:v>
                </c:pt>
                <c:pt idx="4">
                  <c:v>19729</c:v>
                </c:pt>
                <c:pt idx="5">
                  <c:v>12997</c:v>
                </c:pt>
              </c:numCache>
            </c:numRef>
          </c:val>
          <c:extLst>
            <c:ext xmlns:c16="http://schemas.microsoft.com/office/drawing/2014/chart" uri="{C3380CC4-5D6E-409C-BE32-E72D297353CC}">
              <c16:uniqueId val="{00000003-5BE1-4A04-A334-03C12B556F74}"/>
            </c:ext>
          </c:extLst>
        </c:ser>
        <c:ser>
          <c:idx val="4"/>
          <c:order val="4"/>
          <c:tx>
            <c:strRef>
              <c:f>'[retirement-income-underlying-data-2023-24.xlsx]2018-24 Data Tables'!$AK$95</c:f>
              <c:strCache>
                <c:ptCount val="1"/>
                <c:pt idx="0">
                  <c:v>8% and above</c:v>
                </c:pt>
              </c:strCache>
            </c:strRef>
          </c:tx>
          <c:spPr>
            <a:solidFill>
              <a:schemeClr val="accent5"/>
            </a:solidFill>
            <a:ln>
              <a:noFill/>
            </a:ln>
            <a:effectLst/>
          </c:spPr>
          <c:invertIfNegative val="0"/>
          <c:cat>
            <c:strRef>
              <c:f>'[retirement-income-underlying-data-2023-24.xlsx]2018-24 Data Tables'!$B$96:$B$101</c:f>
              <c:strCache>
                <c:ptCount val="6"/>
                <c:pt idx="0">
                  <c:v>Less than £10,000</c:v>
                </c:pt>
                <c:pt idx="1">
                  <c:v>£10,000 - £29,000</c:v>
                </c:pt>
                <c:pt idx="2">
                  <c:v>£30,000 - £49,000</c:v>
                </c:pt>
                <c:pt idx="3">
                  <c:v>£50,000 - £99,000</c:v>
                </c:pt>
                <c:pt idx="4">
                  <c:v>£100,000 - £249,000</c:v>
                </c:pt>
                <c:pt idx="5">
                  <c:v>£250,000 and above</c:v>
                </c:pt>
              </c:strCache>
            </c:strRef>
          </c:cat>
          <c:val>
            <c:numRef>
              <c:f>'[retirement-income-underlying-data-2023-24.xlsx]2018-24 Data Tables'!$AK$96:$AK$101</c:f>
              <c:numCache>
                <c:formatCode>#,##0</c:formatCode>
                <c:ptCount val="6"/>
                <c:pt idx="0">
                  <c:v>25831</c:v>
                </c:pt>
                <c:pt idx="1">
                  <c:v>54638</c:v>
                </c:pt>
                <c:pt idx="2">
                  <c:v>38490</c:v>
                </c:pt>
                <c:pt idx="3">
                  <c:v>50989</c:v>
                </c:pt>
                <c:pt idx="4">
                  <c:v>40398</c:v>
                </c:pt>
                <c:pt idx="5">
                  <c:v>15165</c:v>
                </c:pt>
              </c:numCache>
            </c:numRef>
          </c:val>
          <c:extLst>
            <c:ext xmlns:c16="http://schemas.microsoft.com/office/drawing/2014/chart" uri="{C3380CC4-5D6E-409C-BE32-E72D297353CC}">
              <c16:uniqueId val="{00000004-5BE1-4A04-A334-03C12B556F74}"/>
            </c:ext>
          </c:extLst>
        </c:ser>
        <c:dLbls>
          <c:showLegendKey val="0"/>
          <c:showVal val="0"/>
          <c:showCatName val="0"/>
          <c:showSerName val="0"/>
          <c:showPercent val="0"/>
          <c:showBubbleSize val="0"/>
        </c:dLbls>
        <c:gapWidth val="219"/>
        <c:overlap val="-27"/>
        <c:axId val="623388192"/>
        <c:axId val="623388672"/>
      </c:barChart>
      <c:catAx>
        <c:axId val="62338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crossAx val="623388672"/>
        <c:crosses val="autoZero"/>
        <c:auto val="1"/>
        <c:lblAlgn val="ctr"/>
        <c:lblOffset val="100"/>
        <c:noMultiLvlLbl val="0"/>
      </c:catAx>
      <c:valAx>
        <c:axId val="6233886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crossAx val="6233881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venir Next LT Pro" panose="020B05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tx1"/>
          </a:solidFill>
          <a:latin typeface="Avenir Next LT Pro" panose="020B05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implyBiz Investment Academy Workbook 20240904.xlsx]Sheet3'!$B$1</c:f>
              <c:strCache>
                <c:ptCount val="1"/>
                <c:pt idx="0">
                  <c:v>Quarterly income</c:v>
                </c:pt>
              </c:strCache>
            </c:strRef>
          </c:tx>
          <c:spPr>
            <a:solidFill>
              <a:schemeClr val="accent1"/>
            </a:solidFill>
            <a:ln>
              <a:noFill/>
            </a:ln>
            <a:effectLst/>
          </c:spPr>
          <c:invertIfNegative val="0"/>
          <c:dLbls>
            <c:dLbl>
              <c:idx val="5"/>
              <c:layout>
                <c:manualLayout>
                  <c:x val="-1.6484649740782732E-3"/>
                  <c:y val="0.1494562054039680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B7-4A45-9B44-D9DD8DED5E92}"/>
                </c:ext>
              </c:extLst>
            </c:dLbl>
            <c:dLbl>
              <c:idx val="11"/>
              <c:layout>
                <c:manualLayout>
                  <c:x val="-1.6484649740783337E-3"/>
                  <c:y val="0.125840658285444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B7-4A45-9B44-D9DD8DED5E92}"/>
                </c:ext>
              </c:extLst>
            </c:dLbl>
            <c:spPr>
              <a:noFill/>
              <a:ln>
                <a:noFill/>
              </a:ln>
              <a:effectLst/>
            </c:spPr>
            <c:txPr>
              <a:bodyPr rot="0" spcFirstLastPara="1" vertOverflow="ellipsis" vert="horz" wrap="square" anchor="ctr" anchorCtr="1"/>
              <a:lstStyle/>
              <a:p>
                <a:pPr>
                  <a:defRPr sz="900" b="1" i="0" u="none" strike="noStrike" kern="1200" spc="-3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mplyBiz Investment Academy Workbook 20240904.xlsx]Sheet3'!$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implyBiz Investment Academy Workbook 20240904.xlsx]Sheet3'!$B$2:$B$13</c:f>
              <c:numCache>
                <c:formatCode>General</c:formatCode>
                <c:ptCount val="12"/>
                <c:pt idx="2" formatCode="_-[$£-809]* #,##0_-;\-[$£-809]* #,##0_-;_-[$£-809]* &quot;-&quot;??_-;_-@_-">
                  <c:v>980</c:v>
                </c:pt>
                <c:pt idx="5" formatCode="_-[$£-809]* #,##0_-;\-[$£-809]* #,##0_-;_-[$£-809]* &quot;-&quot;??_-;_-@_-">
                  <c:v>1350</c:v>
                </c:pt>
                <c:pt idx="8" formatCode="_-[$£-809]* #,##0_-;\-[$£-809]* #,##0_-;_-[$£-809]* &quot;-&quot;??_-;_-@_-">
                  <c:v>920</c:v>
                </c:pt>
                <c:pt idx="11" formatCode="_-[$£-809]* #,##0_-;\-[$£-809]* #,##0_-;_-[$£-809]* &quot;-&quot;??_-;_-@_-">
                  <c:v>1750</c:v>
                </c:pt>
              </c:numCache>
            </c:numRef>
          </c:val>
          <c:extLst>
            <c:ext xmlns:c16="http://schemas.microsoft.com/office/drawing/2014/chart" uri="{C3380CC4-5D6E-409C-BE32-E72D297353CC}">
              <c16:uniqueId val="{00000000-9DB7-4A45-9B44-D9DD8DED5E92}"/>
            </c:ext>
          </c:extLst>
        </c:ser>
        <c:dLbls>
          <c:showLegendKey val="0"/>
          <c:showVal val="0"/>
          <c:showCatName val="0"/>
          <c:showSerName val="0"/>
          <c:showPercent val="0"/>
          <c:showBubbleSize val="0"/>
        </c:dLbls>
        <c:gapWidth val="20"/>
        <c:overlap val="-27"/>
        <c:axId val="1201992207"/>
        <c:axId val="1202002767"/>
      </c:barChart>
      <c:catAx>
        <c:axId val="1201992207"/>
        <c:scaling>
          <c:orientation val="minMax"/>
        </c:scaling>
        <c:delete val="0"/>
        <c:axPos val="b"/>
        <c:numFmt formatCode="General" sourceLinked="1"/>
        <c:majorTickMark val="none"/>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202002767"/>
        <c:crosses val="autoZero"/>
        <c:auto val="1"/>
        <c:lblAlgn val="ctr"/>
        <c:lblOffset val="100"/>
        <c:noMultiLvlLbl val="0"/>
      </c:catAx>
      <c:valAx>
        <c:axId val="1202002767"/>
        <c:scaling>
          <c:orientation val="minMax"/>
          <c:max val="1800"/>
        </c:scaling>
        <c:delete val="0"/>
        <c:axPos val="l"/>
        <c:majorGridlines>
          <c:spPr>
            <a:ln w="9525" cap="flat" cmpd="sng" algn="ctr">
              <a:solidFill>
                <a:srgbClr val="C4C5C6"/>
              </a:solidFill>
              <a:round/>
            </a:ln>
            <a:effectLst/>
          </c:spPr>
        </c:majorGridlines>
        <c:title>
          <c:tx>
            <c:rich>
              <a:bodyPr rot="-5400000" spcFirstLastPara="1" vertOverflow="ellipsis" vert="horz" wrap="square" anchor="ctr" anchorCtr="1"/>
              <a:lstStyle/>
              <a:p>
                <a:pPr>
                  <a:defRPr sz="1000" b="0" i="0" u="none" strike="noStrike" kern="1200" baseline="0">
                    <a:solidFill>
                      <a:schemeClr val="tx2"/>
                    </a:solidFill>
                    <a:latin typeface="+mn-lt"/>
                    <a:ea typeface="+mn-ea"/>
                    <a:cs typeface="+mn-cs"/>
                  </a:defRPr>
                </a:pPr>
                <a:r>
                  <a:rPr lang="en-US"/>
                  <a:t>Income paid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201992207"/>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chemeClr val="tx2"/>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implyBiz Investment Academy Workbook 20240904.xlsx]Sheet3'!$C$1</c:f>
              <c:strCache>
                <c:ptCount val="1"/>
                <c:pt idx="0">
                  <c:v>Regular inco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mplyBiz Investment Academy Workbook 20240904.xlsx]Sheet3'!$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implyBiz Investment Academy Workbook 20240904.xlsx]Sheet3'!$C$2:$C$13</c:f>
              <c:numCache>
                <c:formatCode>_-[$£-809]* #,##0_-;\-[$£-809]* #,##0_-;_-[$£-809]* "-"??_-;_-@_-</c:formatCode>
                <c:ptCount val="12"/>
                <c:pt idx="0">
                  <c:v>350</c:v>
                </c:pt>
                <c:pt idx="1">
                  <c:v>350</c:v>
                </c:pt>
                <c:pt idx="2">
                  <c:v>350</c:v>
                </c:pt>
                <c:pt idx="3">
                  <c:v>350</c:v>
                </c:pt>
                <c:pt idx="4">
                  <c:v>350</c:v>
                </c:pt>
                <c:pt idx="5">
                  <c:v>350</c:v>
                </c:pt>
                <c:pt idx="6">
                  <c:v>350</c:v>
                </c:pt>
                <c:pt idx="7">
                  <c:v>350</c:v>
                </c:pt>
                <c:pt idx="8">
                  <c:v>350</c:v>
                </c:pt>
                <c:pt idx="9">
                  <c:v>350</c:v>
                </c:pt>
                <c:pt idx="10">
                  <c:v>350</c:v>
                </c:pt>
                <c:pt idx="11">
                  <c:v>350</c:v>
                </c:pt>
              </c:numCache>
            </c:numRef>
          </c:val>
          <c:extLst>
            <c:ext xmlns:c16="http://schemas.microsoft.com/office/drawing/2014/chart" uri="{C3380CC4-5D6E-409C-BE32-E72D297353CC}">
              <c16:uniqueId val="{00000000-7B51-4B52-BEB6-025BB21293E8}"/>
            </c:ext>
          </c:extLst>
        </c:ser>
        <c:ser>
          <c:idx val="1"/>
          <c:order val="1"/>
          <c:tx>
            <c:strRef>
              <c:f>'[SimplyBiz Investment Academy Workbook 20240904.xlsx]Sheet3'!$D$1</c:f>
              <c:strCache>
                <c:ptCount val="1"/>
                <c:pt idx="0">
                  <c:v>Balancing payment</c:v>
                </c:pt>
              </c:strCache>
            </c:strRef>
          </c:tx>
          <c:spPr>
            <a:solidFill>
              <a:srgbClr val="2D9BAD"/>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implyBiz Investment Academy Workbook 20240904.xlsx]Sheet3'!$D$2:$D$13</c:f>
              <c:numCache>
                <c:formatCode>General</c:formatCode>
                <c:ptCount val="12"/>
                <c:pt idx="11" formatCode="_-[$£-809]* #,##0_-;\-[$£-809]* #,##0_-;_-[$£-809]* &quot;-&quot;??_-;_-@_-">
                  <c:v>800</c:v>
                </c:pt>
              </c:numCache>
            </c:numRef>
          </c:val>
          <c:extLst>
            <c:ext xmlns:c16="http://schemas.microsoft.com/office/drawing/2014/chart" uri="{C3380CC4-5D6E-409C-BE32-E72D297353CC}">
              <c16:uniqueId val="{00000001-7B51-4B52-BEB6-025BB21293E8}"/>
            </c:ext>
          </c:extLst>
        </c:ser>
        <c:dLbls>
          <c:showLegendKey val="0"/>
          <c:showVal val="0"/>
          <c:showCatName val="0"/>
          <c:showSerName val="0"/>
          <c:showPercent val="0"/>
          <c:showBubbleSize val="0"/>
        </c:dLbls>
        <c:gapWidth val="50"/>
        <c:overlap val="100"/>
        <c:axId val="1201992207"/>
        <c:axId val="1202002767"/>
      </c:barChart>
      <c:catAx>
        <c:axId val="1201992207"/>
        <c:scaling>
          <c:orientation val="minMax"/>
        </c:scaling>
        <c:delete val="0"/>
        <c:axPos val="b"/>
        <c:numFmt formatCode="General" sourceLinked="1"/>
        <c:majorTickMark val="none"/>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202002767"/>
        <c:crosses val="autoZero"/>
        <c:auto val="1"/>
        <c:lblAlgn val="ctr"/>
        <c:lblOffset val="100"/>
        <c:noMultiLvlLbl val="0"/>
      </c:catAx>
      <c:valAx>
        <c:axId val="1202002767"/>
        <c:scaling>
          <c:orientation val="minMax"/>
          <c:max val="1200"/>
        </c:scaling>
        <c:delete val="0"/>
        <c:axPos val="l"/>
        <c:majorGridlines>
          <c:spPr>
            <a:ln w="9525" cap="flat" cmpd="sng" algn="ctr">
              <a:solidFill>
                <a:srgbClr val="C4C5C6"/>
              </a:solidFill>
              <a:round/>
            </a:ln>
            <a:effectLst/>
          </c:spPr>
        </c:majorGridlines>
        <c:title>
          <c:tx>
            <c:rich>
              <a:bodyPr rot="-5400000" spcFirstLastPara="1" vertOverflow="ellipsis" vert="horz" wrap="square" anchor="ctr" anchorCtr="1"/>
              <a:lstStyle/>
              <a:p>
                <a:pPr>
                  <a:defRPr sz="1000" b="0" i="0" u="none" strike="noStrike" kern="1200" baseline="0">
                    <a:solidFill>
                      <a:schemeClr val="tx2"/>
                    </a:solidFill>
                    <a:latin typeface="+mn-lt"/>
                    <a:ea typeface="+mn-ea"/>
                    <a:cs typeface="+mn-cs"/>
                  </a:defRPr>
                </a:pPr>
                <a:r>
                  <a:rPr lang="en-US"/>
                  <a:t>Income paid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12019922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chemeClr val="tx2"/>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al year'!$W$29</c:f>
              <c:strCache>
                <c:ptCount val="1"/>
                <c:pt idx="0">
                  <c:v>Regular inco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l year'!$X$28:$AF$28</c:f>
              <c:strCache>
                <c:ptCount val="9"/>
                <c:pt idx="0">
                  <c:v>2015/16</c:v>
                </c:pt>
                <c:pt idx="1">
                  <c:v>2016/17</c:v>
                </c:pt>
                <c:pt idx="2">
                  <c:v>2017/18</c:v>
                </c:pt>
                <c:pt idx="3">
                  <c:v>2018/19</c:v>
                </c:pt>
                <c:pt idx="4">
                  <c:v>2019/20</c:v>
                </c:pt>
                <c:pt idx="5">
                  <c:v>2020/21</c:v>
                </c:pt>
                <c:pt idx="6">
                  <c:v>2021/22</c:v>
                </c:pt>
                <c:pt idx="7">
                  <c:v>2022/23</c:v>
                </c:pt>
                <c:pt idx="8">
                  <c:v>2023/24</c:v>
                </c:pt>
              </c:strCache>
            </c:strRef>
          </c:cat>
          <c:val>
            <c:numRef>
              <c:f>'Cal year'!$X$29:$AF$29</c:f>
              <c:numCache>
                <c:formatCode>_(* #,##0.00_);_(* \(#,##0.00\);_(* "-"??_);_(@_)</c:formatCode>
                <c:ptCount val="9"/>
                <c:pt idx="0">
                  <c:v>3.3600000000000003</c:v>
                </c:pt>
                <c:pt idx="1">
                  <c:v>3.5428800000000003</c:v>
                </c:pt>
                <c:pt idx="2">
                  <c:v>3.618468</c:v>
                </c:pt>
                <c:pt idx="3">
                  <c:v>3.6551039999999997</c:v>
                </c:pt>
                <c:pt idx="4">
                  <c:v>3.742632</c:v>
                </c:pt>
                <c:pt idx="5">
                  <c:v>3.8081160000000001</c:v>
                </c:pt>
                <c:pt idx="6">
                  <c:v>3.9033120000000001</c:v>
                </c:pt>
                <c:pt idx="7">
                  <c:v>4.3416240000000004</c:v>
                </c:pt>
                <c:pt idx="8">
                  <c:v>4.4439720000000005</c:v>
                </c:pt>
              </c:numCache>
            </c:numRef>
          </c:val>
          <c:extLst>
            <c:ext xmlns:c16="http://schemas.microsoft.com/office/drawing/2014/chart" uri="{C3380CC4-5D6E-409C-BE32-E72D297353CC}">
              <c16:uniqueId val="{00000000-B8BA-463F-8547-EEE8229B8D50}"/>
            </c:ext>
          </c:extLst>
        </c:ser>
        <c:ser>
          <c:idx val="1"/>
          <c:order val="1"/>
          <c:tx>
            <c:strRef>
              <c:f>'Cal year'!$W$30</c:f>
              <c:strCache>
                <c:ptCount val="1"/>
                <c:pt idx="0">
                  <c:v>Balancing payment</c:v>
                </c:pt>
              </c:strCache>
            </c:strRef>
          </c:tx>
          <c:spPr>
            <a:solidFill>
              <a:srgbClr val="2D9BAD"/>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l year'!$X$28:$AF$28</c:f>
              <c:strCache>
                <c:ptCount val="9"/>
                <c:pt idx="0">
                  <c:v>2015/16</c:v>
                </c:pt>
                <c:pt idx="1">
                  <c:v>2016/17</c:v>
                </c:pt>
                <c:pt idx="2">
                  <c:v>2017/18</c:v>
                </c:pt>
                <c:pt idx="3">
                  <c:v>2018/19</c:v>
                </c:pt>
                <c:pt idx="4">
                  <c:v>2019/20</c:v>
                </c:pt>
                <c:pt idx="5">
                  <c:v>2020/21</c:v>
                </c:pt>
                <c:pt idx="6">
                  <c:v>2021/22</c:v>
                </c:pt>
                <c:pt idx="7">
                  <c:v>2022/23</c:v>
                </c:pt>
                <c:pt idx="8">
                  <c:v>2023/24</c:v>
                </c:pt>
              </c:strCache>
            </c:strRef>
          </c:cat>
          <c:val>
            <c:numRef>
              <c:f>'Cal year'!$X$30:$AF$30</c:f>
              <c:numCache>
                <c:formatCode>_(* #,##0.00_);_(* \(#,##0.00\);_(* "-"??_);_(@_)</c:formatCode>
                <c:ptCount val="9"/>
                <c:pt idx="0">
                  <c:v>0.84030300000000002</c:v>
                </c:pt>
                <c:pt idx="1">
                  <c:v>0.79403000000000001</c:v>
                </c:pt>
                <c:pt idx="2">
                  <c:v>0.95080300000000006</c:v>
                </c:pt>
                <c:pt idx="3">
                  <c:v>1.029415</c:v>
                </c:pt>
                <c:pt idx="4">
                  <c:v>0.93311899999999992</c:v>
                </c:pt>
                <c:pt idx="5">
                  <c:v>1.071496</c:v>
                </c:pt>
                <c:pt idx="6">
                  <c:v>1.1895539999999998</c:v>
                </c:pt>
                <c:pt idx="7">
                  <c:v>0.94903700000000013</c:v>
                </c:pt>
                <c:pt idx="8">
                  <c:v>0.8552423440000001</c:v>
                </c:pt>
              </c:numCache>
            </c:numRef>
          </c:val>
          <c:extLst>
            <c:ext xmlns:c16="http://schemas.microsoft.com/office/drawing/2014/chart" uri="{C3380CC4-5D6E-409C-BE32-E72D297353CC}">
              <c16:uniqueId val="{00000001-B8BA-463F-8547-EEE8229B8D50}"/>
            </c:ext>
          </c:extLst>
        </c:ser>
        <c:dLbls>
          <c:showLegendKey val="0"/>
          <c:showVal val="0"/>
          <c:showCatName val="0"/>
          <c:showSerName val="0"/>
          <c:showPercent val="0"/>
          <c:showBubbleSize val="0"/>
        </c:dLbls>
        <c:gapWidth val="50"/>
        <c:overlap val="100"/>
        <c:axId val="523556224"/>
        <c:axId val="523556704"/>
      </c:barChart>
      <c:catAx>
        <c:axId val="523556224"/>
        <c:scaling>
          <c:orientation val="minMax"/>
        </c:scaling>
        <c:delete val="0"/>
        <c:axPos val="b"/>
        <c:numFmt formatCode="General" sourceLinked="1"/>
        <c:majorTickMark val="none"/>
        <c:minorTickMark val="none"/>
        <c:tickLblPos val="nextTo"/>
        <c:spPr>
          <a:noFill/>
          <a:ln w="12700" cap="flat" cmpd="sng" algn="ctr">
            <a:solidFill>
              <a:schemeClr val="tx2"/>
            </a:solidFill>
            <a:round/>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523556704"/>
        <c:crosses val="autoZero"/>
        <c:auto val="1"/>
        <c:lblAlgn val="ctr"/>
        <c:lblOffset val="100"/>
        <c:noMultiLvlLbl val="0"/>
      </c:catAx>
      <c:valAx>
        <c:axId val="523556704"/>
        <c:scaling>
          <c:orientation val="minMax"/>
        </c:scaling>
        <c:delete val="0"/>
        <c:axPos val="l"/>
        <c:majorGridlines>
          <c:spPr>
            <a:ln w="9525" cap="flat" cmpd="sng" algn="ctr">
              <a:solidFill>
                <a:srgbClr val="C4C5C6"/>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crossAx val="523556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100">
          <a:solidFill>
            <a:schemeClr val="tx2"/>
          </a:solidFill>
          <a:latin typeface="+mn-lt"/>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20275710887059E-2"/>
          <c:y val="2.1322242529868217E-2"/>
          <c:w val="0.93260199063229587"/>
          <c:h val="0.7468141227119226"/>
        </c:manualLayout>
      </c:layout>
      <c:areaChart>
        <c:grouping val="standard"/>
        <c:varyColors val="0"/>
        <c:ser>
          <c:idx val="1"/>
          <c:order val="1"/>
          <c:tx>
            <c:strRef>
              <c:f>'Total vs Capital'!$C$3</c:f>
              <c:strCache>
                <c:ptCount val="1"/>
                <c:pt idx="0">
                  <c:v>Capital Return</c:v>
                </c:pt>
              </c:strCache>
            </c:strRef>
          </c:tx>
          <c:spPr>
            <a:solidFill>
              <a:srgbClr val="2D9BAD"/>
            </a:solidFill>
            <a:ln>
              <a:noFill/>
            </a:ln>
            <a:effectLst/>
          </c:spPr>
          <c:cat>
            <c:numRef>
              <c:f>'Total vs Capital'!$A$4:$A$116</c:f>
              <c:numCache>
                <c:formatCode>m/d/yyyy</c:formatCode>
                <c:ptCount val="113"/>
                <c:pt idx="0">
                  <c:v>42039</c:v>
                </c:pt>
                <c:pt idx="1">
                  <c:v>42094</c:v>
                </c:pt>
                <c:pt idx="2">
                  <c:v>42124</c:v>
                </c:pt>
                <c:pt idx="3">
                  <c:v>42155</c:v>
                </c:pt>
                <c:pt idx="4">
                  <c:v>42185</c:v>
                </c:pt>
                <c:pt idx="5">
                  <c:v>42216</c:v>
                </c:pt>
                <c:pt idx="6">
                  <c:v>42247</c:v>
                </c:pt>
                <c:pt idx="7">
                  <c:v>42277</c:v>
                </c:pt>
                <c:pt idx="8">
                  <c:v>42308</c:v>
                </c:pt>
                <c:pt idx="9">
                  <c:v>42338</c:v>
                </c:pt>
                <c:pt idx="10">
                  <c:v>42369</c:v>
                </c:pt>
                <c:pt idx="11">
                  <c:v>42400</c:v>
                </c:pt>
                <c:pt idx="12">
                  <c:v>42429</c:v>
                </c:pt>
                <c:pt idx="13">
                  <c:v>42460</c:v>
                </c:pt>
                <c:pt idx="14">
                  <c:v>42490</c:v>
                </c:pt>
                <c:pt idx="15">
                  <c:v>42521</c:v>
                </c:pt>
                <c:pt idx="16">
                  <c:v>42551</c:v>
                </c:pt>
                <c:pt idx="17">
                  <c:v>42582</c:v>
                </c:pt>
                <c:pt idx="18">
                  <c:v>42613</c:v>
                </c:pt>
                <c:pt idx="19">
                  <c:v>42643</c:v>
                </c:pt>
                <c:pt idx="20">
                  <c:v>42674</c:v>
                </c:pt>
                <c:pt idx="21">
                  <c:v>42704</c:v>
                </c:pt>
                <c:pt idx="22">
                  <c:v>42735</c:v>
                </c:pt>
                <c:pt idx="23">
                  <c:v>42766</c:v>
                </c:pt>
                <c:pt idx="24">
                  <c:v>42794</c:v>
                </c:pt>
                <c:pt idx="25">
                  <c:v>42825</c:v>
                </c:pt>
                <c:pt idx="26">
                  <c:v>42855</c:v>
                </c:pt>
                <c:pt idx="27">
                  <c:v>42886</c:v>
                </c:pt>
                <c:pt idx="28">
                  <c:v>42916</c:v>
                </c:pt>
                <c:pt idx="29">
                  <c:v>42947</c:v>
                </c:pt>
                <c:pt idx="30">
                  <c:v>42978</c:v>
                </c:pt>
                <c:pt idx="31">
                  <c:v>43008</c:v>
                </c:pt>
                <c:pt idx="32">
                  <c:v>43039</c:v>
                </c:pt>
                <c:pt idx="33">
                  <c:v>43069</c:v>
                </c:pt>
                <c:pt idx="34">
                  <c:v>43100</c:v>
                </c:pt>
                <c:pt idx="35">
                  <c:v>43131</c:v>
                </c:pt>
                <c:pt idx="36">
                  <c:v>43159</c:v>
                </c:pt>
                <c:pt idx="37">
                  <c:v>43190</c:v>
                </c:pt>
                <c:pt idx="38">
                  <c:v>43220</c:v>
                </c:pt>
                <c:pt idx="39">
                  <c:v>43251</c:v>
                </c:pt>
                <c:pt idx="40">
                  <c:v>43281</c:v>
                </c:pt>
                <c:pt idx="41">
                  <c:v>43312</c:v>
                </c:pt>
                <c:pt idx="42">
                  <c:v>43343</c:v>
                </c:pt>
                <c:pt idx="43">
                  <c:v>43373</c:v>
                </c:pt>
                <c:pt idx="44">
                  <c:v>43404</c:v>
                </c:pt>
                <c:pt idx="45">
                  <c:v>43434</c:v>
                </c:pt>
                <c:pt idx="46">
                  <c:v>43465</c:v>
                </c:pt>
                <c:pt idx="47">
                  <c:v>43496</c:v>
                </c:pt>
                <c:pt idx="48">
                  <c:v>43524</c:v>
                </c:pt>
                <c:pt idx="49">
                  <c:v>43555</c:v>
                </c:pt>
                <c:pt idx="50">
                  <c:v>43585</c:v>
                </c:pt>
                <c:pt idx="51">
                  <c:v>43616</c:v>
                </c:pt>
                <c:pt idx="52">
                  <c:v>43646</c:v>
                </c:pt>
                <c:pt idx="53">
                  <c:v>43677</c:v>
                </c:pt>
                <c:pt idx="54">
                  <c:v>43708</c:v>
                </c:pt>
                <c:pt idx="55">
                  <c:v>43738</c:v>
                </c:pt>
                <c:pt idx="56">
                  <c:v>43769</c:v>
                </c:pt>
                <c:pt idx="57">
                  <c:v>43799</c:v>
                </c:pt>
                <c:pt idx="58">
                  <c:v>43830</c:v>
                </c:pt>
                <c:pt idx="59">
                  <c:v>43861</c:v>
                </c:pt>
                <c:pt idx="60">
                  <c:v>43890</c:v>
                </c:pt>
                <c:pt idx="61">
                  <c:v>43921</c:v>
                </c:pt>
                <c:pt idx="62">
                  <c:v>43951</c:v>
                </c:pt>
                <c:pt idx="63">
                  <c:v>43982</c:v>
                </c:pt>
                <c:pt idx="64">
                  <c:v>44012</c:v>
                </c:pt>
                <c:pt idx="65">
                  <c:v>44043</c:v>
                </c:pt>
                <c:pt idx="66">
                  <c:v>44074</c:v>
                </c:pt>
                <c:pt idx="67">
                  <c:v>44104</c:v>
                </c:pt>
                <c:pt idx="68">
                  <c:v>44135</c:v>
                </c:pt>
                <c:pt idx="69">
                  <c:v>44165</c:v>
                </c:pt>
                <c:pt idx="70">
                  <c:v>44196</c:v>
                </c:pt>
                <c:pt idx="71">
                  <c:v>44227</c:v>
                </c:pt>
                <c:pt idx="72">
                  <c:v>44255</c:v>
                </c:pt>
                <c:pt idx="73">
                  <c:v>44286</c:v>
                </c:pt>
                <c:pt idx="74">
                  <c:v>44316</c:v>
                </c:pt>
                <c:pt idx="75">
                  <c:v>44347</c:v>
                </c:pt>
                <c:pt idx="76">
                  <c:v>44377</c:v>
                </c:pt>
                <c:pt idx="77">
                  <c:v>44408</c:v>
                </c:pt>
                <c:pt idx="78">
                  <c:v>44439</c:v>
                </c:pt>
                <c:pt idx="79">
                  <c:v>44469</c:v>
                </c:pt>
                <c:pt idx="80">
                  <c:v>44500</c:v>
                </c:pt>
                <c:pt idx="81">
                  <c:v>44530</c:v>
                </c:pt>
                <c:pt idx="82">
                  <c:v>44561</c:v>
                </c:pt>
                <c:pt idx="83">
                  <c:v>44592</c:v>
                </c:pt>
                <c:pt idx="84">
                  <c:v>44620</c:v>
                </c:pt>
                <c:pt idx="85">
                  <c:v>44651</c:v>
                </c:pt>
                <c:pt idx="86">
                  <c:v>44681</c:v>
                </c:pt>
                <c:pt idx="87">
                  <c:v>44712</c:v>
                </c:pt>
                <c:pt idx="88">
                  <c:v>44742</c:v>
                </c:pt>
                <c:pt idx="89">
                  <c:v>44773</c:v>
                </c:pt>
                <c:pt idx="90">
                  <c:v>44804</c:v>
                </c:pt>
                <c:pt idx="91">
                  <c:v>44834</c:v>
                </c:pt>
                <c:pt idx="92">
                  <c:v>44865</c:v>
                </c:pt>
                <c:pt idx="93">
                  <c:v>44895</c:v>
                </c:pt>
                <c:pt idx="94">
                  <c:v>44926</c:v>
                </c:pt>
                <c:pt idx="95">
                  <c:v>44957</c:v>
                </c:pt>
                <c:pt idx="96">
                  <c:v>44985</c:v>
                </c:pt>
                <c:pt idx="97">
                  <c:v>45016</c:v>
                </c:pt>
                <c:pt idx="98">
                  <c:v>45046</c:v>
                </c:pt>
                <c:pt idx="99">
                  <c:v>45077</c:v>
                </c:pt>
                <c:pt idx="100">
                  <c:v>45107</c:v>
                </c:pt>
                <c:pt idx="101">
                  <c:v>45138</c:v>
                </c:pt>
                <c:pt idx="102">
                  <c:v>45169</c:v>
                </c:pt>
                <c:pt idx="103">
                  <c:v>45199</c:v>
                </c:pt>
                <c:pt idx="104">
                  <c:v>45230</c:v>
                </c:pt>
                <c:pt idx="105">
                  <c:v>45260</c:v>
                </c:pt>
                <c:pt idx="106">
                  <c:v>45291</c:v>
                </c:pt>
                <c:pt idx="107">
                  <c:v>45322</c:v>
                </c:pt>
                <c:pt idx="108">
                  <c:v>45351</c:v>
                </c:pt>
                <c:pt idx="109">
                  <c:v>45382</c:v>
                </c:pt>
                <c:pt idx="110">
                  <c:v>45412</c:v>
                </c:pt>
                <c:pt idx="111">
                  <c:v>45443</c:v>
                </c:pt>
                <c:pt idx="112">
                  <c:v>45473</c:v>
                </c:pt>
              </c:numCache>
            </c:numRef>
          </c:cat>
          <c:val>
            <c:numRef>
              <c:f>'Total vs Capital'!$C$4:$C$116</c:f>
              <c:numCache>
                <c:formatCode>0.00</c:formatCode>
                <c:ptCount val="113"/>
                <c:pt idx="0">
                  <c:v>0</c:v>
                </c:pt>
                <c:pt idx="1">
                  <c:v>1.68</c:v>
                </c:pt>
                <c:pt idx="2">
                  <c:v>0.89</c:v>
                </c:pt>
                <c:pt idx="3">
                  <c:v>1.64</c:v>
                </c:pt>
                <c:pt idx="4">
                  <c:v>-1.71</c:v>
                </c:pt>
                <c:pt idx="5">
                  <c:v>-1.26</c:v>
                </c:pt>
                <c:pt idx="6">
                  <c:v>-4.67</c:v>
                </c:pt>
                <c:pt idx="7">
                  <c:v>-6.61</c:v>
                </c:pt>
                <c:pt idx="8">
                  <c:v>-2.98</c:v>
                </c:pt>
                <c:pt idx="9">
                  <c:v>-2.5099999999999998</c:v>
                </c:pt>
                <c:pt idx="10">
                  <c:v>-3.24</c:v>
                </c:pt>
                <c:pt idx="11">
                  <c:v>-6.11</c:v>
                </c:pt>
                <c:pt idx="12">
                  <c:v>-4.04</c:v>
                </c:pt>
                <c:pt idx="13">
                  <c:v>-1.4</c:v>
                </c:pt>
                <c:pt idx="14">
                  <c:v>-1.58</c:v>
                </c:pt>
                <c:pt idx="15">
                  <c:v>-0.88</c:v>
                </c:pt>
                <c:pt idx="16">
                  <c:v>1.37</c:v>
                </c:pt>
                <c:pt idx="17">
                  <c:v>6.19</c:v>
                </c:pt>
                <c:pt idx="18">
                  <c:v>7.98</c:v>
                </c:pt>
                <c:pt idx="19">
                  <c:v>8.2799999999999994</c:v>
                </c:pt>
                <c:pt idx="20">
                  <c:v>10.08</c:v>
                </c:pt>
                <c:pt idx="21">
                  <c:v>7.59</c:v>
                </c:pt>
                <c:pt idx="22">
                  <c:v>9.6</c:v>
                </c:pt>
                <c:pt idx="23">
                  <c:v>9.58</c:v>
                </c:pt>
                <c:pt idx="24">
                  <c:v>11.79</c:v>
                </c:pt>
                <c:pt idx="25">
                  <c:v>14.67</c:v>
                </c:pt>
                <c:pt idx="26">
                  <c:v>15.41</c:v>
                </c:pt>
                <c:pt idx="27">
                  <c:v>19.32</c:v>
                </c:pt>
                <c:pt idx="28">
                  <c:v>17.489999999999998</c:v>
                </c:pt>
                <c:pt idx="29">
                  <c:v>17.16</c:v>
                </c:pt>
                <c:pt idx="30">
                  <c:v>18.3</c:v>
                </c:pt>
                <c:pt idx="31">
                  <c:v>16.71</c:v>
                </c:pt>
                <c:pt idx="32">
                  <c:v>17.34</c:v>
                </c:pt>
                <c:pt idx="33">
                  <c:v>16</c:v>
                </c:pt>
                <c:pt idx="34">
                  <c:v>18.309999999999999</c:v>
                </c:pt>
                <c:pt idx="35">
                  <c:v>17.03</c:v>
                </c:pt>
                <c:pt idx="36">
                  <c:v>14.8</c:v>
                </c:pt>
                <c:pt idx="37">
                  <c:v>13.28</c:v>
                </c:pt>
                <c:pt idx="38">
                  <c:v>15.41</c:v>
                </c:pt>
                <c:pt idx="39">
                  <c:v>15.59</c:v>
                </c:pt>
                <c:pt idx="40">
                  <c:v>15.39</c:v>
                </c:pt>
                <c:pt idx="41">
                  <c:v>16.829999999999998</c:v>
                </c:pt>
                <c:pt idx="42">
                  <c:v>16.43</c:v>
                </c:pt>
                <c:pt idx="43">
                  <c:v>15.61</c:v>
                </c:pt>
                <c:pt idx="44">
                  <c:v>11.08</c:v>
                </c:pt>
                <c:pt idx="45">
                  <c:v>10.039999999999999</c:v>
                </c:pt>
                <c:pt idx="46">
                  <c:v>6.75</c:v>
                </c:pt>
                <c:pt idx="47">
                  <c:v>10.210000000000001</c:v>
                </c:pt>
                <c:pt idx="48">
                  <c:v>11.28</c:v>
                </c:pt>
                <c:pt idx="49">
                  <c:v>11.34</c:v>
                </c:pt>
                <c:pt idx="50">
                  <c:v>14.38</c:v>
                </c:pt>
                <c:pt idx="51">
                  <c:v>11.52</c:v>
                </c:pt>
                <c:pt idx="52">
                  <c:v>14.28</c:v>
                </c:pt>
                <c:pt idx="53">
                  <c:v>16.07</c:v>
                </c:pt>
                <c:pt idx="54">
                  <c:v>13.47</c:v>
                </c:pt>
                <c:pt idx="55">
                  <c:v>14.53</c:v>
                </c:pt>
                <c:pt idx="56">
                  <c:v>14.62</c:v>
                </c:pt>
                <c:pt idx="57">
                  <c:v>15.86</c:v>
                </c:pt>
                <c:pt idx="58">
                  <c:v>18.36</c:v>
                </c:pt>
                <c:pt idx="59">
                  <c:v>16.54</c:v>
                </c:pt>
                <c:pt idx="60">
                  <c:v>11.35</c:v>
                </c:pt>
                <c:pt idx="61">
                  <c:v>-6.11</c:v>
                </c:pt>
                <c:pt idx="62">
                  <c:v>0.01</c:v>
                </c:pt>
                <c:pt idx="63">
                  <c:v>3.59</c:v>
                </c:pt>
                <c:pt idx="64">
                  <c:v>6.6</c:v>
                </c:pt>
                <c:pt idx="65">
                  <c:v>4.71</c:v>
                </c:pt>
                <c:pt idx="66">
                  <c:v>7.2</c:v>
                </c:pt>
                <c:pt idx="67">
                  <c:v>5.93</c:v>
                </c:pt>
                <c:pt idx="68">
                  <c:v>4.7</c:v>
                </c:pt>
                <c:pt idx="69">
                  <c:v>14.85</c:v>
                </c:pt>
                <c:pt idx="70">
                  <c:v>17.86</c:v>
                </c:pt>
                <c:pt idx="71">
                  <c:v>17.62</c:v>
                </c:pt>
                <c:pt idx="72">
                  <c:v>18.62</c:v>
                </c:pt>
                <c:pt idx="73">
                  <c:v>21.4</c:v>
                </c:pt>
                <c:pt idx="74">
                  <c:v>22.38</c:v>
                </c:pt>
                <c:pt idx="75">
                  <c:v>23.23</c:v>
                </c:pt>
                <c:pt idx="76">
                  <c:v>23.2</c:v>
                </c:pt>
                <c:pt idx="77">
                  <c:v>22.28</c:v>
                </c:pt>
                <c:pt idx="78" formatCode="General">
                  <c:v>24.82</c:v>
                </c:pt>
                <c:pt idx="79" formatCode="General">
                  <c:v>23.56</c:v>
                </c:pt>
                <c:pt idx="80" formatCode="General">
                  <c:v>25.18</c:v>
                </c:pt>
                <c:pt idx="81" formatCode="General">
                  <c:v>23.62</c:v>
                </c:pt>
                <c:pt idx="82" formatCode="General">
                  <c:v>26.27</c:v>
                </c:pt>
                <c:pt idx="83" formatCode="General">
                  <c:v>24.88</c:v>
                </c:pt>
                <c:pt idx="84" formatCode="General">
                  <c:v>23.85</c:v>
                </c:pt>
                <c:pt idx="85" formatCode="General">
                  <c:v>27.52</c:v>
                </c:pt>
                <c:pt idx="86" formatCode="General">
                  <c:v>26.56</c:v>
                </c:pt>
                <c:pt idx="87" formatCode="General">
                  <c:v>27.62</c:v>
                </c:pt>
                <c:pt idx="88" formatCode="General">
                  <c:v>21.88</c:v>
                </c:pt>
                <c:pt idx="89" formatCode="General">
                  <c:v>23.64</c:v>
                </c:pt>
                <c:pt idx="90" formatCode="General">
                  <c:v>24.36</c:v>
                </c:pt>
                <c:pt idx="91" formatCode="General">
                  <c:v>17.28</c:v>
                </c:pt>
                <c:pt idx="92" formatCode="General">
                  <c:v>18.82</c:v>
                </c:pt>
                <c:pt idx="93" formatCode="General">
                  <c:v>23.53</c:v>
                </c:pt>
                <c:pt idx="94" formatCode="General">
                  <c:v>21.72</c:v>
                </c:pt>
                <c:pt idx="95" formatCode="General">
                  <c:v>25.21</c:v>
                </c:pt>
                <c:pt idx="96" formatCode="General">
                  <c:v>24.44</c:v>
                </c:pt>
                <c:pt idx="97" formatCode="General">
                  <c:v>22.47</c:v>
                </c:pt>
                <c:pt idx="98" formatCode="General">
                  <c:v>23.32</c:v>
                </c:pt>
                <c:pt idx="99" formatCode="General">
                  <c:v>21.16</c:v>
                </c:pt>
                <c:pt idx="100" formatCode="General">
                  <c:v>20.37</c:v>
                </c:pt>
                <c:pt idx="101" formatCode="General">
                  <c:v>20.41</c:v>
                </c:pt>
                <c:pt idx="102" formatCode="General">
                  <c:v>18.420000000000002</c:v>
                </c:pt>
                <c:pt idx="103" formatCode="General">
                  <c:v>17.23</c:v>
                </c:pt>
                <c:pt idx="104" formatCode="General">
                  <c:v>12.78</c:v>
                </c:pt>
                <c:pt idx="105" formatCode="General">
                  <c:v>16.059999999999999</c:v>
                </c:pt>
                <c:pt idx="106" formatCode="General">
                  <c:v>20.29</c:v>
                </c:pt>
                <c:pt idx="107" formatCode="General">
                  <c:v>18.43</c:v>
                </c:pt>
                <c:pt idx="108" formatCode="General">
                  <c:v>19.64</c:v>
                </c:pt>
                <c:pt idx="109" formatCode="General">
                  <c:v>21.87</c:v>
                </c:pt>
                <c:pt idx="110" formatCode="General">
                  <c:v>22.8</c:v>
                </c:pt>
                <c:pt idx="111" formatCode="General">
                  <c:v>23.33</c:v>
                </c:pt>
                <c:pt idx="112" formatCode="General">
                  <c:v>23.76</c:v>
                </c:pt>
              </c:numCache>
            </c:numRef>
          </c:val>
          <c:extLst>
            <c:ext xmlns:c16="http://schemas.microsoft.com/office/drawing/2014/chart" uri="{C3380CC4-5D6E-409C-BE32-E72D297353CC}">
              <c16:uniqueId val="{00000000-4B88-4934-A4EB-15D19F74FB33}"/>
            </c:ext>
          </c:extLst>
        </c:ser>
        <c:dLbls>
          <c:showLegendKey val="0"/>
          <c:showVal val="0"/>
          <c:showCatName val="0"/>
          <c:showSerName val="0"/>
          <c:showPercent val="0"/>
          <c:showBubbleSize val="0"/>
        </c:dLbls>
        <c:axId val="1526294624"/>
        <c:axId val="1531023392"/>
      </c:areaChart>
      <c:lineChart>
        <c:grouping val="standard"/>
        <c:varyColors val="0"/>
        <c:ser>
          <c:idx val="0"/>
          <c:order val="0"/>
          <c:tx>
            <c:strRef>
              <c:f>'Total vs Capital'!$B$3</c:f>
              <c:strCache>
                <c:ptCount val="1"/>
                <c:pt idx="0">
                  <c:v>Total Return</c:v>
                </c:pt>
              </c:strCache>
            </c:strRef>
          </c:tx>
          <c:spPr>
            <a:ln w="19050" cap="rnd">
              <a:solidFill>
                <a:srgbClr val="00243D"/>
              </a:solidFill>
              <a:round/>
            </a:ln>
            <a:effectLst/>
          </c:spPr>
          <c:marker>
            <c:symbol val="none"/>
          </c:marker>
          <c:cat>
            <c:numRef>
              <c:f>'Total vs Capital'!$A$4:$A$116</c:f>
              <c:numCache>
                <c:formatCode>m/d/yyyy</c:formatCode>
                <c:ptCount val="113"/>
                <c:pt idx="0">
                  <c:v>42039</c:v>
                </c:pt>
                <c:pt idx="1">
                  <c:v>42094</c:v>
                </c:pt>
                <c:pt idx="2">
                  <c:v>42124</c:v>
                </c:pt>
                <c:pt idx="3">
                  <c:v>42155</c:v>
                </c:pt>
                <c:pt idx="4">
                  <c:v>42185</c:v>
                </c:pt>
                <c:pt idx="5">
                  <c:v>42216</c:v>
                </c:pt>
                <c:pt idx="6">
                  <c:v>42247</c:v>
                </c:pt>
                <c:pt idx="7">
                  <c:v>42277</c:v>
                </c:pt>
                <c:pt idx="8">
                  <c:v>42308</c:v>
                </c:pt>
                <c:pt idx="9">
                  <c:v>42338</c:v>
                </c:pt>
                <c:pt idx="10">
                  <c:v>42369</c:v>
                </c:pt>
                <c:pt idx="11">
                  <c:v>42400</c:v>
                </c:pt>
                <c:pt idx="12">
                  <c:v>42429</c:v>
                </c:pt>
                <c:pt idx="13">
                  <c:v>42460</c:v>
                </c:pt>
                <c:pt idx="14">
                  <c:v>42490</c:v>
                </c:pt>
                <c:pt idx="15">
                  <c:v>42521</c:v>
                </c:pt>
                <c:pt idx="16">
                  <c:v>42551</c:v>
                </c:pt>
                <c:pt idx="17">
                  <c:v>42582</c:v>
                </c:pt>
                <c:pt idx="18">
                  <c:v>42613</c:v>
                </c:pt>
                <c:pt idx="19">
                  <c:v>42643</c:v>
                </c:pt>
                <c:pt idx="20">
                  <c:v>42674</c:v>
                </c:pt>
                <c:pt idx="21">
                  <c:v>42704</c:v>
                </c:pt>
                <c:pt idx="22">
                  <c:v>42735</c:v>
                </c:pt>
                <c:pt idx="23">
                  <c:v>42766</c:v>
                </c:pt>
                <c:pt idx="24">
                  <c:v>42794</c:v>
                </c:pt>
                <c:pt idx="25">
                  <c:v>42825</c:v>
                </c:pt>
                <c:pt idx="26">
                  <c:v>42855</c:v>
                </c:pt>
                <c:pt idx="27">
                  <c:v>42886</c:v>
                </c:pt>
                <c:pt idx="28">
                  <c:v>42916</c:v>
                </c:pt>
                <c:pt idx="29">
                  <c:v>42947</c:v>
                </c:pt>
                <c:pt idx="30">
                  <c:v>42978</c:v>
                </c:pt>
                <c:pt idx="31">
                  <c:v>43008</c:v>
                </c:pt>
                <c:pt idx="32">
                  <c:v>43039</c:v>
                </c:pt>
                <c:pt idx="33">
                  <c:v>43069</c:v>
                </c:pt>
                <c:pt idx="34">
                  <c:v>43100</c:v>
                </c:pt>
                <c:pt idx="35">
                  <c:v>43131</c:v>
                </c:pt>
                <c:pt idx="36">
                  <c:v>43159</c:v>
                </c:pt>
                <c:pt idx="37">
                  <c:v>43190</c:v>
                </c:pt>
                <c:pt idx="38">
                  <c:v>43220</c:v>
                </c:pt>
                <c:pt idx="39">
                  <c:v>43251</c:v>
                </c:pt>
                <c:pt idx="40">
                  <c:v>43281</c:v>
                </c:pt>
                <c:pt idx="41">
                  <c:v>43312</c:v>
                </c:pt>
                <c:pt idx="42">
                  <c:v>43343</c:v>
                </c:pt>
                <c:pt idx="43">
                  <c:v>43373</c:v>
                </c:pt>
                <c:pt idx="44">
                  <c:v>43404</c:v>
                </c:pt>
                <c:pt idx="45">
                  <c:v>43434</c:v>
                </c:pt>
                <c:pt idx="46">
                  <c:v>43465</c:v>
                </c:pt>
                <c:pt idx="47">
                  <c:v>43496</c:v>
                </c:pt>
                <c:pt idx="48">
                  <c:v>43524</c:v>
                </c:pt>
                <c:pt idx="49">
                  <c:v>43555</c:v>
                </c:pt>
                <c:pt idx="50">
                  <c:v>43585</c:v>
                </c:pt>
                <c:pt idx="51">
                  <c:v>43616</c:v>
                </c:pt>
                <c:pt idx="52">
                  <c:v>43646</c:v>
                </c:pt>
                <c:pt idx="53">
                  <c:v>43677</c:v>
                </c:pt>
                <c:pt idx="54">
                  <c:v>43708</c:v>
                </c:pt>
                <c:pt idx="55">
                  <c:v>43738</c:v>
                </c:pt>
                <c:pt idx="56">
                  <c:v>43769</c:v>
                </c:pt>
                <c:pt idx="57">
                  <c:v>43799</c:v>
                </c:pt>
                <c:pt idx="58">
                  <c:v>43830</c:v>
                </c:pt>
                <c:pt idx="59">
                  <c:v>43861</c:v>
                </c:pt>
                <c:pt idx="60">
                  <c:v>43890</c:v>
                </c:pt>
                <c:pt idx="61">
                  <c:v>43921</c:v>
                </c:pt>
                <c:pt idx="62">
                  <c:v>43951</c:v>
                </c:pt>
                <c:pt idx="63">
                  <c:v>43982</c:v>
                </c:pt>
                <c:pt idx="64">
                  <c:v>44012</c:v>
                </c:pt>
                <c:pt idx="65">
                  <c:v>44043</c:v>
                </c:pt>
                <c:pt idx="66">
                  <c:v>44074</c:v>
                </c:pt>
                <c:pt idx="67">
                  <c:v>44104</c:v>
                </c:pt>
                <c:pt idx="68">
                  <c:v>44135</c:v>
                </c:pt>
                <c:pt idx="69">
                  <c:v>44165</c:v>
                </c:pt>
                <c:pt idx="70">
                  <c:v>44196</c:v>
                </c:pt>
                <c:pt idx="71">
                  <c:v>44227</c:v>
                </c:pt>
                <c:pt idx="72">
                  <c:v>44255</c:v>
                </c:pt>
                <c:pt idx="73">
                  <c:v>44286</c:v>
                </c:pt>
                <c:pt idx="74">
                  <c:v>44316</c:v>
                </c:pt>
                <c:pt idx="75">
                  <c:v>44347</c:v>
                </c:pt>
                <c:pt idx="76">
                  <c:v>44377</c:v>
                </c:pt>
                <c:pt idx="77">
                  <c:v>44408</c:v>
                </c:pt>
                <c:pt idx="78">
                  <c:v>44439</c:v>
                </c:pt>
                <c:pt idx="79">
                  <c:v>44469</c:v>
                </c:pt>
                <c:pt idx="80">
                  <c:v>44500</c:v>
                </c:pt>
                <c:pt idx="81">
                  <c:v>44530</c:v>
                </c:pt>
                <c:pt idx="82">
                  <c:v>44561</c:v>
                </c:pt>
                <c:pt idx="83">
                  <c:v>44592</c:v>
                </c:pt>
                <c:pt idx="84">
                  <c:v>44620</c:v>
                </c:pt>
                <c:pt idx="85">
                  <c:v>44651</c:v>
                </c:pt>
                <c:pt idx="86">
                  <c:v>44681</c:v>
                </c:pt>
                <c:pt idx="87">
                  <c:v>44712</c:v>
                </c:pt>
                <c:pt idx="88">
                  <c:v>44742</c:v>
                </c:pt>
                <c:pt idx="89">
                  <c:v>44773</c:v>
                </c:pt>
                <c:pt idx="90">
                  <c:v>44804</c:v>
                </c:pt>
                <c:pt idx="91">
                  <c:v>44834</c:v>
                </c:pt>
                <c:pt idx="92">
                  <c:v>44865</c:v>
                </c:pt>
                <c:pt idx="93">
                  <c:v>44895</c:v>
                </c:pt>
                <c:pt idx="94">
                  <c:v>44926</c:v>
                </c:pt>
                <c:pt idx="95">
                  <c:v>44957</c:v>
                </c:pt>
                <c:pt idx="96">
                  <c:v>44985</c:v>
                </c:pt>
                <c:pt idx="97">
                  <c:v>45016</c:v>
                </c:pt>
                <c:pt idx="98">
                  <c:v>45046</c:v>
                </c:pt>
                <c:pt idx="99">
                  <c:v>45077</c:v>
                </c:pt>
                <c:pt idx="100">
                  <c:v>45107</c:v>
                </c:pt>
                <c:pt idx="101">
                  <c:v>45138</c:v>
                </c:pt>
                <c:pt idx="102">
                  <c:v>45169</c:v>
                </c:pt>
                <c:pt idx="103">
                  <c:v>45199</c:v>
                </c:pt>
                <c:pt idx="104">
                  <c:v>45230</c:v>
                </c:pt>
                <c:pt idx="105">
                  <c:v>45260</c:v>
                </c:pt>
                <c:pt idx="106">
                  <c:v>45291</c:v>
                </c:pt>
                <c:pt idx="107">
                  <c:v>45322</c:v>
                </c:pt>
                <c:pt idx="108">
                  <c:v>45351</c:v>
                </c:pt>
                <c:pt idx="109">
                  <c:v>45382</c:v>
                </c:pt>
                <c:pt idx="110">
                  <c:v>45412</c:v>
                </c:pt>
                <c:pt idx="111">
                  <c:v>45443</c:v>
                </c:pt>
                <c:pt idx="112">
                  <c:v>45473</c:v>
                </c:pt>
              </c:numCache>
            </c:numRef>
          </c:cat>
          <c:val>
            <c:numRef>
              <c:f>'Total vs Capital'!$B$4:$B$117</c:f>
              <c:numCache>
                <c:formatCode>General</c:formatCode>
                <c:ptCount val="114"/>
                <c:pt idx="0">
                  <c:v>0</c:v>
                </c:pt>
                <c:pt idx="1">
                  <c:v>1.96</c:v>
                </c:pt>
                <c:pt idx="2">
                  <c:v>1.45</c:v>
                </c:pt>
                <c:pt idx="3">
                  <c:v>2.4900000000000002</c:v>
                </c:pt>
                <c:pt idx="4">
                  <c:v>-0.61</c:v>
                </c:pt>
                <c:pt idx="5">
                  <c:v>0.54</c:v>
                </c:pt>
                <c:pt idx="6">
                  <c:v>-2.65</c:v>
                </c:pt>
                <c:pt idx="7">
                  <c:v>-4.3499999999999996</c:v>
                </c:pt>
                <c:pt idx="8">
                  <c:v>-0.34</c:v>
                </c:pt>
                <c:pt idx="9">
                  <c:v>0.43</c:v>
                </c:pt>
                <c:pt idx="10">
                  <c:v>-0.03</c:v>
                </c:pt>
                <c:pt idx="11">
                  <c:v>-2.71</c:v>
                </c:pt>
                <c:pt idx="12">
                  <c:v>-0.27</c:v>
                </c:pt>
                <c:pt idx="13">
                  <c:v>2.77</c:v>
                </c:pt>
                <c:pt idx="14">
                  <c:v>2.88</c:v>
                </c:pt>
                <c:pt idx="15">
                  <c:v>3.91</c:v>
                </c:pt>
                <c:pt idx="16">
                  <c:v>6.57</c:v>
                </c:pt>
                <c:pt idx="17">
                  <c:v>12.86</c:v>
                </c:pt>
                <c:pt idx="18">
                  <c:v>15.08</c:v>
                </c:pt>
                <c:pt idx="19">
                  <c:v>15.72</c:v>
                </c:pt>
                <c:pt idx="20">
                  <c:v>17.96</c:v>
                </c:pt>
                <c:pt idx="21">
                  <c:v>15.6</c:v>
                </c:pt>
                <c:pt idx="22">
                  <c:v>18.09</c:v>
                </c:pt>
                <c:pt idx="23">
                  <c:v>18.39</c:v>
                </c:pt>
                <c:pt idx="24">
                  <c:v>21.1</c:v>
                </c:pt>
                <c:pt idx="25">
                  <c:v>24.55</c:v>
                </c:pt>
                <c:pt idx="26">
                  <c:v>25.68</c:v>
                </c:pt>
                <c:pt idx="27">
                  <c:v>30.27</c:v>
                </c:pt>
                <c:pt idx="28">
                  <c:v>28.59</c:v>
                </c:pt>
                <c:pt idx="29">
                  <c:v>29.43</c:v>
                </c:pt>
                <c:pt idx="30">
                  <c:v>31.02</c:v>
                </c:pt>
                <c:pt idx="31">
                  <c:v>29.59</c:v>
                </c:pt>
                <c:pt idx="32">
                  <c:v>30.63</c:v>
                </c:pt>
                <c:pt idx="33">
                  <c:v>29.47</c:v>
                </c:pt>
                <c:pt idx="34">
                  <c:v>32.39</c:v>
                </c:pt>
                <c:pt idx="35">
                  <c:v>31.3</c:v>
                </c:pt>
                <c:pt idx="36">
                  <c:v>29.13</c:v>
                </c:pt>
                <c:pt idx="37">
                  <c:v>27.76</c:v>
                </c:pt>
                <c:pt idx="38">
                  <c:v>30.51</c:v>
                </c:pt>
                <c:pt idx="39">
                  <c:v>31.05</c:v>
                </c:pt>
                <c:pt idx="40">
                  <c:v>31.17</c:v>
                </c:pt>
                <c:pt idx="41">
                  <c:v>34.24</c:v>
                </c:pt>
                <c:pt idx="42">
                  <c:v>34.130000000000003</c:v>
                </c:pt>
                <c:pt idx="43">
                  <c:v>33.53</c:v>
                </c:pt>
                <c:pt idx="44">
                  <c:v>28.64</c:v>
                </c:pt>
                <c:pt idx="45">
                  <c:v>27.78</c:v>
                </c:pt>
                <c:pt idx="46">
                  <c:v>24.3</c:v>
                </c:pt>
                <c:pt idx="47">
                  <c:v>28.7</c:v>
                </c:pt>
                <c:pt idx="48">
                  <c:v>30.31</c:v>
                </c:pt>
                <c:pt idx="49">
                  <c:v>30.74</c:v>
                </c:pt>
                <c:pt idx="50">
                  <c:v>34.67</c:v>
                </c:pt>
                <c:pt idx="51">
                  <c:v>31.66</c:v>
                </c:pt>
                <c:pt idx="52">
                  <c:v>35.29</c:v>
                </c:pt>
                <c:pt idx="53">
                  <c:v>39.020000000000003</c:v>
                </c:pt>
                <c:pt idx="54">
                  <c:v>36.270000000000003</c:v>
                </c:pt>
                <c:pt idx="55">
                  <c:v>37.92</c:v>
                </c:pt>
                <c:pt idx="56">
                  <c:v>38.409999999999997</c:v>
                </c:pt>
                <c:pt idx="57">
                  <c:v>40.29</c:v>
                </c:pt>
                <c:pt idx="58" formatCode="0.00">
                  <c:v>43.7</c:v>
                </c:pt>
                <c:pt idx="59">
                  <c:v>41.87</c:v>
                </c:pt>
                <c:pt idx="60">
                  <c:v>35.909999999999997</c:v>
                </c:pt>
                <c:pt idx="61">
                  <c:v>14.92</c:v>
                </c:pt>
                <c:pt idx="62">
                  <c:v>22.82</c:v>
                </c:pt>
                <c:pt idx="63">
                  <c:v>27.62</c:v>
                </c:pt>
                <c:pt idx="64">
                  <c:v>31.73</c:v>
                </c:pt>
                <c:pt idx="65">
                  <c:v>30.92</c:v>
                </c:pt>
                <c:pt idx="66">
                  <c:v>34.44</c:v>
                </c:pt>
                <c:pt idx="67">
                  <c:v>33.25</c:v>
                </c:pt>
                <c:pt idx="68">
                  <c:v>32.090000000000003</c:v>
                </c:pt>
                <c:pt idx="69">
                  <c:v>45.34</c:v>
                </c:pt>
                <c:pt idx="70">
                  <c:v>49.56</c:v>
                </c:pt>
                <c:pt idx="71">
                  <c:v>49.65</c:v>
                </c:pt>
                <c:pt idx="72">
                  <c:v>51.33</c:v>
                </c:pt>
                <c:pt idx="73" formatCode="0.00">
                  <c:v>55.3</c:v>
                </c:pt>
                <c:pt idx="74">
                  <c:v>56.96</c:v>
                </c:pt>
                <c:pt idx="75">
                  <c:v>58.46</c:v>
                </c:pt>
                <c:pt idx="76">
                  <c:v>58.83</c:v>
                </c:pt>
                <c:pt idx="77">
                  <c:v>59.43</c:v>
                </c:pt>
                <c:pt idx="78">
                  <c:v>63.17</c:v>
                </c:pt>
                <c:pt idx="79">
                  <c:v>61.94</c:v>
                </c:pt>
                <c:pt idx="80" formatCode="0.00">
                  <c:v>64.5</c:v>
                </c:pt>
                <c:pt idx="81">
                  <c:v>62.87</c:v>
                </c:pt>
                <c:pt idx="82" formatCode="0.00">
                  <c:v>66.8</c:v>
                </c:pt>
                <c:pt idx="83">
                  <c:v>65.39</c:v>
                </c:pt>
                <c:pt idx="84">
                  <c:v>64.45</c:v>
                </c:pt>
                <c:pt idx="85">
                  <c:v>69.77</c:v>
                </c:pt>
                <c:pt idx="86">
                  <c:v>68.92</c:v>
                </c:pt>
                <c:pt idx="87">
                  <c:v>70.78</c:v>
                </c:pt>
                <c:pt idx="88">
                  <c:v>63.51</c:v>
                </c:pt>
                <c:pt idx="89">
                  <c:v>67.959999999999994</c:v>
                </c:pt>
                <c:pt idx="90">
                  <c:v>69.430000000000007</c:v>
                </c:pt>
                <c:pt idx="91">
                  <c:v>60.26</c:v>
                </c:pt>
                <c:pt idx="92">
                  <c:v>62.87</c:v>
                </c:pt>
                <c:pt idx="93">
                  <c:v>69.84</c:v>
                </c:pt>
                <c:pt idx="94">
                  <c:v>67.84</c:v>
                </c:pt>
                <c:pt idx="95">
                  <c:v>73.16</c:v>
                </c:pt>
                <c:pt idx="96">
                  <c:v>72.59</c:v>
                </c:pt>
                <c:pt idx="97">
                  <c:v>70.349999999999994</c:v>
                </c:pt>
                <c:pt idx="98">
                  <c:v>72.040000000000006</c:v>
                </c:pt>
                <c:pt idx="99">
                  <c:v>69.52</c:v>
                </c:pt>
                <c:pt idx="100">
                  <c:v>68.930000000000007</c:v>
                </c:pt>
                <c:pt idx="101">
                  <c:v>70.83</c:v>
                </c:pt>
                <c:pt idx="102">
                  <c:v>68.53</c:v>
                </c:pt>
                <c:pt idx="103">
                  <c:v>67.36</c:v>
                </c:pt>
                <c:pt idx="104">
                  <c:v>61.06</c:v>
                </c:pt>
                <c:pt idx="105">
                  <c:v>66.3</c:v>
                </c:pt>
                <c:pt idx="106">
                  <c:v>73.39</c:v>
                </c:pt>
                <c:pt idx="107">
                  <c:v>71.239999999999995</c:v>
                </c:pt>
                <c:pt idx="108">
                  <c:v>73.53</c:v>
                </c:pt>
                <c:pt idx="109">
                  <c:v>77.31</c:v>
                </c:pt>
                <c:pt idx="110">
                  <c:v>79.209999999999994</c:v>
                </c:pt>
                <c:pt idx="111">
                  <c:v>80.03</c:v>
                </c:pt>
                <c:pt idx="112" formatCode="0.00">
                  <c:v>81.2</c:v>
                </c:pt>
                <c:pt idx="113" formatCode="0.00">
                  <c:v>82.9</c:v>
                </c:pt>
              </c:numCache>
            </c:numRef>
          </c:val>
          <c:smooth val="0"/>
          <c:extLst>
            <c:ext xmlns:c16="http://schemas.microsoft.com/office/drawing/2014/chart" uri="{C3380CC4-5D6E-409C-BE32-E72D297353CC}">
              <c16:uniqueId val="{00000001-4B88-4934-A4EB-15D19F74FB33}"/>
            </c:ext>
          </c:extLst>
        </c:ser>
        <c:dLbls>
          <c:showLegendKey val="0"/>
          <c:showVal val="0"/>
          <c:showCatName val="0"/>
          <c:showSerName val="0"/>
          <c:showPercent val="0"/>
          <c:showBubbleSize val="0"/>
        </c:dLbls>
        <c:marker val="1"/>
        <c:smooth val="0"/>
        <c:axId val="1526294624"/>
        <c:axId val="1531023392"/>
      </c:lineChart>
      <c:dateAx>
        <c:axId val="1526294624"/>
        <c:scaling>
          <c:orientation val="minMax"/>
          <c:max val="45473"/>
          <c:min val="42185"/>
        </c:scaling>
        <c:delete val="0"/>
        <c:axPos val="b"/>
        <c:numFmt formatCode="mmm\ yy" sourceLinked="0"/>
        <c:majorTickMark val="none"/>
        <c:minorTickMark val="none"/>
        <c:tickLblPos val="low"/>
        <c:spPr>
          <a:noFill/>
          <a:ln w="12700" cap="flat" cmpd="sng" algn="ctr">
            <a:solidFill>
              <a:schemeClr val="tx2"/>
            </a:solidFill>
            <a:round/>
          </a:ln>
          <a:effectLst/>
        </c:spPr>
        <c:txPr>
          <a:bodyPr rot="0" spcFirstLastPara="1" vertOverflow="ellipsis" wrap="square" anchor="ctr" anchorCtr="1"/>
          <a:lstStyle/>
          <a:p>
            <a:pPr>
              <a:defRPr sz="1050" b="0" i="0" u="none" strike="noStrike" kern="1200" spc="-30" baseline="0">
                <a:solidFill>
                  <a:schemeClr val="tx2"/>
                </a:solidFill>
                <a:latin typeface="+mn-lt"/>
                <a:ea typeface="+mn-ea"/>
                <a:cs typeface="+mn-cs"/>
              </a:defRPr>
            </a:pPr>
            <a:endParaRPr lang="en-US"/>
          </a:p>
        </c:txPr>
        <c:crossAx val="1531023392"/>
        <c:crosses val="autoZero"/>
        <c:auto val="1"/>
        <c:lblOffset val="100"/>
        <c:baseTimeUnit val="months"/>
        <c:majorUnit val="6"/>
        <c:majorTimeUnit val="months"/>
      </c:dateAx>
      <c:valAx>
        <c:axId val="1531023392"/>
        <c:scaling>
          <c:orientation val="minMax"/>
        </c:scaling>
        <c:delete val="0"/>
        <c:axPos val="l"/>
        <c:majorGridlines>
          <c:spPr>
            <a:ln w="9525" cap="flat" cmpd="sng" algn="ctr">
              <a:solidFill>
                <a:srgbClr val="C4C5C6"/>
              </a:solidFill>
              <a:round/>
            </a:ln>
            <a:effectLst/>
          </c:spPr>
        </c:majorGridlines>
        <c:title>
          <c:tx>
            <c:rich>
              <a:bodyPr rot="-5400000" spcFirstLastPara="1" vertOverflow="ellipsis" vert="horz" wrap="square" anchor="ctr" anchorCtr="1"/>
              <a:lstStyle/>
              <a:p>
                <a:pPr>
                  <a:defRPr sz="1050" b="0" i="0" u="none" strike="noStrike" kern="1200" baseline="0">
                    <a:solidFill>
                      <a:schemeClr val="tx2"/>
                    </a:solidFill>
                    <a:latin typeface="+mn-lt"/>
                    <a:ea typeface="+mn-ea"/>
                    <a:cs typeface="+mn-cs"/>
                  </a:defRPr>
                </a:pPr>
                <a:r>
                  <a:rPr lang="en-US"/>
                  <a:t>Cumulative return %</a:t>
                </a:r>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2"/>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2"/>
                </a:solidFill>
                <a:latin typeface="+mn-lt"/>
                <a:ea typeface="+mn-ea"/>
                <a:cs typeface="+mn-cs"/>
              </a:defRPr>
            </a:pPr>
            <a:endParaRPr lang="en-US"/>
          </a:p>
        </c:txPr>
        <c:crossAx val="1526294624"/>
        <c:crosses val="autoZero"/>
        <c:crossBetween val="between"/>
      </c:valAx>
      <c:spPr>
        <a:noFill/>
        <a:ln>
          <a:noFill/>
        </a:ln>
        <a:effectLst/>
      </c:spPr>
    </c:plotArea>
    <c:legend>
      <c:legendPos val="b"/>
      <c:layout>
        <c:manualLayout>
          <c:xMode val="edge"/>
          <c:yMode val="edge"/>
          <c:x val="0.13585929423738244"/>
          <c:y val="0.90217206498256874"/>
          <c:w val="0.23831047991881144"/>
          <c:h val="7.4056107129208626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50">
          <a:solidFill>
            <a:schemeClr val="tx2"/>
          </a:solidFill>
          <a:latin typeface="+mn-lt"/>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86088131605758"/>
          <c:y val="9.5571330596332257E-2"/>
          <c:w val="0.54813069552340177"/>
          <c:h val="0.82219575544275669"/>
        </c:manualLayout>
      </c:layout>
      <c:pieChart>
        <c:varyColors val="1"/>
        <c:ser>
          <c:idx val="0"/>
          <c:order val="0"/>
          <c:tx>
            <c:strRef>
              <c:f>Sheet1!$B$1</c:f>
              <c:strCache>
                <c:ptCount val="1"/>
                <c:pt idx="0">
                  <c:v>FL3</c:v>
                </c:pt>
              </c:strCache>
            </c:strRef>
          </c:tx>
          <c:spPr>
            <a:ln w="6350">
              <a:solidFill>
                <a:srgbClr val="FFFFFF"/>
              </a:solidFill>
            </a:ln>
          </c:spPr>
          <c:dPt>
            <c:idx val="0"/>
            <c:bubble3D val="0"/>
            <c:spPr>
              <a:solidFill>
                <a:srgbClr val="00243D"/>
              </a:solidFill>
              <a:ln w="6350">
                <a:solidFill>
                  <a:srgbClr val="FFFFFF"/>
                </a:solidFill>
              </a:ln>
              <a:effectLst/>
            </c:spPr>
            <c:extLst>
              <c:ext xmlns:c16="http://schemas.microsoft.com/office/drawing/2014/chart" uri="{C3380CC4-5D6E-409C-BE32-E72D297353CC}">
                <c16:uniqueId val="{00000005-CD91-4B49-8C45-6D068875CB3C}"/>
              </c:ext>
            </c:extLst>
          </c:dPt>
          <c:dPt>
            <c:idx val="1"/>
            <c:bubble3D val="0"/>
            <c:spPr>
              <a:solidFill>
                <a:srgbClr val="00485E"/>
              </a:solidFill>
              <a:ln w="6350">
                <a:solidFill>
                  <a:srgbClr val="FFFFFF"/>
                </a:solidFill>
              </a:ln>
              <a:effectLst/>
            </c:spPr>
            <c:extLst>
              <c:ext xmlns:c16="http://schemas.microsoft.com/office/drawing/2014/chart" uri="{C3380CC4-5D6E-409C-BE32-E72D297353CC}">
                <c16:uniqueId val="{00000001-DB89-4B08-BB0C-4D92E07AF8FE}"/>
              </c:ext>
            </c:extLst>
          </c:dPt>
          <c:dPt>
            <c:idx val="2"/>
            <c:bubble3D val="0"/>
            <c:spPr>
              <a:solidFill>
                <a:srgbClr val="006888"/>
              </a:solidFill>
              <a:ln w="6350">
                <a:solidFill>
                  <a:srgbClr val="FFFFFF"/>
                </a:solidFill>
              </a:ln>
              <a:effectLst/>
            </c:spPr>
            <c:extLst>
              <c:ext xmlns:c16="http://schemas.microsoft.com/office/drawing/2014/chart" uri="{C3380CC4-5D6E-409C-BE32-E72D297353CC}">
                <c16:uniqueId val="{00000009-CD91-4B49-8C45-6D068875CB3C}"/>
              </c:ext>
            </c:extLst>
          </c:dPt>
          <c:dPt>
            <c:idx val="3"/>
            <c:bubble3D val="0"/>
            <c:spPr>
              <a:solidFill>
                <a:srgbClr val="0098C6"/>
              </a:solidFill>
              <a:ln w="6350">
                <a:solidFill>
                  <a:srgbClr val="FFFFFF"/>
                </a:solidFill>
              </a:ln>
              <a:effectLst/>
            </c:spPr>
            <c:extLst>
              <c:ext xmlns:c16="http://schemas.microsoft.com/office/drawing/2014/chart" uri="{C3380CC4-5D6E-409C-BE32-E72D297353CC}">
                <c16:uniqueId val="{0000000B-CD91-4B49-8C45-6D068875CB3C}"/>
              </c:ext>
            </c:extLst>
          </c:dPt>
          <c:dPt>
            <c:idx val="4"/>
            <c:bubble3D val="0"/>
            <c:spPr>
              <a:solidFill>
                <a:srgbClr val="2FCEFF"/>
              </a:solidFill>
              <a:ln w="6350">
                <a:solidFill>
                  <a:srgbClr val="FFFFFF"/>
                </a:solidFill>
              </a:ln>
              <a:effectLst/>
            </c:spPr>
            <c:extLst>
              <c:ext xmlns:c16="http://schemas.microsoft.com/office/drawing/2014/chart" uri="{C3380CC4-5D6E-409C-BE32-E72D297353CC}">
                <c16:uniqueId val="{00000009-524E-4DD9-B245-84755F528799}"/>
              </c:ext>
            </c:extLst>
          </c:dPt>
          <c:dPt>
            <c:idx val="5"/>
            <c:bubble3D val="0"/>
            <c:spPr>
              <a:solidFill>
                <a:srgbClr val="97E7FF"/>
              </a:solidFill>
              <a:ln w="6350">
                <a:solidFill>
                  <a:srgbClr val="FFFFFF"/>
                </a:solidFill>
              </a:ln>
              <a:effectLst/>
            </c:spPr>
            <c:extLst>
              <c:ext xmlns:c16="http://schemas.microsoft.com/office/drawing/2014/chart" uri="{C3380CC4-5D6E-409C-BE32-E72D297353CC}">
                <c16:uniqueId val="{0000000B-524E-4DD9-B245-84755F528799}"/>
              </c:ext>
            </c:extLst>
          </c:dPt>
          <c:dPt>
            <c:idx val="6"/>
            <c:bubble3D val="0"/>
            <c:spPr>
              <a:solidFill>
                <a:srgbClr val="2DB4B4"/>
              </a:solidFill>
              <a:ln w="6350">
                <a:solidFill>
                  <a:srgbClr val="FFFFFF"/>
                </a:solidFill>
              </a:ln>
              <a:effectLst/>
            </c:spPr>
            <c:extLst>
              <c:ext xmlns:c16="http://schemas.microsoft.com/office/drawing/2014/chart" uri="{C3380CC4-5D6E-409C-BE32-E72D297353CC}">
                <c16:uniqueId val="{0000000D-524E-4DD9-B245-84755F528799}"/>
              </c:ext>
            </c:extLst>
          </c:dPt>
          <c:dPt>
            <c:idx val="7"/>
            <c:bubble3D val="0"/>
            <c:spPr>
              <a:solidFill>
                <a:srgbClr val="75DDDD"/>
              </a:solidFill>
              <a:ln w="6350">
                <a:solidFill>
                  <a:srgbClr val="FFFFFF"/>
                </a:solidFill>
              </a:ln>
              <a:effectLst/>
            </c:spPr>
            <c:extLst>
              <c:ext xmlns:c16="http://schemas.microsoft.com/office/drawing/2014/chart" uri="{C3380CC4-5D6E-409C-BE32-E72D297353CC}">
                <c16:uniqueId val="{0000000F-524E-4DD9-B245-84755F528799}"/>
              </c:ext>
            </c:extLst>
          </c:dPt>
          <c:dPt>
            <c:idx val="8"/>
            <c:bubble3D val="0"/>
            <c:spPr>
              <a:solidFill>
                <a:srgbClr val="ABEAEA"/>
              </a:solidFill>
              <a:ln w="6350">
                <a:solidFill>
                  <a:srgbClr val="FFFFFF"/>
                </a:solidFill>
              </a:ln>
              <a:effectLst/>
            </c:spPr>
            <c:extLst>
              <c:ext xmlns:c16="http://schemas.microsoft.com/office/drawing/2014/chart" uri="{C3380CC4-5D6E-409C-BE32-E72D297353CC}">
                <c16:uniqueId val="{00000010-4B83-44EE-A687-1F89316E6851}"/>
              </c:ext>
            </c:extLst>
          </c:dPt>
          <c:dPt>
            <c:idx val="9"/>
            <c:bubble3D val="0"/>
            <c:spPr>
              <a:solidFill>
                <a:srgbClr val="CFF3F3"/>
              </a:solidFill>
              <a:ln w="6350">
                <a:solidFill>
                  <a:srgbClr val="FFFFFF"/>
                </a:solidFill>
              </a:ln>
              <a:effectLst/>
            </c:spPr>
            <c:extLst>
              <c:ext xmlns:c16="http://schemas.microsoft.com/office/drawing/2014/chart" uri="{C3380CC4-5D6E-409C-BE32-E72D297353CC}">
                <c16:uniqueId val="{0000000F-4B83-44EE-A687-1F89316E6851}"/>
              </c:ext>
            </c:extLst>
          </c:dPt>
          <c:dPt>
            <c:idx val="10"/>
            <c:bubble3D val="0"/>
            <c:spPr>
              <a:solidFill>
                <a:srgbClr val="FF6120"/>
              </a:solidFill>
              <a:ln w="6350">
                <a:solidFill>
                  <a:srgbClr val="FFFFFF"/>
                </a:solidFill>
              </a:ln>
              <a:effectLst/>
            </c:spPr>
            <c:extLst>
              <c:ext xmlns:c16="http://schemas.microsoft.com/office/drawing/2014/chart" uri="{C3380CC4-5D6E-409C-BE32-E72D297353CC}">
                <c16:uniqueId val="{0000000E-4B83-44EE-A687-1F89316E6851}"/>
              </c:ext>
            </c:extLst>
          </c:dPt>
          <c:dPt>
            <c:idx val="11"/>
            <c:bubble3D val="0"/>
            <c:spPr>
              <a:solidFill>
                <a:schemeClr val="accent6">
                  <a:lumMod val="60000"/>
                </a:schemeClr>
              </a:solidFill>
              <a:ln w="6350">
                <a:solidFill>
                  <a:srgbClr val="FFFFFF"/>
                </a:solidFill>
              </a:ln>
              <a:effectLst/>
            </c:spPr>
            <c:extLst>
              <c:ext xmlns:c16="http://schemas.microsoft.com/office/drawing/2014/chart" uri="{C3380CC4-5D6E-409C-BE32-E72D297353CC}">
                <c16:uniqueId val="{00000017-1642-4629-8150-32FBA8F926F4}"/>
              </c:ext>
            </c:extLst>
          </c:dPt>
          <c:cat>
            <c:strRef>
              <c:f>Sheet1!$A$2:$A$13</c:f>
              <c:strCache>
                <c:ptCount val="12"/>
                <c:pt idx="0">
                  <c:v>North American Equity</c:v>
                </c:pt>
                <c:pt idx="1">
                  <c:v>Europe ex UK Equity</c:v>
                </c:pt>
                <c:pt idx="2">
                  <c:v>UK Equity</c:v>
                </c:pt>
                <c:pt idx="3">
                  <c:v>EM Equity</c:v>
                </c:pt>
                <c:pt idx="4">
                  <c:v>Pacific ex Japan Equity</c:v>
                </c:pt>
                <c:pt idx="5">
                  <c:v>Japan Equity</c:v>
                </c:pt>
                <c:pt idx="6">
                  <c:v>Sovereign</c:v>
                </c:pt>
                <c:pt idx="7">
                  <c:v>IG</c:v>
                </c:pt>
                <c:pt idx="8">
                  <c:v>HY</c:v>
                </c:pt>
                <c:pt idx="9">
                  <c:v>EMD</c:v>
                </c:pt>
                <c:pt idx="10">
                  <c:v>Cash</c:v>
                </c:pt>
                <c:pt idx="11">
                  <c:v>Derivatives</c:v>
                </c:pt>
              </c:strCache>
            </c:strRef>
          </c:cat>
          <c:val>
            <c:numRef>
              <c:f>Sheet1!$B$2:$B$13</c:f>
              <c:numCache>
                <c:formatCode>#,##0.00;"-"#,##0.00;"--"</c:formatCode>
                <c:ptCount val="12"/>
                <c:pt idx="0">
                  <c:v>12.16</c:v>
                </c:pt>
                <c:pt idx="1">
                  <c:v>6.26</c:v>
                </c:pt>
                <c:pt idx="2">
                  <c:v>2.0299999999999998</c:v>
                </c:pt>
                <c:pt idx="3">
                  <c:v>2.2799999999999998</c:v>
                </c:pt>
                <c:pt idx="4">
                  <c:v>0.88</c:v>
                </c:pt>
                <c:pt idx="5">
                  <c:v>0.09</c:v>
                </c:pt>
                <c:pt idx="6">
                  <c:v>38.82</c:v>
                </c:pt>
                <c:pt idx="7">
                  <c:v>14.74</c:v>
                </c:pt>
                <c:pt idx="8">
                  <c:v>5.98</c:v>
                </c:pt>
                <c:pt idx="9">
                  <c:v>9.07</c:v>
                </c:pt>
                <c:pt idx="10">
                  <c:v>7.69</c:v>
                </c:pt>
                <c:pt idx="11">
                  <c:v>0</c:v>
                </c:pt>
              </c:numCache>
            </c:numRef>
          </c:val>
          <c:extLst>
            <c:ext xmlns:c16="http://schemas.microsoft.com/office/drawing/2014/chart" uri="{C3380CC4-5D6E-409C-BE32-E72D297353CC}">
              <c16:uniqueId val="{00000000-DB89-4B08-BB0C-4D92E07AF8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D1E8_7750D5FE.xml><?xml version="1.0" encoding="utf-8"?>
<p188:cmLst xmlns:a="http://schemas.openxmlformats.org/drawingml/2006/main" xmlns:r="http://schemas.openxmlformats.org/officeDocument/2006/relationships" xmlns:p188="http://schemas.microsoft.com/office/powerpoint/2018/8/main">
  <p188:cm id="{45414E6A-CCFF-4870-A256-3AC7FF1199C1}" authorId="{CAC3EC84-F958-1BEF-4D68-788A88E4D1CE}" status="resolved" created="2024-08-15T11:03:43.651">
    <pc:sldMkLst xmlns:pc="http://schemas.microsoft.com/office/powerpoint/2013/main/command">
      <pc:docMk/>
      <pc:sldMk cId="2001786366" sldId="2147471848"/>
    </pc:sldMkLst>
    <p188:txBody>
      <a:bodyPr/>
      <a:lstStyle/>
      <a:p>
        <a:r>
          <a:rPr lang="en-GB"/>
          <a:t>Can you change this to 'Portfolio' from Index/Fund</a:t>
        </a:r>
      </a:p>
    </p188:txBody>
  </p188:cm>
</p188:cmLst>
</file>

<file path=ppt/comments/modernComment_7FFFF875_C1654E09.xml><?xml version="1.0" encoding="utf-8"?>
<p188:cmLst xmlns:a="http://schemas.openxmlformats.org/drawingml/2006/main" xmlns:r="http://schemas.openxmlformats.org/officeDocument/2006/relationships" xmlns:p188="http://schemas.microsoft.com/office/powerpoint/2018/8/main">
  <p188:cm id="{89473658-DFD2-41F8-B7CA-D8A8B7814EF5}" authorId="{D9B318B1-6072-74B2-8A08-F9A77C01E3FC}" created="2024-10-08T17:29:04.526">
    <ac:txMkLst xmlns:ac="http://schemas.microsoft.com/office/drawing/2013/main/command">
      <pc:docMk xmlns:pc="http://schemas.microsoft.com/office/powerpoint/2013/main/command"/>
      <pc:sldMk xmlns:pc="http://schemas.microsoft.com/office/powerpoint/2013/main/command" cId="3244641801" sldId="2147481717"/>
      <ac:spMk id="5" creationId="{B584CE4E-BCB7-A2A4-68CD-69DBF266B8D2}"/>
      <ac:txMk cp="0" len="42">
        <ac:context len="43" hash="2003104709"/>
      </ac:txMk>
    </ac:txMkLst>
    <p188:pos x="7312678" y="140913"/>
    <p188:txBody>
      <a:bodyPr/>
      <a:lstStyle/>
      <a:p>
        <a:r>
          <a:rPr lang="en-GB"/>
          <a:t>New slide</a:t>
        </a:r>
      </a:p>
    </p188:txBody>
  </p188:cm>
</p188:cmLst>
</file>

<file path=ppt/comments/modernComment_7FFFF876_F052F291.xml><?xml version="1.0" encoding="utf-8"?>
<p188:cmLst xmlns:a="http://schemas.openxmlformats.org/drawingml/2006/main" xmlns:r="http://schemas.openxmlformats.org/officeDocument/2006/relationships" xmlns:p188="http://schemas.microsoft.com/office/powerpoint/2018/8/main">
  <p188:cm id="{7B053944-5B5B-4E25-BDFB-6F4165813543}" authorId="{D9B318B1-6072-74B2-8A08-F9A77C01E3FC}" created="2024-10-08T17:28:51.966">
    <ac:txMkLst xmlns:ac="http://schemas.microsoft.com/office/drawing/2013/main/command">
      <pc:docMk xmlns:pc="http://schemas.microsoft.com/office/powerpoint/2013/main/command"/>
      <pc:sldMk xmlns:pc="http://schemas.microsoft.com/office/powerpoint/2013/main/command" cId="4031967889" sldId="2147481718"/>
      <ac:spMk id="6" creationId="{B26F6698-AB05-E585-9723-5670F6FF4880}"/>
      <ac:txMk cp="0" len="45">
        <ac:context len="46" hash="3588443005"/>
      </ac:txMk>
    </ac:txMkLst>
    <p188:pos x="7557713" y="140913"/>
    <p188:txBody>
      <a:bodyPr/>
      <a:lstStyle/>
      <a:p>
        <a:r>
          <a:rPr lang="en-GB"/>
          <a:t>New slid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1314" name="Rectangle 2"/>
          <p:cNvSpPr>
            <a:spLocks noGrp="1" noChangeArrowheads="1"/>
          </p:cNvSpPr>
          <p:nvPr>
            <p:ph type="hdr" sz="quarter"/>
          </p:nvPr>
        </p:nvSpPr>
        <p:spPr bwMode="auto">
          <a:xfrm>
            <a:off x="0" y="2"/>
            <a:ext cx="2946400" cy="49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t" anchorCtr="0" compatLnSpc="1">
            <a:prstTxWarp prst="textNoShape">
              <a:avLst/>
            </a:prstTxWarp>
          </a:bodyPr>
          <a:lstStyle>
            <a:lvl1pPr algn="l">
              <a:spcAft>
                <a:spcPct val="0"/>
              </a:spcAft>
              <a:defRPr sz="1200"/>
            </a:lvl1pPr>
          </a:lstStyle>
          <a:p>
            <a:endParaRPr lang="en-GB" dirty="0"/>
          </a:p>
        </p:txBody>
      </p:sp>
      <p:sp>
        <p:nvSpPr>
          <p:cNvPr id="141315" name="Rectangle 3"/>
          <p:cNvSpPr>
            <a:spLocks noGrp="1" noChangeArrowheads="1"/>
          </p:cNvSpPr>
          <p:nvPr>
            <p:ph type="dt" sz="quarter" idx="1"/>
          </p:nvPr>
        </p:nvSpPr>
        <p:spPr bwMode="auto">
          <a:xfrm>
            <a:off x="3849690" y="2"/>
            <a:ext cx="2946400" cy="49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t" anchorCtr="0" compatLnSpc="1">
            <a:prstTxWarp prst="textNoShape">
              <a:avLst/>
            </a:prstTxWarp>
          </a:bodyPr>
          <a:lstStyle>
            <a:lvl1pPr algn="r">
              <a:spcAft>
                <a:spcPct val="0"/>
              </a:spcAft>
              <a:defRPr sz="1200"/>
            </a:lvl1pPr>
          </a:lstStyle>
          <a:p>
            <a:endParaRPr lang="en-GB" dirty="0"/>
          </a:p>
        </p:txBody>
      </p:sp>
      <p:sp>
        <p:nvSpPr>
          <p:cNvPr id="141316" name="Rectangle 4"/>
          <p:cNvSpPr>
            <a:spLocks noGrp="1" noChangeArrowheads="1"/>
          </p:cNvSpPr>
          <p:nvPr>
            <p:ph type="ftr" sz="quarter" idx="2"/>
          </p:nvPr>
        </p:nvSpPr>
        <p:spPr bwMode="auto">
          <a:xfrm>
            <a:off x="0" y="9428165"/>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b" anchorCtr="0" compatLnSpc="1">
            <a:prstTxWarp prst="textNoShape">
              <a:avLst/>
            </a:prstTxWarp>
          </a:bodyPr>
          <a:lstStyle>
            <a:lvl1pPr algn="l">
              <a:spcAft>
                <a:spcPct val="0"/>
              </a:spcAft>
              <a:defRPr sz="1200"/>
            </a:lvl1pPr>
          </a:lstStyle>
          <a:p>
            <a:endParaRPr lang="en-GB" dirty="0"/>
          </a:p>
        </p:txBody>
      </p:sp>
      <p:sp>
        <p:nvSpPr>
          <p:cNvPr id="141317" name="Rectangle 5"/>
          <p:cNvSpPr>
            <a:spLocks noGrp="1" noChangeArrowheads="1"/>
          </p:cNvSpPr>
          <p:nvPr>
            <p:ph type="sldNum" sz="quarter" idx="3"/>
          </p:nvPr>
        </p:nvSpPr>
        <p:spPr bwMode="auto">
          <a:xfrm>
            <a:off x="3849690" y="9428165"/>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b" anchorCtr="0" compatLnSpc="1">
            <a:prstTxWarp prst="textNoShape">
              <a:avLst/>
            </a:prstTxWarp>
          </a:bodyPr>
          <a:lstStyle>
            <a:lvl1pPr algn="r">
              <a:spcAft>
                <a:spcPct val="0"/>
              </a:spcAft>
              <a:defRPr sz="1200"/>
            </a:lvl1pPr>
          </a:lstStyle>
          <a:p>
            <a:fld id="{081CEDAF-87F3-4AB5-967B-4B9E386AE5F9}" type="slidenum">
              <a:rPr lang="en-GB"/>
              <a:pPr/>
              <a:t>‹#›</a:t>
            </a:fld>
            <a:endParaRPr lang="en-GB" dirty="0"/>
          </a:p>
        </p:txBody>
      </p:sp>
    </p:spTree>
    <p:extLst>
      <p:ext uri="{BB962C8B-B14F-4D97-AF65-F5344CB8AC3E}">
        <p14:creationId xmlns:p14="http://schemas.microsoft.com/office/powerpoint/2010/main" val="3075210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2"/>
            <a:ext cx="2946400" cy="49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t" anchorCtr="0" compatLnSpc="1">
            <a:prstTxWarp prst="textNoShape">
              <a:avLst/>
            </a:prstTxWarp>
          </a:bodyPr>
          <a:lstStyle>
            <a:lvl1pPr algn="l">
              <a:spcAft>
                <a:spcPct val="0"/>
              </a:spcAft>
              <a:defRPr sz="1200"/>
            </a:lvl1pPr>
          </a:lstStyle>
          <a:p>
            <a:endParaRPr lang="en-GB" dirty="0"/>
          </a:p>
        </p:txBody>
      </p:sp>
      <p:sp>
        <p:nvSpPr>
          <p:cNvPr id="30723" name="Rectangle 3"/>
          <p:cNvSpPr>
            <a:spLocks noGrp="1" noChangeArrowheads="1"/>
          </p:cNvSpPr>
          <p:nvPr>
            <p:ph type="dt" idx="1"/>
          </p:nvPr>
        </p:nvSpPr>
        <p:spPr bwMode="auto">
          <a:xfrm>
            <a:off x="3849690" y="2"/>
            <a:ext cx="2946400" cy="496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t" anchorCtr="0" compatLnSpc="1">
            <a:prstTxWarp prst="textNoShape">
              <a:avLst/>
            </a:prstTxWarp>
          </a:bodyPr>
          <a:lstStyle>
            <a:lvl1pPr algn="r">
              <a:spcAft>
                <a:spcPct val="0"/>
              </a:spcAft>
              <a:defRPr sz="1200"/>
            </a:lvl1pPr>
          </a:lstStyle>
          <a:p>
            <a:endParaRPr lang="en-GB" dirty="0"/>
          </a:p>
        </p:txBody>
      </p:sp>
      <p:sp>
        <p:nvSpPr>
          <p:cNvPr id="30724"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0725" name="Rectangle 5"/>
          <p:cNvSpPr>
            <a:spLocks noGrp="1" noChangeArrowheads="1"/>
          </p:cNvSpPr>
          <p:nvPr>
            <p:ph type="body" sz="quarter" idx="3"/>
          </p:nvPr>
        </p:nvSpPr>
        <p:spPr bwMode="auto">
          <a:xfrm>
            <a:off x="679451" y="4716465"/>
            <a:ext cx="5438775" cy="446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0726" name="Rectangle 6"/>
          <p:cNvSpPr>
            <a:spLocks noGrp="1" noChangeArrowheads="1"/>
          </p:cNvSpPr>
          <p:nvPr>
            <p:ph type="ftr" sz="quarter" idx="4"/>
          </p:nvPr>
        </p:nvSpPr>
        <p:spPr bwMode="auto">
          <a:xfrm>
            <a:off x="0" y="9428165"/>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b" anchorCtr="0" compatLnSpc="1">
            <a:prstTxWarp prst="textNoShape">
              <a:avLst/>
            </a:prstTxWarp>
          </a:bodyPr>
          <a:lstStyle>
            <a:lvl1pPr algn="l">
              <a:spcAft>
                <a:spcPct val="0"/>
              </a:spcAft>
              <a:defRPr sz="1200"/>
            </a:lvl1pPr>
          </a:lstStyle>
          <a:p>
            <a:endParaRPr lang="en-GB" dirty="0"/>
          </a:p>
        </p:txBody>
      </p:sp>
      <p:sp>
        <p:nvSpPr>
          <p:cNvPr id="30727" name="Rectangle 7"/>
          <p:cNvSpPr>
            <a:spLocks noGrp="1" noChangeArrowheads="1"/>
          </p:cNvSpPr>
          <p:nvPr>
            <p:ph type="sldNum" sz="quarter" idx="5"/>
          </p:nvPr>
        </p:nvSpPr>
        <p:spPr bwMode="auto">
          <a:xfrm>
            <a:off x="3849690" y="9428165"/>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9" tIns="45714" rIns="91429" bIns="45714" numCol="1" anchor="b" anchorCtr="0" compatLnSpc="1">
            <a:prstTxWarp prst="textNoShape">
              <a:avLst/>
            </a:prstTxWarp>
          </a:bodyPr>
          <a:lstStyle>
            <a:lvl1pPr algn="r">
              <a:spcAft>
                <a:spcPct val="0"/>
              </a:spcAft>
              <a:defRPr sz="1200"/>
            </a:lvl1pPr>
          </a:lstStyle>
          <a:p>
            <a:fld id="{A65E9FAD-ED0C-4522-BE66-4B77F71EED64}" type="slidenum">
              <a:rPr lang="en-GB"/>
              <a:pPr/>
              <a:t>‹#›</a:t>
            </a:fld>
            <a:endParaRPr lang="en-GB" dirty="0"/>
          </a:p>
        </p:txBody>
      </p:sp>
    </p:spTree>
    <p:extLst>
      <p:ext uri="{BB962C8B-B14F-4D97-AF65-F5344CB8AC3E}">
        <p14:creationId xmlns:p14="http://schemas.microsoft.com/office/powerpoint/2010/main" val="131807390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latin typeface="Aptos" panose="020B0004020202020204" pitchFamily="34" charset="0"/>
              </a:rPr>
              <a:t>Hello, Good Morning and thanks to </a:t>
            </a:r>
            <a:r>
              <a:rPr lang="en-GB" sz="900" dirty="0" err="1">
                <a:latin typeface="Aptos" panose="020B0004020202020204" pitchFamily="34" charset="0"/>
              </a:rPr>
              <a:t>Simplybiz</a:t>
            </a:r>
            <a:r>
              <a:rPr lang="en-GB" sz="900" dirty="0">
                <a:latin typeface="Aptos" panose="020B0004020202020204" pitchFamily="34" charset="0"/>
              </a:rPr>
              <a:t> for inviting us to present to you today</a:t>
            </a:r>
          </a:p>
          <a:p>
            <a:r>
              <a:rPr lang="en-GB" sz="900" dirty="0">
                <a:latin typeface="Aptos" panose="020B0004020202020204" pitchFamily="34" charset="0"/>
              </a:rPr>
              <a:t>The title of the presentation gives a clue as to what we want to talk about today.</a:t>
            </a:r>
          </a:p>
          <a:p>
            <a:r>
              <a:rPr lang="en-GB" sz="900" dirty="0">
                <a:latin typeface="Aptos" panose="020B0004020202020204" pitchFamily="34" charset="0"/>
              </a:rPr>
              <a:t>The topic was prompted by the FCA’s “Dear CEO” letter of 7</a:t>
            </a:r>
            <a:r>
              <a:rPr lang="en-GB" sz="900" baseline="30000" dirty="0">
                <a:latin typeface="Aptos" panose="020B0004020202020204" pitchFamily="34" charset="0"/>
              </a:rPr>
              <a:t>th</a:t>
            </a:r>
            <a:r>
              <a:rPr lang="en-GB" sz="900" dirty="0">
                <a:latin typeface="Aptos" panose="020B0004020202020204" pitchFamily="34" charset="0"/>
              </a:rPr>
              <a:t> October</a:t>
            </a:r>
            <a:r>
              <a:rPr lang="en-GB" sz="900" dirty="0">
                <a:latin typeface="Aptos" panose="020B0004020202020204" pitchFamily="34" charset="0"/>
                <a:ea typeface="Aptos" panose="020B0004020202020204" pitchFamily="34" charset="0"/>
                <a:cs typeface="Aptos" panose="020B0004020202020204" pitchFamily="34" charset="0"/>
              </a:rPr>
              <a:t> highlighting the areas of oversight being given the highest priority over the next two years. </a:t>
            </a:r>
          </a:p>
          <a:p>
            <a:r>
              <a:rPr lang="en-GB" sz="900" dirty="0">
                <a:latin typeface="Aptos" panose="020B0004020202020204" pitchFamily="34" charset="0"/>
                <a:ea typeface="Aptos" panose="020B0004020202020204" pitchFamily="34" charset="0"/>
                <a:cs typeface="Aptos" panose="020B0004020202020204" pitchFamily="34" charset="0"/>
              </a:rPr>
              <a:t>Page 1, bullet point 1 – Reduce and prevent serious harm – with a focus on retirement income advice</a:t>
            </a:r>
          </a:p>
          <a:p>
            <a:endParaRPr lang="en-GB" sz="900" dirty="0">
              <a:latin typeface="Aptos" panose="020B0004020202020204" pitchFamily="34" charset="0"/>
              <a:ea typeface="Aptos" panose="020B0004020202020204" pitchFamily="34" charset="0"/>
              <a:cs typeface="Aptos" panose="020B0004020202020204" pitchFamily="34" charset="0"/>
            </a:endParaRPr>
          </a:p>
          <a:p>
            <a:r>
              <a:rPr lang="en-GB" sz="900" dirty="0">
                <a:latin typeface="Aptos" panose="020B0004020202020204" pitchFamily="34" charset="0"/>
                <a:ea typeface="Aptos" panose="020B0004020202020204" pitchFamily="34" charset="0"/>
                <a:cs typeface="Aptos" panose="020B0004020202020204" pitchFamily="34" charset="0"/>
              </a:rPr>
              <a:t>Bullet point 2 is about Consumer Duty and ongoing advice which is, of course, central to most retirement advice relationships.</a:t>
            </a:r>
          </a:p>
          <a:p>
            <a:r>
              <a:rPr lang="en-GB" sz="900" dirty="0">
                <a:latin typeface="Aptos" panose="020B0004020202020204" pitchFamily="34" charset="0"/>
                <a:ea typeface="Aptos" panose="020B0004020202020204" pitchFamily="34" charset="0"/>
                <a:cs typeface="Aptos" panose="020B0004020202020204" pitchFamily="34" charset="0"/>
              </a:rPr>
              <a:t>So clearly a hot topic in the eyes of the FCA.</a:t>
            </a:r>
          </a:p>
          <a:p>
            <a:endParaRPr lang="en-GB" sz="900" dirty="0">
              <a:latin typeface="Aptos" panose="020B0004020202020204" pitchFamily="34" charset="0"/>
              <a:ea typeface="Aptos" panose="020B0004020202020204" pitchFamily="34" charset="0"/>
              <a:cs typeface="Aptos" panose="020B0004020202020204" pitchFamily="34" charset="0"/>
            </a:endParaRPr>
          </a:p>
          <a:p>
            <a:endParaRPr lang="en-GB" sz="1900" dirty="0">
              <a:latin typeface="Aptos" panose="020B0004020202020204" pitchFamily="34" charset="0"/>
              <a:ea typeface="Aptos" panose="020B0004020202020204" pitchFamily="34" charset="0"/>
              <a:cs typeface="Aptos" panose="020B0004020202020204" pitchFamily="34" charset="0"/>
            </a:endParaRPr>
          </a:p>
          <a:p>
            <a:endParaRPr lang="en-GB" sz="1900" dirty="0">
              <a:latin typeface="Aptos" panose="020B0004020202020204" pitchFamily="34" charset="0"/>
              <a:ea typeface="Aptos" panose="020B0004020202020204" pitchFamily="34" charset="0"/>
              <a:cs typeface="Aptos" panose="020B0004020202020204" pitchFamily="34" charset="0"/>
            </a:endParaRPr>
          </a:p>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1</a:t>
            </a:fld>
            <a:endParaRPr lang="en-GB" dirty="0"/>
          </a:p>
        </p:txBody>
      </p:sp>
    </p:spTree>
    <p:extLst>
      <p:ext uri="{BB962C8B-B14F-4D97-AF65-F5344CB8AC3E}">
        <p14:creationId xmlns:p14="http://schemas.microsoft.com/office/powerpoint/2010/main" val="916620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730250"/>
            <a:ext cx="6489700" cy="3651250"/>
          </a:xfrm>
        </p:spPr>
      </p:sp>
      <p:sp>
        <p:nvSpPr>
          <p:cNvPr id="3" name="Notes Placeholder 2"/>
          <p:cNvSpPr>
            <a:spLocks noGrp="1"/>
          </p:cNvSpPr>
          <p:nvPr>
            <p:ph type="body" idx="1"/>
          </p:nvPr>
        </p:nvSpPr>
        <p:spPr/>
        <p:txBody>
          <a:bodyPr/>
          <a:lstStyle/>
          <a:p>
            <a:r>
              <a:rPr lang="en-GB" dirty="0"/>
              <a:t>In order to understand the effect of volatility on returns in a decumulation scenario we taken a typical balanced portfolio over a medium term horizon. This is the past 13 years.</a:t>
            </a:r>
          </a:p>
          <a:p>
            <a:r>
              <a:rPr lang="en-GB" dirty="0"/>
              <a:t>This period is not unique it simply covers a wide range of market events.</a:t>
            </a:r>
          </a:p>
          <a:p>
            <a:endParaRPr lang="en-GB" dirty="0"/>
          </a:p>
          <a:p>
            <a:r>
              <a:rPr lang="en-GB" dirty="0"/>
              <a:t>To compare the effects of volatility, we have then taken the same portfolio returns and applied a smoothing mechanism to reduce the volatility.</a:t>
            </a:r>
          </a:p>
          <a:p>
            <a:endParaRPr lang="en-GB" dirty="0"/>
          </a:p>
          <a:p>
            <a:r>
              <a:rPr lang="en-GB" dirty="0"/>
              <a:t>The details are explained in the footnote, but this creates a notional portfolio whose value rises by the same amount every day in line with the long-term return on the underlying fund but is adjusted if the market spike up or spikes down.</a:t>
            </a:r>
          </a:p>
          <a:p>
            <a:endParaRPr lang="en-GB" dirty="0"/>
          </a:p>
          <a:p>
            <a:r>
              <a:rPr lang="en-GB" dirty="0"/>
              <a:t>What you get therefore, alongside the balanced portfolio, is the orange line.</a:t>
            </a:r>
          </a:p>
          <a:p>
            <a:endParaRPr lang="en-GB" dirty="0"/>
          </a:p>
          <a:p>
            <a:r>
              <a:rPr lang="en-GB" dirty="0"/>
              <a:t>If we look at the risk metrics applied to both funds, we see the smoothed fund beats the Balanced portfolio on nearly every risk measure. In particular, it reduces volatility by half.</a:t>
            </a:r>
          </a:p>
          <a:p>
            <a:endParaRPr lang="en-GB" dirty="0"/>
          </a:p>
        </p:txBody>
      </p:sp>
    </p:spTree>
    <p:extLst>
      <p:ext uri="{BB962C8B-B14F-4D97-AF65-F5344CB8AC3E}">
        <p14:creationId xmlns:p14="http://schemas.microsoft.com/office/powerpoint/2010/main" val="30137886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730250"/>
            <a:ext cx="6489700" cy="3651250"/>
          </a:xfrm>
        </p:spPr>
      </p:sp>
      <p:sp>
        <p:nvSpPr>
          <p:cNvPr id="3" name="Notes Placeholder 2"/>
          <p:cNvSpPr>
            <a:spLocks noGrp="1"/>
          </p:cNvSpPr>
          <p:nvPr>
            <p:ph type="body" idx="1"/>
          </p:nvPr>
        </p:nvSpPr>
        <p:spPr/>
        <p:txBody>
          <a:bodyPr/>
          <a:lstStyle/>
          <a:p>
            <a:r>
              <a:rPr lang="en-GB" dirty="0"/>
              <a:t>But does this improvement in the observable risk metrics improve the retirement outcome?</a:t>
            </a:r>
          </a:p>
          <a:p>
            <a:r>
              <a:rPr lang="en-GB" dirty="0"/>
              <a:t>You may have guessed the answer but the fact is that doesn’t. </a:t>
            </a:r>
          </a:p>
          <a:p>
            <a:endParaRPr lang="en-GB" dirty="0"/>
          </a:p>
          <a:p>
            <a:r>
              <a:rPr lang="en-GB" dirty="0"/>
              <a:t>In this example, starting with £100,000 and withdrawing £1,000 per month (we set it at the level so that we run out of money over the investment period from our previous example.</a:t>
            </a:r>
          </a:p>
          <a:p>
            <a:endParaRPr lang="en-GB" dirty="0"/>
          </a:p>
          <a:p>
            <a:r>
              <a:rPr lang="en-GB" dirty="0"/>
              <a:t>In spite of all the market gyrations, you get exactly the same outcome.</a:t>
            </a:r>
          </a:p>
          <a:p>
            <a:r>
              <a:rPr lang="en-GB" dirty="0"/>
              <a:t>And this exercise can be run over any time-period and the results will be approximately the same.</a:t>
            </a:r>
          </a:p>
          <a:p>
            <a:endParaRPr lang="en-GB" dirty="0"/>
          </a:p>
          <a:p>
            <a:r>
              <a:rPr lang="en-GB" b="1" dirty="0"/>
              <a:t>Just worth saying that we are not criticising smoothed funds but simply pointing out that managing volatility, in itself, does not ensure any better income for the customer.</a:t>
            </a:r>
            <a:endParaRPr lang="en-GB" dirty="0"/>
          </a:p>
        </p:txBody>
      </p:sp>
    </p:spTree>
    <p:extLst>
      <p:ext uri="{BB962C8B-B14F-4D97-AF65-F5344CB8AC3E}">
        <p14:creationId xmlns:p14="http://schemas.microsoft.com/office/powerpoint/2010/main" val="2036836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730250"/>
            <a:ext cx="6489700" cy="3651250"/>
          </a:xfrm>
        </p:spPr>
      </p:sp>
      <p:sp>
        <p:nvSpPr>
          <p:cNvPr id="3" name="Notes Placeholder 2"/>
          <p:cNvSpPr>
            <a:spLocks noGrp="1"/>
          </p:cNvSpPr>
          <p:nvPr>
            <p:ph type="body" idx="1"/>
          </p:nvPr>
        </p:nvSpPr>
        <p:spPr/>
        <p:txBody>
          <a:bodyPr/>
          <a:lstStyle/>
          <a:p>
            <a:r>
              <a:rPr lang="en-GB" dirty="0"/>
              <a:t>If we go back to our earlier smoothing example, we can see why the smoothing didn’t improve the investment outcome.</a:t>
            </a:r>
          </a:p>
          <a:p>
            <a:r>
              <a:rPr lang="en-GB" dirty="0"/>
              <a:t>In period from 2012 to 2015 the smoother portfolio does little bit better than the balanced portfolio during a market downturn. Less units are required to be encashed to generate our required income. </a:t>
            </a:r>
          </a:p>
          <a:p>
            <a:endParaRPr lang="en-GB" dirty="0"/>
          </a:p>
          <a:p>
            <a:r>
              <a:rPr lang="en-GB" dirty="0"/>
              <a:t>---------CLICK-----------------</a:t>
            </a:r>
          </a:p>
          <a:p>
            <a:endParaRPr lang="en-GB" dirty="0"/>
          </a:p>
          <a:p>
            <a:r>
              <a:rPr lang="en-GB" dirty="0"/>
              <a:t>But around the Covid period, although the smoothed portfolio doesn’t fall as far as the Balanced portfolio in the first place, it takes longer to recover so we actually take a bigger share of the smoothed portfolio to provide income during this period.</a:t>
            </a:r>
          </a:p>
          <a:p>
            <a:endParaRPr lang="en-GB" dirty="0"/>
          </a:p>
          <a:p>
            <a:r>
              <a:rPr lang="en-GB" dirty="0"/>
              <a:t>Just to be clear, we are not criticising smoothed funds -  clients tell us they really like them -  but we think we can demonstrate that smoothing and simply reducing volatility does not always give you better retirement outcomes.</a:t>
            </a:r>
          </a:p>
          <a:p>
            <a:r>
              <a:rPr lang="en-GB" dirty="0"/>
              <a:t>.</a:t>
            </a:r>
          </a:p>
          <a:p>
            <a:endParaRPr lang="en-GB" dirty="0"/>
          </a:p>
        </p:txBody>
      </p:sp>
    </p:spTree>
    <p:extLst>
      <p:ext uri="{BB962C8B-B14F-4D97-AF65-F5344CB8AC3E}">
        <p14:creationId xmlns:p14="http://schemas.microsoft.com/office/powerpoint/2010/main" val="1357815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730250"/>
            <a:ext cx="6489700" cy="3651250"/>
          </a:xfrm>
        </p:spPr>
      </p:sp>
      <p:sp>
        <p:nvSpPr>
          <p:cNvPr id="3" name="Notes Placeholder 2"/>
          <p:cNvSpPr>
            <a:spLocks noGrp="1"/>
          </p:cNvSpPr>
          <p:nvPr>
            <p:ph type="body" idx="1"/>
          </p:nvPr>
        </p:nvSpPr>
        <p:spPr/>
        <p:txBody>
          <a:bodyPr/>
          <a:lstStyle/>
          <a:p>
            <a:r>
              <a:rPr lang="en-GB" dirty="0"/>
              <a:t>What does?</a:t>
            </a:r>
          </a:p>
          <a:p>
            <a:endParaRPr lang="en-GB" dirty="0"/>
          </a:p>
          <a:p>
            <a:r>
              <a:rPr lang="en-GB" dirty="0"/>
              <a:t>Technically, there are three key characteristics you want to give you better outcomes.</a:t>
            </a:r>
          </a:p>
          <a:p>
            <a:endParaRPr lang="en-GB" dirty="0"/>
          </a:p>
          <a:p>
            <a:r>
              <a:rPr lang="en-GB" dirty="0"/>
              <a:t>The first is what the boffins would call </a:t>
            </a:r>
            <a:r>
              <a:rPr lang="en-GB" u="sng" dirty="0"/>
              <a:t>Positively Skewed Distribution</a:t>
            </a:r>
            <a:r>
              <a:rPr lang="en-GB" dirty="0"/>
              <a:t>. What does that mean? </a:t>
            </a:r>
          </a:p>
          <a:p>
            <a:r>
              <a:rPr lang="en-GB" dirty="0"/>
              <a:t>Lower downside and greater upside, so you’re wins outweigh your losses.</a:t>
            </a:r>
          </a:p>
          <a:p>
            <a:endParaRPr lang="en-GB" dirty="0"/>
          </a:p>
          <a:p>
            <a:r>
              <a:rPr lang="en-GB" dirty="0"/>
              <a:t>The next thing you want is what the Propellor-Heads would call </a:t>
            </a:r>
            <a:r>
              <a:rPr lang="en-GB" u="sng" dirty="0"/>
              <a:t>Negative Kurtosis </a:t>
            </a:r>
            <a:r>
              <a:rPr lang="en-GB" dirty="0"/>
              <a:t>– what that means to normal people is fewer extreme outcomes. In other words, a narrower range of returns improves the probability of achieving an expected return.</a:t>
            </a:r>
          </a:p>
          <a:p>
            <a:endParaRPr lang="en-GB" dirty="0"/>
          </a:p>
          <a:p>
            <a:r>
              <a:rPr lang="en-GB" dirty="0"/>
              <a:t>The final one is called </a:t>
            </a:r>
            <a:r>
              <a:rPr lang="en-GB" u="sng" dirty="0"/>
              <a:t>Negative Downside Autocorrelation</a:t>
            </a:r>
            <a:r>
              <a:rPr lang="en-GB" dirty="0"/>
              <a:t> – we prefer “Bouncebackability” – a measure that suggests how quickly an investment tends to recover after a fall.</a:t>
            </a:r>
          </a:p>
          <a:p>
            <a:r>
              <a:rPr lang="en-GB" dirty="0"/>
              <a:t>So, a quick recovery avoids withdrawing money from depressed investment prices for too long.</a:t>
            </a:r>
          </a:p>
          <a:p>
            <a:endParaRPr lang="en-GB" dirty="0"/>
          </a:p>
          <a:p>
            <a:r>
              <a:rPr lang="en-GB" dirty="0"/>
              <a:t>If you put all this together in a portfolio we think this is what is delivers more durable retirement income.</a:t>
            </a:r>
          </a:p>
          <a:p>
            <a:endParaRPr lang="en-GB" dirty="0"/>
          </a:p>
          <a:p>
            <a:r>
              <a:rPr lang="en-GB" dirty="0"/>
              <a:t>So how do you get these characteristics?</a:t>
            </a:r>
          </a:p>
          <a:p>
            <a:endParaRPr lang="en-GB" dirty="0"/>
          </a:p>
          <a:p>
            <a:r>
              <a:rPr lang="en-GB" dirty="0"/>
              <a:t>We’ll get to what BNY offer in this space at the end but now I’d like to move to equity income.</a:t>
            </a:r>
          </a:p>
          <a:p>
            <a:endParaRPr lang="en-GB" dirty="0"/>
          </a:p>
        </p:txBody>
      </p:sp>
    </p:spTree>
    <p:extLst>
      <p:ext uri="{BB962C8B-B14F-4D97-AF65-F5344CB8AC3E}">
        <p14:creationId xmlns:p14="http://schemas.microsoft.com/office/powerpoint/2010/main" val="20510076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are certain strategies you can look at for managing downside risk for managing downside risk. We’ve talked about active management as part of the solution.</a:t>
            </a:r>
          </a:p>
          <a:p>
            <a:endParaRPr lang="en-GB" dirty="0"/>
          </a:p>
          <a:p>
            <a:r>
              <a:rPr lang="en-GB" dirty="0"/>
              <a:t>But we think this is where equity income really helps, particularly where it is biased towards value and quality factors.</a:t>
            </a:r>
          </a:p>
          <a:p>
            <a:r>
              <a:rPr lang="en-GB" dirty="0"/>
              <a:t>Which makes sense during market sell-offs where investors will look for value when other investors are panicking.</a:t>
            </a:r>
          </a:p>
          <a:p>
            <a:endParaRPr lang="en-GB" dirty="0"/>
          </a:p>
          <a:p>
            <a:r>
              <a:rPr lang="en-GB" dirty="0"/>
              <a:t>We recognise that in recent years equity income has been less widely used.</a:t>
            </a:r>
          </a:p>
          <a:p>
            <a:r>
              <a:rPr lang="en-GB" dirty="0"/>
              <a:t>This may be a function of lower yields available : not being able to achieve the level of income that customers require without taking higher risk.</a:t>
            </a:r>
          </a:p>
          <a:p>
            <a:endParaRPr lang="en-GB" dirty="0"/>
          </a:p>
          <a:p>
            <a:r>
              <a:rPr lang="en-GB" dirty="0"/>
              <a:t>But equity income funds now are generating yields of 4 to 5% without being excessively aggressive.</a:t>
            </a:r>
          </a:p>
          <a:p>
            <a:r>
              <a:rPr lang="en-GB" dirty="0"/>
              <a:t>Given the FCA’s concerns, now may be a good time to revisit this idea as part of your retirement income strategy.</a:t>
            </a:r>
          </a:p>
        </p:txBody>
      </p:sp>
      <p:sp>
        <p:nvSpPr>
          <p:cNvPr id="4" name="Slide Number Placeholder 3"/>
          <p:cNvSpPr>
            <a:spLocks noGrp="1"/>
          </p:cNvSpPr>
          <p:nvPr>
            <p:ph type="sldNum" sz="quarter" idx="5"/>
          </p:nvPr>
        </p:nvSpPr>
        <p:spPr/>
        <p:txBody>
          <a:bodyPr/>
          <a:lstStyle/>
          <a:p>
            <a:fld id="{A65E9FAD-ED0C-4522-BE66-4B77F71EED64}" type="slidenum">
              <a:rPr lang="en-GB" smtClean="0"/>
              <a:pPr/>
              <a:t>14</a:t>
            </a:fld>
            <a:endParaRPr lang="en-GB" dirty="0"/>
          </a:p>
        </p:txBody>
      </p:sp>
    </p:spTree>
    <p:extLst>
      <p:ext uri="{BB962C8B-B14F-4D97-AF65-F5344CB8AC3E}">
        <p14:creationId xmlns:p14="http://schemas.microsoft.com/office/powerpoint/2010/main" val="862912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ust to set the context, this chart shows the level of income from drawdown accounts and it splits this by </a:t>
            </a:r>
            <a:r>
              <a:rPr lang="en-GB" dirty="0" err="1"/>
              <a:t>potsize</a:t>
            </a:r>
            <a:r>
              <a:rPr lang="en-GB" dirty="0"/>
              <a:t>.</a:t>
            </a:r>
          </a:p>
          <a:p>
            <a:r>
              <a:rPr lang="en-GB" dirty="0"/>
              <a:t>These figures include advised and non-advised withdrawals and the footnote at the bottom tells you that the FCA includes the value of any </a:t>
            </a:r>
            <a:r>
              <a:rPr lang="en-GB" dirty="0" err="1"/>
              <a:t>adhoc</a:t>
            </a:r>
            <a:r>
              <a:rPr lang="en-GB" dirty="0"/>
              <a:t> lumps sums taken.</a:t>
            </a:r>
          </a:p>
          <a:p>
            <a:r>
              <a:rPr lang="en-GB" dirty="0"/>
              <a:t>These factors mean that the light blue column on the right of each chart overstates the number of clients in the column labelled 8% and above.</a:t>
            </a:r>
          </a:p>
          <a:p>
            <a:endParaRPr lang="en-GB" dirty="0"/>
          </a:p>
          <a:p>
            <a:r>
              <a:rPr lang="en-GB" dirty="0"/>
              <a:t>So, if we focus on the other columns, it appears that most clients are taking out less than 6%, which means at today’s prices, a natural income strategy could achieve many clients’ desired income.</a:t>
            </a:r>
          </a:p>
          <a:p>
            <a:endParaRPr lang="en-GB" dirty="0"/>
          </a:p>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15</a:t>
            </a:fld>
            <a:endParaRPr lang="en-GB" dirty="0"/>
          </a:p>
        </p:txBody>
      </p:sp>
    </p:spTree>
    <p:extLst>
      <p:ext uri="{BB962C8B-B14F-4D97-AF65-F5344CB8AC3E}">
        <p14:creationId xmlns:p14="http://schemas.microsoft.com/office/powerpoint/2010/main" val="1523973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consider natural income?</a:t>
            </a:r>
          </a:p>
          <a:p>
            <a:endParaRPr lang="en-GB" dirty="0"/>
          </a:p>
          <a:p>
            <a:r>
              <a:rPr lang="en-GB" dirty="0"/>
              <a:t>There are some very real benefits.</a:t>
            </a:r>
          </a:p>
          <a:p>
            <a:r>
              <a:rPr lang="en-GB" dirty="0"/>
              <a:t>The first is the idea that you don’t slaughter the goose if it promises to lay golden eggs long into your retirement.</a:t>
            </a:r>
          </a:p>
          <a:p>
            <a:endParaRPr lang="en-GB" dirty="0"/>
          </a:p>
          <a:p>
            <a:r>
              <a:rPr lang="en-GB" dirty="0"/>
              <a:t>Once you have selected the income share class you don’t really have to do anything else. The income stream is flowing.</a:t>
            </a:r>
          </a:p>
          <a:p>
            <a:r>
              <a:rPr lang="en-GB" dirty="0"/>
              <a:t>Distributions may fluctuate but income is normally less variable than the capital value.</a:t>
            </a:r>
          </a:p>
          <a:p>
            <a:endParaRPr lang="en-GB" dirty="0"/>
          </a:p>
          <a:p>
            <a:pPr defTabSz="986180">
              <a:defRPr/>
            </a:pPr>
            <a:r>
              <a:rPr lang="en-GB" dirty="0"/>
              <a:t>The income stream is separate from the capital value so avoids the need to disinvest during volatile periods.</a:t>
            </a:r>
          </a:p>
          <a:p>
            <a:pPr defTabSz="986180">
              <a:defRPr/>
            </a:pPr>
            <a:endParaRPr lang="en-GB" dirty="0"/>
          </a:p>
          <a:p>
            <a:pPr defTabSz="986180">
              <a:defRPr/>
            </a:pPr>
            <a:r>
              <a:rPr lang="en-GB" dirty="0"/>
              <a:t>Customers will understand the source of the income and that the income is not necessarily affected by market moves</a:t>
            </a:r>
          </a:p>
          <a:p>
            <a:endParaRPr lang="en-GB" dirty="0"/>
          </a:p>
          <a:p>
            <a:endParaRPr lang="en-GB" dirty="0"/>
          </a:p>
          <a:p>
            <a:r>
              <a:rPr lang="en-GB" dirty="0"/>
              <a:t>Challenges</a:t>
            </a:r>
          </a:p>
          <a:p>
            <a:r>
              <a:rPr lang="en-GB" dirty="0"/>
              <a:t>An income strategy may not be sufficient to achieve a customer’s income on its own. It may be part of a blended income strategy.</a:t>
            </a:r>
          </a:p>
          <a:p>
            <a:r>
              <a:rPr lang="en-GB" dirty="0"/>
              <a:t>Beware that some funds which aim for high yields may have to compromise on growth to achieve their targets.</a:t>
            </a:r>
          </a:p>
          <a:p>
            <a:r>
              <a:rPr lang="en-GB" dirty="0"/>
              <a:t>The level of income can be variable which may not match exactly the client’s expected pattern of expenditure.</a:t>
            </a:r>
          </a:p>
          <a:p>
            <a:r>
              <a:rPr lang="en-GB" dirty="0"/>
              <a:t>The platform or tax wrapper must be able to accommodate the distribution. </a:t>
            </a:r>
          </a:p>
          <a:p>
            <a:endParaRPr lang="en-GB" dirty="0"/>
          </a:p>
          <a:p>
            <a:endParaRPr lang="en-GB" dirty="0"/>
          </a:p>
        </p:txBody>
      </p:sp>
      <p:sp>
        <p:nvSpPr>
          <p:cNvPr id="4" name="Slide Number Placeholder 3"/>
          <p:cNvSpPr>
            <a:spLocks noGrp="1"/>
          </p:cNvSpPr>
          <p:nvPr>
            <p:ph type="sldNum" sz="quarter" idx="5"/>
          </p:nvPr>
        </p:nvSpPr>
        <p:spPr/>
        <p:txBody>
          <a:bodyPr/>
          <a:lstStyle/>
          <a:p>
            <a:pPr algn="l" defTabSz="986180" fontAlgn="auto">
              <a:spcBef>
                <a:spcPts val="0"/>
              </a:spcBef>
              <a:spcAft>
                <a:spcPts val="0"/>
              </a:spcAft>
              <a:defRPr/>
            </a:pPr>
            <a:fld id="{A65E9FAD-ED0C-4522-BE66-4B77F71EED64}" type="slidenum">
              <a:rPr lang="en-GB" sz="1900">
                <a:solidFill>
                  <a:prstClr val="black"/>
                </a:solidFill>
                <a:latin typeface="Arial"/>
                <a:cs typeface="+mn-cs"/>
              </a:rPr>
              <a:pPr algn="l" defTabSz="986180" fontAlgn="auto">
                <a:spcBef>
                  <a:spcPts val="0"/>
                </a:spcBef>
                <a:spcAft>
                  <a:spcPts val="0"/>
                </a:spcAft>
                <a:defRPr/>
              </a:pPr>
              <a:t>16</a:t>
            </a:fld>
            <a:endParaRPr lang="en-GB" sz="1900" dirty="0">
              <a:solidFill>
                <a:prstClr val="black"/>
              </a:solidFill>
              <a:latin typeface="Arial"/>
              <a:cs typeface="+mn-cs"/>
            </a:endParaRPr>
          </a:p>
        </p:txBody>
      </p:sp>
    </p:spTree>
    <p:extLst>
      <p:ext uri="{BB962C8B-B14F-4D97-AF65-F5344CB8AC3E}">
        <p14:creationId xmlns:p14="http://schemas.microsoft.com/office/powerpoint/2010/main" val="34010213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e way of balancing risk in combination with income is to allocate to a muti asset income fund.</a:t>
            </a:r>
          </a:p>
          <a:p>
            <a:r>
              <a:rPr lang="en-GB" dirty="0"/>
              <a:t>Asset classes that generate natural income includes equities and bonds of course but this can be enhanced by using some alternative assets like renewable energy or aircraft leasing, some of which include direct linkage to inflation.</a:t>
            </a:r>
          </a:p>
          <a:p>
            <a:endParaRPr lang="en-GB" dirty="0"/>
          </a:p>
          <a:p>
            <a:r>
              <a:rPr lang="en-GB" dirty="0"/>
              <a:t>As well as helping to create a diversified portfolio, the manager has more tools with which to respond to changes in interest rates, inflation and market levels.</a:t>
            </a:r>
          </a:p>
          <a:p>
            <a:endParaRPr lang="en-GB" dirty="0"/>
          </a:p>
          <a:p>
            <a:r>
              <a:rPr lang="en-GB" dirty="0"/>
              <a:t>An example we have here shows how a diversified total yield can be achieved within a fund.</a:t>
            </a:r>
          </a:p>
          <a:p>
            <a:r>
              <a:rPr lang="en-GB" dirty="0"/>
              <a:t>By allocating to equities we expect some growth as well as income but the total distribution is improved by adding bonds and alternatives with higher initial yields.</a:t>
            </a:r>
          </a:p>
          <a:p>
            <a:endParaRPr lang="en-GB" dirty="0"/>
          </a:p>
          <a:p>
            <a:r>
              <a:rPr lang="en-GB" dirty="0"/>
              <a:t>Diversified across markets and asset classes, designed to protect both capital and income.</a:t>
            </a:r>
          </a:p>
        </p:txBody>
      </p:sp>
    </p:spTree>
    <p:extLst>
      <p:ext uri="{BB962C8B-B14F-4D97-AF65-F5344CB8AC3E}">
        <p14:creationId xmlns:p14="http://schemas.microsoft.com/office/powerpoint/2010/main" val="4228564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e criticism of income funds could be that the income distribution is a bit lumpy. Bonds pay two coupons a year and equities will provide an interim dividend as well as the final dividend. </a:t>
            </a:r>
          </a:p>
          <a:p>
            <a:r>
              <a:rPr lang="en-GB" dirty="0"/>
              <a:t>Traditionally income funds have paid their distributions quarterly or half-yearly.</a:t>
            </a:r>
          </a:p>
          <a:p>
            <a:r>
              <a:rPr lang="en-GB" dirty="0"/>
              <a:t>This can be awkward for customers especially those who have been used to receiving their pay monthly.</a:t>
            </a:r>
          </a:p>
          <a:p>
            <a:endParaRPr lang="en-GB" dirty="0"/>
          </a:p>
          <a:p>
            <a:pPr defTabSz="986180">
              <a:defRPr/>
            </a:pPr>
            <a:r>
              <a:rPr lang="en-GB" dirty="0"/>
              <a:t>However, there are funds in the income space that can convert that lumpy distribution into something a bit more client-friendly.</a:t>
            </a:r>
          </a:p>
          <a:p>
            <a:pPr defTabSz="986180">
              <a:defRPr/>
            </a:pPr>
            <a:endParaRPr lang="en-GB" dirty="0"/>
          </a:p>
          <a:p>
            <a:pPr defTabSz="986180">
              <a:defRPr/>
            </a:pPr>
            <a:r>
              <a:rPr lang="en-GB" dirty="0"/>
              <a:t>In the example shown the total distribution is £5,000 over 12 months.</a:t>
            </a:r>
          </a:p>
          <a:p>
            <a:pPr defTabSz="986180">
              <a:defRPr/>
            </a:pPr>
            <a:endParaRPr lang="en-GB" dirty="0"/>
          </a:p>
          <a:p>
            <a:pPr defTabSz="986180">
              <a:defRPr/>
            </a:pPr>
            <a:r>
              <a:rPr lang="en-GB" dirty="0"/>
              <a:t>But, if we smoothed the distribution, the client could received the same amount of income in 12 monthly payments.</a:t>
            </a:r>
          </a:p>
          <a:p>
            <a:pPr defTabSz="986180">
              <a:defRPr/>
            </a:pPr>
            <a:r>
              <a:rPr lang="en-GB" dirty="0"/>
              <a:t>£350pm which amounts to £4,200 with the residual income paid as a sweep-up at the end of the year as a Xmas bonus.</a:t>
            </a:r>
          </a:p>
          <a:p>
            <a:pPr defTabSz="986180">
              <a:defRPr/>
            </a:pPr>
            <a:endParaRPr lang="en-GB" dirty="0"/>
          </a:p>
          <a:p>
            <a:pPr defTabSz="986180">
              <a:defRPr/>
            </a:pPr>
            <a:r>
              <a:rPr lang="en-GB" dirty="0"/>
              <a:t>This creates a clear focus on income separate to the capital, and eliminates some uncertainty about where future income will come from.</a:t>
            </a:r>
          </a:p>
          <a:p>
            <a:endParaRPr lang="en-GB" dirty="0"/>
          </a:p>
          <a:p>
            <a:endParaRPr lang="en-GB" dirty="0"/>
          </a:p>
        </p:txBody>
      </p:sp>
    </p:spTree>
    <p:extLst>
      <p:ext uri="{BB962C8B-B14F-4D97-AF65-F5344CB8AC3E}">
        <p14:creationId xmlns:p14="http://schemas.microsoft.com/office/powerpoint/2010/main" val="2807938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19</a:t>
            </a:fld>
            <a:endParaRPr lang="en-GB" dirty="0"/>
          </a:p>
        </p:txBody>
      </p:sp>
    </p:spTree>
    <p:extLst>
      <p:ext uri="{BB962C8B-B14F-4D97-AF65-F5344CB8AC3E}">
        <p14:creationId xmlns:p14="http://schemas.microsoft.com/office/powerpoint/2010/main" val="822635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ith that in mind what we hope to cover in the next 30 minutes are the following Learning Outcomes……………………</a:t>
            </a:r>
          </a:p>
        </p:txBody>
      </p:sp>
      <p:sp>
        <p:nvSpPr>
          <p:cNvPr id="4" name="Slide Number Placeholder 3"/>
          <p:cNvSpPr>
            <a:spLocks noGrp="1"/>
          </p:cNvSpPr>
          <p:nvPr>
            <p:ph type="sldNum" sz="quarter" idx="5"/>
          </p:nvPr>
        </p:nvSpPr>
        <p:spPr/>
        <p:txBody>
          <a:bodyPr/>
          <a:lstStyle/>
          <a:p>
            <a:fld id="{A65E9FAD-ED0C-4522-BE66-4B77F71EED64}" type="slidenum">
              <a:rPr lang="en-GB" smtClean="0"/>
              <a:pPr/>
              <a:t>2</a:t>
            </a:fld>
            <a:endParaRPr lang="en-GB" dirty="0"/>
          </a:p>
        </p:txBody>
      </p:sp>
    </p:spTree>
    <p:extLst>
      <p:ext uri="{BB962C8B-B14F-4D97-AF65-F5344CB8AC3E}">
        <p14:creationId xmlns:p14="http://schemas.microsoft.com/office/powerpoint/2010/main" val="3986950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ust to recap, risks to decumulation strategies are different from those affecting traditional savings and accumulation</a:t>
            </a:r>
          </a:p>
          <a:p>
            <a:endParaRPr lang="en-GB" dirty="0"/>
          </a:p>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20</a:t>
            </a:fld>
            <a:endParaRPr lang="en-GB" dirty="0"/>
          </a:p>
        </p:txBody>
      </p:sp>
    </p:spTree>
    <p:extLst>
      <p:ext uri="{BB962C8B-B14F-4D97-AF65-F5344CB8AC3E}">
        <p14:creationId xmlns:p14="http://schemas.microsoft.com/office/powerpoint/2010/main" val="8499005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pefully we have achieved the learning objectives</a:t>
            </a:r>
          </a:p>
        </p:txBody>
      </p:sp>
      <p:sp>
        <p:nvSpPr>
          <p:cNvPr id="4" name="Slide Number Placeholder 3"/>
          <p:cNvSpPr>
            <a:spLocks noGrp="1"/>
          </p:cNvSpPr>
          <p:nvPr>
            <p:ph type="sldNum" sz="quarter" idx="5"/>
          </p:nvPr>
        </p:nvSpPr>
        <p:spPr/>
        <p:txBody>
          <a:bodyPr/>
          <a:lstStyle/>
          <a:p>
            <a:fld id="{A65E9FAD-ED0C-4522-BE66-4B77F71EED64}" type="slidenum">
              <a:rPr lang="en-GB" smtClean="0"/>
              <a:pPr/>
              <a:t>21</a:t>
            </a:fld>
            <a:endParaRPr lang="en-GB" dirty="0"/>
          </a:p>
        </p:txBody>
      </p:sp>
    </p:spTree>
    <p:extLst>
      <p:ext uri="{BB962C8B-B14F-4D97-AF65-F5344CB8AC3E}">
        <p14:creationId xmlns:p14="http://schemas.microsoft.com/office/powerpoint/2010/main" val="4146516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NY can help achieve some of the things we have just discussed.</a:t>
            </a:r>
          </a:p>
          <a:p>
            <a:endParaRPr lang="en-GB" dirty="0"/>
          </a:p>
          <a:p>
            <a:r>
              <a:rPr lang="en-GB" dirty="0"/>
              <a:t>Dealing with an income solution first.</a:t>
            </a:r>
          </a:p>
          <a:p>
            <a:endParaRPr lang="en-GB" dirty="0"/>
          </a:p>
          <a:p>
            <a:r>
              <a:rPr lang="en-GB" dirty="0"/>
              <a:t>The fund is managed by Paul Flood who is Head of Mixed Assets at Newton and you may be familiar with our other Multi Asset funds managed by his team. Rated by </a:t>
            </a:r>
            <a:r>
              <a:rPr lang="en-GB" dirty="0" err="1"/>
              <a:t>Defaqto</a:t>
            </a:r>
            <a:r>
              <a:rPr lang="en-GB" dirty="0"/>
              <a:t> as risk bucket 5.</a:t>
            </a:r>
          </a:p>
          <a:p>
            <a:endParaRPr lang="en-GB" dirty="0"/>
          </a:p>
          <a:p>
            <a:r>
              <a:rPr lang="en-GB" dirty="0"/>
              <a:t>The fund will be 10 years old next year and so you can see the income track record here.</a:t>
            </a:r>
          </a:p>
          <a:p>
            <a:r>
              <a:rPr lang="en-GB" dirty="0"/>
              <a:t>The fund pays a monthly income and our investment year start in July so we pay 12 equal payments with the surplus income distributed in June in time for your Summer </a:t>
            </a:r>
            <a:r>
              <a:rPr lang="en-GB" dirty="0" err="1"/>
              <a:t>hilidays</a:t>
            </a:r>
            <a:r>
              <a:rPr lang="en-GB" dirty="0"/>
              <a:t> rather than your Christmas party.</a:t>
            </a:r>
          </a:p>
          <a:p>
            <a:endParaRPr lang="en-GB" dirty="0"/>
          </a:p>
          <a:p>
            <a:r>
              <a:rPr lang="en-GB" dirty="0"/>
              <a:t>PPS = PIP: Pence per share (distributions) = pounds in pockets.</a:t>
            </a:r>
          </a:p>
          <a:p>
            <a:r>
              <a:rPr lang="en-GB" dirty="0"/>
              <a:t>For investors who bought the fund 9 years ago they have seen their regular income rise from 3.36 pence per share (</a:t>
            </a:r>
            <a:r>
              <a:rPr lang="en-GB" dirty="0" err="1"/>
              <a:t>pps</a:t>
            </a:r>
            <a:r>
              <a:rPr lang="en-GB" dirty="0"/>
              <a:t>) to 4.44 </a:t>
            </a:r>
            <a:r>
              <a:rPr lang="en-GB" dirty="0" err="1"/>
              <a:t>pps</a:t>
            </a:r>
            <a:r>
              <a:rPr lang="en-GB" dirty="0"/>
              <a:t> – that’s an annual rate of growth of 3.15%.</a:t>
            </a:r>
          </a:p>
          <a:p>
            <a:r>
              <a:rPr lang="en-GB" dirty="0"/>
              <a:t>Once you add the bonus back in its 5.3 </a:t>
            </a:r>
            <a:r>
              <a:rPr lang="en-GB" dirty="0" err="1"/>
              <a:t>pps</a:t>
            </a:r>
            <a:r>
              <a:rPr lang="en-GB" dirty="0"/>
              <a:t> which is an uplift in your original income by 2.62% per annum.</a:t>
            </a:r>
          </a:p>
          <a:p>
            <a:r>
              <a:rPr lang="en-GB" dirty="0"/>
              <a:t>Inflation since 2015 has been running at an average of 3.33% </a:t>
            </a:r>
            <a:r>
              <a:rPr lang="en-GB" sz="800" i="1" dirty="0">
                <a:latin typeface="Aptos" panose="020B0004020202020204" pitchFamily="34" charset="0"/>
              </a:rPr>
              <a:t>(which makes £10,000 then worth about £7,400 today</a:t>
            </a:r>
            <a:r>
              <a:rPr lang="en-GB" sz="800" i="1" dirty="0"/>
              <a:t>)</a:t>
            </a:r>
          </a:p>
          <a:p>
            <a:endParaRPr lang="en-GB" dirty="0"/>
          </a:p>
          <a:p>
            <a:r>
              <a:rPr lang="en-GB" dirty="0"/>
              <a:t>On the right hand side you see the total return from the fund in orange. The gap between  the blue area and the line is the contribution from the income received by the fund.</a:t>
            </a:r>
          </a:p>
          <a:p>
            <a:r>
              <a:rPr lang="en-GB" dirty="0"/>
              <a:t>Had your client invested £100,000 from inception, they would have received £44,836 in distributions while still seeing an uplift in the value of their original investment to £123,692.</a:t>
            </a:r>
          </a:p>
          <a:p>
            <a:endParaRPr lang="en-GB" dirty="0"/>
          </a:p>
        </p:txBody>
      </p:sp>
    </p:spTree>
    <p:extLst>
      <p:ext uri="{BB962C8B-B14F-4D97-AF65-F5344CB8AC3E}">
        <p14:creationId xmlns:p14="http://schemas.microsoft.com/office/powerpoint/2010/main" val="31456772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NY can help achieve some of the things we have just discussed.</a:t>
            </a:r>
          </a:p>
          <a:p>
            <a:endParaRPr lang="en-GB" dirty="0"/>
          </a:p>
          <a:p>
            <a:r>
              <a:rPr lang="en-GB" dirty="0"/>
              <a:t>Dealing with an income solution first.</a:t>
            </a:r>
          </a:p>
          <a:p>
            <a:endParaRPr lang="en-GB" dirty="0"/>
          </a:p>
          <a:p>
            <a:r>
              <a:rPr lang="en-GB" dirty="0"/>
              <a:t>The fund is managed by Paul Flood who is Head of Mixed Assets at Newton and you may be familiar with our other Multi Asset funds managed by his team. Rated by </a:t>
            </a:r>
            <a:r>
              <a:rPr lang="en-GB" dirty="0" err="1"/>
              <a:t>Defaqto</a:t>
            </a:r>
            <a:r>
              <a:rPr lang="en-GB" dirty="0"/>
              <a:t> as risk bucket 5.</a:t>
            </a:r>
          </a:p>
          <a:p>
            <a:endParaRPr lang="en-GB" dirty="0"/>
          </a:p>
          <a:p>
            <a:r>
              <a:rPr lang="en-GB" dirty="0"/>
              <a:t>The fund will be 10 years old next year and so you can see the income track record here.</a:t>
            </a:r>
          </a:p>
          <a:p>
            <a:r>
              <a:rPr lang="en-GB" dirty="0"/>
              <a:t>The fund pays a monthly income and our investment year start in July so we pay 12 equal payments with the surplus income distributed in June in time for your Summer </a:t>
            </a:r>
            <a:r>
              <a:rPr lang="en-GB" dirty="0" err="1"/>
              <a:t>hilidays</a:t>
            </a:r>
            <a:r>
              <a:rPr lang="en-GB" dirty="0"/>
              <a:t> rather than your Christmas party.</a:t>
            </a:r>
          </a:p>
          <a:p>
            <a:endParaRPr lang="en-GB" dirty="0"/>
          </a:p>
          <a:p>
            <a:r>
              <a:rPr lang="en-GB" dirty="0"/>
              <a:t>PPS = PIP: Pence per share (distributions) = pounds in pockets.</a:t>
            </a:r>
          </a:p>
          <a:p>
            <a:r>
              <a:rPr lang="en-GB" dirty="0"/>
              <a:t>For investors who bought the fund 9 years ago they have seen their regular income rise from 3.36 pence per share (</a:t>
            </a:r>
            <a:r>
              <a:rPr lang="en-GB" dirty="0" err="1"/>
              <a:t>pps</a:t>
            </a:r>
            <a:r>
              <a:rPr lang="en-GB" dirty="0"/>
              <a:t>) to 4.44 </a:t>
            </a:r>
            <a:r>
              <a:rPr lang="en-GB" dirty="0" err="1"/>
              <a:t>pps</a:t>
            </a:r>
            <a:r>
              <a:rPr lang="en-GB" dirty="0"/>
              <a:t> – that’s an annual rate of growth of 3.15%.</a:t>
            </a:r>
          </a:p>
          <a:p>
            <a:r>
              <a:rPr lang="en-GB" dirty="0"/>
              <a:t>Once you add the bonus back in its 5.3 </a:t>
            </a:r>
            <a:r>
              <a:rPr lang="en-GB" dirty="0" err="1"/>
              <a:t>pps</a:t>
            </a:r>
            <a:r>
              <a:rPr lang="en-GB" dirty="0"/>
              <a:t> which is an uplift in your original income by 2.62% per annum.</a:t>
            </a:r>
          </a:p>
          <a:p>
            <a:r>
              <a:rPr lang="en-GB" dirty="0"/>
              <a:t>Inflation since 2015 has been running at an average of 3.33% </a:t>
            </a:r>
            <a:r>
              <a:rPr lang="en-GB" sz="800" i="1" dirty="0">
                <a:latin typeface="Aptos" panose="020B0004020202020204" pitchFamily="34" charset="0"/>
              </a:rPr>
              <a:t>(which makes £10,000 then worth about £7,400 today</a:t>
            </a:r>
            <a:r>
              <a:rPr lang="en-GB" sz="800" i="1" dirty="0"/>
              <a:t>)</a:t>
            </a:r>
          </a:p>
          <a:p>
            <a:endParaRPr lang="en-GB" dirty="0"/>
          </a:p>
          <a:p>
            <a:r>
              <a:rPr lang="en-GB" dirty="0"/>
              <a:t>On the right hand side you see the total return from the fund in orange. The gap between  the blue area and the line is the contribution from the income received by the fund.</a:t>
            </a:r>
          </a:p>
          <a:p>
            <a:r>
              <a:rPr lang="en-GB" dirty="0"/>
              <a:t>Had your client invested £100,000 from inception, they would have received £44,836 in distributions while still seeing an uplift in the value of their original investment to £123,692.</a:t>
            </a:r>
          </a:p>
          <a:p>
            <a:endParaRPr lang="en-GB" dirty="0"/>
          </a:p>
        </p:txBody>
      </p:sp>
    </p:spTree>
    <p:extLst>
      <p:ext uri="{BB962C8B-B14F-4D97-AF65-F5344CB8AC3E}">
        <p14:creationId xmlns:p14="http://schemas.microsoft.com/office/powerpoint/2010/main" val="1202340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7525" y="96838"/>
            <a:ext cx="5953125" cy="3349625"/>
          </a:xfrm>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Let me dive into the process for future legacy in more detail-</a:t>
            </a: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We have five funds that are </a:t>
            </a:r>
            <a:r>
              <a:rPr lang="en-GB" sz="1800" kern="1200" dirty="0">
                <a:solidFill>
                  <a:srgbClr val="222222"/>
                </a:solidFill>
                <a:effectLst/>
                <a:latin typeface="Calibri" panose="020F0502020204030204" pitchFamily="34" charset="0"/>
                <a:ea typeface="Times New Roman" panose="02020603050405020304" pitchFamily="18" charset="0"/>
              </a:rPr>
              <a:t>designed to suit client’s attitude to risk </a:t>
            </a:r>
            <a:r>
              <a:rPr lang="en-GB" sz="1800" dirty="0">
                <a:effectLst/>
                <a:latin typeface="Calibri" panose="020F0502020204030204" pitchFamily="34" charset="0"/>
                <a:ea typeface="Times New Roman" panose="02020603050405020304" pitchFamily="18" charset="0"/>
              </a:rPr>
              <a:t>and d</a:t>
            </a:r>
            <a:r>
              <a:rPr lang="en-GB" sz="1800" kern="1200" dirty="0">
                <a:solidFill>
                  <a:srgbClr val="222222"/>
                </a:solidFill>
                <a:effectLst/>
                <a:latin typeface="Calibri" panose="020F0502020204030204" pitchFamily="34" charset="0"/>
                <a:ea typeface="Times New Roman" panose="02020603050405020304" pitchFamily="18" charset="0"/>
              </a:rPr>
              <a:t>esigned to suit how close they are to retirement</a:t>
            </a:r>
            <a:r>
              <a:rPr lang="en-GB" sz="1800" dirty="0">
                <a:effectLst/>
                <a:latin typeface="Calibri" panose="020F0502020204030204" pitchFamily="34" charset="0"/>
                <a:ea typeface="Times New Roman" panose="02020603050405020304" pitchFamily="18" charset="0"/>
              </a:rPr>
              <a:t>. </a:t>
            </a: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These funds have clearly defined risk bands which are set by the dynamic planner. so we ensure that the funds will sit within the volatility ranges determined by the dynamic planner and equity weights being in the order of risk bands (30, 45 60, 75, and 90). </a:t>
            </a: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So the primary objective of these funds is to deliver the risk target. And we try to determine what is the right mix of assets to be able to meet those risk requirements.</a:t>
            </a: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To determine the right mix, we start with strategic asset allocation- our long-term asset allocation where we blend our systematic and fundamental capabilities. And we determine weights to each of the underlying asset classes for each of the five funds. For each of the five funds, we invest in GEM, GE, GEI and GDB. </a:t>
            </a: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We are reviewing our allocations every six months (has anything changed in terms of our long term 10-year capital market assumptions that would change how we balance equities, bonds, and cash within each of these 5 risk buckets) </a:t>
            </a:r>
            <a:endParaRPr lang="en-GB" sz="1800" dirty="0">
              <a:effectLst/>
              <a:latin typeface="Times New Roman" panose="02020603050405020304" pitchFamily="18" charset="0"/>
              <a:ea typeface="Times New Roman" panose="02020603050405020304" pitchFamily="18" charset="0"/>
            </a:endParaRPr>
          </a:p>
          <a:p>
            <a:pPr marL="342900" lvl="0" indent="-342900" fontAlgn="base">
              <a:buFont typeface="Symbol" panose="05050102010706020507" pitchFamily="18" charset="2"/>
              <a:buChar char=""/>
            </a:pPr>
            <a:r>
              <a:rPr lang="en-GB" sz="1800" dirty="0">
                <a:effectLst/>
                <a:latin typeface="Calibri" panose="020F0502020204030204" pitchFamily="34" charset="0"/>
                <a:ea typeface="Times New Roman" panose="02020603050405020304" pitchFamily="18" charset="0"/>
              </a:rPr>
              <a:t>these changes are not made regularly, the primary objective of these funds is to deliver the risk target, don’t see that as a dynamic change between equities, bond, and cash.</a:t>
            </a:r>
            <a:endParaRPr lang="en-GB" sz="1800" dirty="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67488B-C88B-4C49-861F-BF808826D3D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4468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25</a:t>
            </a:fld>
            <a:endParaRPr lang="en-GB" dirty="0"/>
          </a:p>
        </p:txBody>
      </p:sp>
    </p:spTree>
    <p:extLst>
      <p:ext uri="{BB962C8B-B14F-4D97-AF65-F5344CB8AC3E}">
        <p14:creationId xmlns:p14="http://schemas.microsoft.com/office/powerpoint/2010/main" val="15651832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26</a:t>
            </a:fld>
            <a:endParaRPr lang="en-GB" dirty="0"/>
          </a:p>
        </p:txBody>
      </p:sp>
    </p:spTree>
    <p:extLst>
      <p:ext uri="{BB962C8B-B14F-4D97-AF65-F5344CB8AC3E}">
        <p14:creationId xmlns:p14="http://schemas.microsoft.com/office/powerpoint/2010/main" val="20973868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27</a:t>
            </a:fld>
            <a:endParaRPr lang="en-GB" dirty="0"/>
          </a:p>
        </p:txBody>
      </p:sp>
    </p:spTree>
    <p:extLst>
      <p:ext uri="{BB962C8B-B14F-4D97-AF65-F5344CB8AC3E}">
        <p14:creationId xmlns:p14="http://schemas.microsoft.com/office/powerpoint/2010/main" val="38500089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28</a:t>
            </a:fld>
            <a:endParaRPr lang="en-GB" dirty="0"/>
          </a:p>
        </p:txBody>
      </p:sp>
    </p:spTree>
    <p:extLst>
      <p:ext uri="{BB962C8B-B14F-4D97-AF65-F5344CB8AC3E}">
        <p14:creationId xmlns:p14="http://schemas.microsoft.com/office/powerpoint/2010/main" val="33529322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29</a:t>
            </a:fld>
            <a:endParaRPr lang="en-GB" dirty="0"/>
          </a:p>
        </p:txBody>
      </p:sp>
    </p:spTree>
    <p:extLst>
      <p:ext uri="{BB962C8B-B14F-4D97-AF65-F5344CB8AC3E}">
        <p14:creationId xmlns:p14="http://schemas.microsoft.com/office/powerpoint/2010/main" val="120741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FCA’s have arrived at their conclusions about the retirement market from their thematic Retirement Income Advice Review.</a:t>
            </a:r>
          </a:p>
          <a:p>
            <a:endParaRPr lang="en-GB" dirty="0"/>
          </a:p>
          <a:p>
            <a:r>
              <a:rPr lang="en-GB" dirty="0"/>
              <a:t>-------------------------------------QUESTION TO AUDIENCE--------------------------------------------------WHO HAS READ THE RETIREMENT INCOME ADVICE REVIEW?</a:t>
            </a:r>
          </a:p>
          <a:p>
            <a:r>
              <a:rPr lang="en-GB" dirty="0"/>
              <a:t>NO PRIZES, BUT HOW MANY PAGES LONG IS IT?  </a:t>
            </a:r>
          </a:p>
          <a:p>
            <a:endParaRPr lang="en-GB" dirty="0"/>
          </a:p>
          <a:p>
            <a:r>
              <a:rPr lang="en-GB" dirty="0"/>
              <a:t>ANSWER:   47 pages (53 if you include the appendix)</a:t>
            </a:r>
          </a:p>
          <a:p>
            <a:endParaRPr lang="en-GB" dirty="0"/>
          </a:p>
          <a:p>
            <a:endParaRPr lang="en-GB" dirty="0"/>
          </a:p>
          <a:p>
            <a:r>
              <a:rPr lang="en-GB" dirty="0"/>
              <a:t>There were 5 key findings set out in a “Dear CEO” letter of 20</a:t>
            </a:r>
            <a:r>
              <a:rPr lang="en-GB" baseline="30000" dirty="0"/>
              <a:t>th</a:t>
            </a:r>
            <a:r>
              <a:rPr lang="en-GB" dirty="0"/>
              <a:t> March but one of the main points and an area the FCA want firms to take action on was that advisers were not really thinking widely enough about risk in retirement.</a:t>
            </a:r>
          </a:p>
          <a:p>
            <a:endParaRPr lang="en-GB" dirty="0"/>
          </a:p>
          <a:p>
            <a:r>
              <a:rPr lang="en-GB" dirty="0"/>
              <a:t>What they actually said was “</a:t>
            </a:r>
            <a:r>
              <a:rPr lang="en-GB" sz="1300" b="1" dirty="0">
                <a:solidFill>
                  <a:srgbClr val="FF6120"/>
                </a:solidFill>
                <a:latin typeface="+mn-lt"/>
              </a:rPr>
              <a:t>RISK PROFILING </a:t>
            </a:r>
            <a:r>
              <a:rPr lang="en-GB" sz="1300" dirty="0">
                <a:latin typeface="+mn-lt"/>
              </a:rPr>
              <a:t>was not evidenced, was inconsistent with objectives and customer knowledge and experience, or lacked consideration of </a:t>
            </a:r>
            <a:r>
              <a:rPr lang="en-GB" sz="1300" b="1" dirty="0">
                <a:solidFill>
                  <a:srgbClr val="FF6120"/>
                </a:solidFill>
                <a:latin typeface="+mn-lt"/>
              </a:rPr>
              <a:t>capacity for loss</a:t>
            </a:r>
            <a:r>
              <a:rPr lang="en-GB" sz="1300" dirty="0">
                <a:latin typeface="+mn-lt"/>
              </a:rPr>
              <a:t>.”</a:t>
            </a:r>
            <a:endParaRPr lang="en-GB" dirty="0"/>
          </a:p>
          <a:p>
            <a:pPr defTabSz="986180">
              <a:defRPr/>
            </a:pPr>
            <a:endParaRPr lang="en-GB" dirty="0"/>
          </a:p>
          <a:p>
            <a:r>
              <a:rPr lang="en-GB" u="sng" baseline="0" dirty="0">
                <a:solidFill>
                  <a:srgbClr val="FF0000"/>
                </a:solidFill>
                <a:effectLst>
                  <a:outerShdw blurRad="38100" dist="38100" dir="2700000" algn="tl">
                    <a:srgbClr val="000000">
                      <a:alpha val="43137"/>
                    </a:srgbClr>
                  </a:outerShdw>
                </a:effectLst>
              </a:rPr>
              <a:t>What does that mean??</a:t>
            </a:r>
          </a:p>
          <a:p>
            <a:r>
              <a:rPr lang="en-GB" u="sng" baseline="0" dirty="0">
                <a:solidFill>
                  <a:srgbClr val="FF0000"/>
                </a:solidFill>
                <a:effectLst>
                  <a:outerShdw blurRad="38100" dist="38100" dir="2700000" algn="tl">
                    <a:srgbClr val="000000">
                      <a:alpha val="43137"/>
                    </a:srgbClr>
                  </a:outerShdw>
                </a:effectLst>
              </a:rPr>
              <a:t>IFA firms need to make improvements to how they think about investment risk in retirement</a:t>
            </a:r>
          </a:p>
          <a:p>
            <a:r>
              <a:rPr lang="en-GB" u="sng" baseline="0" dirty="0">
                <a:solidFill>
                  <a:srgbClr val="FF0000"/>
                </a:solidFill>
                <a:effectLst>
                  <a:outerShdw blurRad="38100" dist="38100" dir="2700000" algn="tl">
                    <a:srgbClr val="000000">
                      <a:alpha val="43137"/>
                    </a:srgbClr>
                  </a:outerShdw>
                </a:effectLst>
              </a:rPr>
              <a:t>In particular, capacity for loss but specifically related to capacity for loss of income</a:t>
            </a:r>
            <a:r>
              <a:rPr lang="en-GB" baseline="0" dirty="0">
                <a:solidFill>
                  <a:srgbClr val="FF0000"/>
                </a:solidFill>
                <a:effectLst>
                  <a:outerShdw blurRad="38100" dist="38100" dir="2700000" algn="tl">
                    <a:srgbClr val="000000">
                      <a:alpha val="43137"/>
                    </a:srgbClr>
                  </a:outerShdw>
                </a:effectLst>
              </a:rPr>
              <a:t>.</a:t>
            </a:r>
          </a:p>
          <a:p>
            <a:endParaRPr lang="en-GB" dirty="0"/>
          </a:p>
          <a:p>
            <a:r>
              <a:rPr lang="en-GB" dirty="0"/>
              <a:t>Have customers understood and could they cope with their pension income needing adjustment due to poor investment returns or because of the effect of inflation on that income?</a:t>
            </a:r>
          </a:p>
          <a:p>
            <a:endParaRPr lang="en-GB" dirty="0"/>
          </a:p>
          <a:p>
            <a:endParaRPr lang="en-GB" dirty="0"/>
          </a:p>
          <a:p>
            <a:endParaRPr lang="en-GB" dirty="0"/>
          </a:p>
          <a:p>
            <a:r>
              <a:rPr lang="en-GB" dirty="0"/>
              <a:t>At BNY, we think the FCA’s comments support our view that retirement customers are different and we may need to adjust our thinking about which investment strategies best meet their needs.</a:t>
            </a:r>
          </a:p>
          <a:p>
            <a:endParaRPr lang="en-GB" dirty="0"/>
          </a:p>
          <a:p>
            <a:r>
              <a:rPr lang="en-GB" dirty="0"/>
              <a:t>We’ve created what we call our Retirement Investment Framework so before we discuss how we invest for retirement I’d like to run you through some of our key themes and principles.</a:t>
            </a:r>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3</a:t>
            </a:fld>
            <a:endParaRPr lang="en-GB" dirty="0"/>
          </a:p>
        </p:txBody>
      </p:sp>
    </p:spTree>
    <p:extLst>
      <p:ext uri="{BB962C8B-B14F-4D97-AF65-F5344CB8AC3E}">
        <p14:creationId xmlns:p14="http://schemas.microsoft.com/office/powerpoint/2010/main" val="41989905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30</a:t>
            </a:fld>
            <a:endParaRPr lang="en-GB" dirty="0"/>
          </a:p>
        </p:txBody>
      </p:sp>
    </p:spTree>
    <p:extLst>
      <p:ext uri="{BB962C8B-B14F-4D97-AF65-F5344CB8AC3E}">
        <p14:creationId xmlns:p14="http://schemas.microsoft.com/office/powerpoint/2010/main" val="19320699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31</a:t>
            </a:fld>
            <a:endParaRPr lang="en-GB" dirty="0"/>
          </a:p>
        </p:txBody>
      </p:sp>
    </p:spTree>
    <p:extLst>
      <p:ext uri="{BB962C8B-B14F-4D97-AF65-F5344CB8AC3E}">
        <p14:creationId xmlns:p14="http://schemas.microsoft.com/office/powerpoint/2010/main" val="11909689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65E9FAD-ED0C-4522-BE66-4B77F71EED64}" type="slidenum">
              <a:rPr lang="en-GB" smtClean="0"/>
              <a:pPr/>
              <a:t>32</a:t>
            </a:fld>
            <a:endParaRPr lang="en-GB" dirty="0"/>
          </a:p>
        </p:txBody>
      </p:sp>
    </p:spTree>
    <p:extLst>
      <p:ext uri="{BB962C8B-B14F-4D97-AF65-F5344CB8AC3E}">
        <p14:creationId xmlns:p14="http://schemas.microsoft.com/office/powerpoint/2010/main" val="2956863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what makes these clients different?</a:t>
            </a:r>
          </a:p>
          <a:p>
            <a:endParaRPr lang="en-GB" dirty="0"/>
          </a:p>
          <a:p>
            <a:r>
              <a:rPr lang="en-GB" dirty="0"/>
              <a:t>Multiple Specific Goals</a:t>
            </a:r>
          </a:p>
          <a:p>
            <a:r>
              <a:rPr lang="en-GB" dirty="0"/>
              <a:t>Unlike pre-retirement where the goal may simply to maximise returns, customers’ goals post retirement will become much more specific.</a:t>
            </a:r>
          </a:p>
          <a:p>
            <a:r>
              <a:rPr lang="en-GB" dirty="0"/>
              <a:t>They know when the date of retirement - they know how much it takes to live – and they may have family events or bucket list items for which they need to access pension funds.</a:t>
            </a:r>
          </a:p>
          <a:p>
            <a:r>
              <a:rPr lang="en-GB" dirty="0"/>
              <a:t>By understanding these issues it allows us to think about risk and capacity for loss relative to these objectives.</a:t>
            </a:r>
          </a:p>
          <a:p>
            <a:endParaRPr lang="en-GB" dirty="0"/>
          </a:p>
          <a:p>
            <a:r>
              <a:rPr lang="en-GB" dirty="0"/>
              <a:t>Limited Resilience</a:t>
            </a:r>
          </a:p>
          <a:p>
            <a:r>
              <a:rPr lang="en-GB" dirty="0"/>
              <a:t>The other thing that separates the retirement customer is their limited ability to put things right if investment returns go wrong.</a:t>
            </a:r>
          </a:p>
          <a:p>
            <a:r>
              <a:rPr lang="en-GB" dirty="0"/>
              <a:t>For example, If I’m still working and market returns go against me, I can work longer, I can save a bit more or I can take more risk.</a:t>
            </a:r>
          </a:p>
          <a:p>
            <a:r>
              <a:rPr lang="en-GB" dirty="0"/>
              <a:t>Those with a heavy reliance on their pension may face compromises if the fund is diminished more quickly than planned. This limited resilience to fluctuations in their pension assets places greater importance on capital protection.</a:t>
            </a:r>
          </a:p>
          <a:p>
            <a:endParaRPr lang="en-GB" dirty="0"/>
          </a:p>
          <a:p>
            <a:r>
              <a:rPr lang="en-GB" dirty="0"/>
              <a:t>Finally, Sequence of Returns risk.</a:t>
            </a:r>
          </a:p>
          <a:p>
            <a:r>
              <a:rPr lang="en-GB" dirty="0"/>
              <a:t>The overall investment time horizon for customers in retirement may be 20 or 30 years on paper, but to enjoy that journey to its end we have to avoid withdrawing money too often in falling markets.</a:t>
            </a:r>
          </a:p>
          <a:p>
            <a:r>
              <a:rPr lang="en-GB" dirty="0"/>
              <a:t>Many of you will have clients in retirement now living their best life.</a:t>
            </a:r>
          </a:p>
          <a:p>
            <a:r>
              <a:rPr lang="en-GB" dirty="0"/>
              <a:t>This concept is called the ‘Golden Decade’ where newly-retired clients want to fulfil long-cherished plans for holidays, home improvements or buying Lamborghini’s.</a:t>
            </a:r>
          </a:p>
          <a:p>
            <a:r>
              <a:rPr lang="en-GB" dirty="0"/>
              <a:t>Much of this aspirational spending is likely to be front-end loaded and clients may be impatient to realise their ambitions.</a:t>
            </a:r>
          </a:p>
          <a:p>
            <a:pPr defTabSz="986180">
              <a:defRPr/>
            </a:pPr>
            <a:endParaRPr lang="en-GB" dirty="0"/>
          </a:p>
          <a:p>
            <a:pPr defTabSz="986180">
              <a:defRPr/>
            </a:pPr>
            <a:r>
              <a:rPr lang="en-GB" dirty="0"/>
              <a:t>If the date of a large financial commitment coincides with a market collapse we risk undoing plans for later life such leaving a legacy for loved ones, or providing funds for healthcare should it be needed.</a:t>
            </a:r>
          </a:p>
          <a:p>
            <a:r>
              <a:rPr lang="en-GB" dirty="0"/>
              <a:t>In the meantime, we shouldn’t forget the more mundane issue of sustaining the fund in such a way that the basic costs of living are met over the client’s lifetime.</a:t>
            </a:r>
          </a:p>
          <a:p>
            <a:endParaRPr lang="en-GB" dirty="0"/>
          </a:p>
          <a:p>
            <a:endParaRPr lang="en-GB" dirty="0"/>
          </a:p>
          <a:p>
            <a:endParaRPr lang="en-GB" dirty="0"/>
          </a:p>
          <a:p>
            <a:endParaRPr lang="en-GB" dirty="0"/>
          </a:p>
          <a:p>
            <a:pPr defTabSz="986180">
              <a:defRPr/>
            </a:pPr>
            <a:endParaRPr lang="en-GB" dirty="0"/>
          </a:p>
          <a:p>
            <a:pPr defTabSz="986180">
              <a:defRPr/>
            </a:pPr>
            <a:endParaRPr lang="en-GB" dirty="0"/>
          </a:p>
          <a:p>
            <a:endParaRPr lang="en-GB" dirty="0"/>
          </a:p>
        </p:txBody>
      </p:sp>
      <p:sp>
        <p:nvSpPr>
          <p:cNvPr id="4" name="Slide Number Placeholder 3"/>
          <p:cNvSpPr>
            <a:spLocks noGrp="1"/>
          </p:cNvSpPr>
          <p:nvPr>
            <p:ph type="sldNum" sz="quarter" idx="5"/>
          </p:nvPr>
        </p:nvSpPr>
        <p:spPr/>
        <p:txBody>
          <a:bodyPr/>
          <a:lstStyle/>
          <a:p>
            <a:fld id="{A65E9FAD-ED0C-4522-BE66-4B77F71EED64}" type="slidenum">
              <a:rPr lang="en-GB" smtClean="0"/>
              <a:pPr/>
              <a:t>4</a:t>
            </a:fld>
            <a:endParaRPr lang="en-GB" dirty="0"/>
          </a:p>
        </p:txBody>
      </p:sp>
    </p:spTree>
    <p:extLst>
      <p:ext uri="{BB962C8B-B14F-4D97-AF65-F5344CB8AC3E}">
        <p14:creationId xmlns:p14="http://schemas.microsoft.com/office/powerpoint/2010/main" val="1700545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dentifying the differences then allows us to arrive at some key themes.</a:t>
            </a:r>
          </a:p>
          <a:p>
            <a:endParaRPr lang="en-GB" dirty="0"/>
          </a:p>
          <a:p>
            <a:r>
              <a:rPr lang="en-GB" dirty="0"/>
              <a:t>Balancing risk and return.</a:t>
            </a:r>
          </a:p>
          <a:p>
            <a:r>
              <a:rPr lang="en-GB" dirty="0"/>
              <a:t>We are always balancing risk and return but what becomes important is finding the right portfolio with an appropriate level of risk that matches the client’s income expectations.</a:t>
            </a:r>
          </a:p>
          <a:p>
            <a:r>
              <a:rPr lang="en-GB" dirty="0"/>
              <a:t>If the emphasis is on the income, in a perfect world, if for example 5.5% pa is the rate of return required to achieve all of the customer objectives, we don’t need a portfolio that can deliver 9% if it involves greater risk of capital loss.</a:t>
            </a:r>
          </a:p>
          <a:p>
            <a:endParaRPr lang="en-GB" dirty="0"/>
          </a:p>
          <a:p>
            <a:r>
              <a:rPr lang="en-GB" dirty="0"/>
              <a:t>As discussed already, once in retirement, capacity for loss, lower resilience and less flexibility make managing the downside more of a priority.</a:t>
            </a:r>
          </a:p>
          <a:p>
            <a:r>
              <a:rPr lang="en-GB" dirty="0"/>
              <a:t>This is particularly important in the early years and very important if we take income from capital.</a:t>
            </a:r>
          </a:p>
          <a:p>
            <a:endParaRPr lang="en-GB" dirty="0"/>
          </a:p>
          <a:p>
            <a:r>
              <a:rPr lang="en-GB" dirty="0"/>
              <a:t>If the preference is for natural income we need to be mindful of market events on the income stream but also be wary of aiming for high levels of income that may be unsustainable.</a:t>
            </a:r>
          </a:p>
          <a:p>
            <a:endParaRPr lang="en-GB" dirty="0"/>
          </a:p>
          <a:p>
            <a:r>
              <a:rPr lang="en-GB" dirty="0"/>
              <a:t>Then allow for the silent assassin. Inflation was largely absent during the period after the Financial Crisis Back up until Covid.</a:t>
            </a:r>
          </a:p>
          <a:p>
            <a:r>
              <a:rPr lang="en-GB" dirty="0"/>
              <a:t>Although the rate of inflation has come down recently, long-term plans need to account for some element of inflation to maintain expected standards of living.</a:t>
            </a:r>
          </a:p>
        </p:txBody>
      </p:sp>
      <p:sp>
        <p:nvSpPr>
          <p:cNvPr id="4" name="Slide Number Placeholder 3"/>
          <p:cNvSpPr>
            <a:spLocks noGrp="1"/>
          </p:cNvSpPr>
          <p:nvPr>
            <p:ph type="sldNum" sz="quarter" idx="5"/>
          </p:nvPr>
        </p:nvSpPr>
        <p:spPr/>
        <p:txBody>
          <a:bodyPr/>
          <a:lstStyle/>
          <a:p>
            <a:fld id="{A65E9FAD-ED0C-4522-BE66-4B77F71EED64}" type="slidenum">
              <a:rPr lang="en-GB" smtClean="0"/>
              <a:pPr/>
              <a:t>5</a:t>
            </a:fld>
            <a:endParaRPr lang="en-GB" dirty="0"/>
          </a:p>
        </p:txBody>
      </p:sp>
    </p:spTree>
    <p:extLst>
      <p:ext uri="{BB962C8B-B14F-4D97-AF65-F5344CB8AC3E}">
        <p14:creationId xmlns:p14="http://schemas.microsoft.com/office/powerpoint/2010/main" val="34889244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king those themes into consideration, how best to manage risk.</a:t>
            </a:r>
          </a:p>
          <a:p>
            <a:endParaRPr lang="en-GB" dirty="0"/>
          </a:p>
          <a:p>
            <a:r>
              <a:rPr lang="en-GB" dirty="0"/>
              <a:t>Well first we should be </a:t>
            </a:r>
            <a:r>
              <a:rPr lang="en-GB" u="sng" dirty="0"/>
              <a:t>active in our investment decisions</a:t>
            </a:r>
            <a:r>
              <a:rPr lang="en-GB" dirty="0"/>
              <a:t>.</a:t>
            </a:r>
          </a:p>
          <a:p>
            <a:r>
              <a:rPr lang="en-GB" dirty="0"/>
              <a:t>If you buy into the idea that balancing risk &amp; return and limiting downside risk is key to success in retirement, then being selective in what you buy and managing that consistently, can turn the odds in your favour and reduce customers’ exposure to some of the threats to their long-term prospects.</a:t>
            </a:r>
          </a:p>
          <a:p>
            <a:endParaRPr lang="en-GB" dirty="0"/>
          </a:p>
          <a:p>
            <a:r>
              <a:rPr lang="en-GB" u="sng" dirty="0"/>
              <a:t>Equity income </a:t>
            </a:r>
            <a:r>
              <a:rPr lang="en-GB" dirty="0"/>
              <a:t>is a strategy with attractive characteristics that lends itself to the retirement journey.</a:t>
            </a:r>
          </a:p>
          <a:p>
            <a:r>
              <a:rPr lang="en-GB" dirty="0"/>
              <a:t>1. Companies paying regular dividends are often backed by strong balance sheets which allows the payment of dividends, and they also tend to have lower volatility.</a:t>
            </a:r>
          </a:p>
          <a:p>
            <a:r>
              <a:rPr lang="en-GB" dirty="0"/>
              <a:t>2. These higher quality companies have been the go-to choice of investors during financial or geo-political crises in the past. </a:t>
            </a:r>
          </a:p>
          <a:p>
            <a:r>
              <a:rPr lang="en-GB" dirty="0"/>
              <a:t>3. Equity income funds have tended to drawdown less during such events.</a:t>
            </a:r>
          </a:p>
          <a:p>
            <a:r>
              <a:rPr lang="en-GB" dirty="0"/>
              <a:t>4. The dividend income can also provide some sensitivity to inflation.</a:t>
            </a:r>
          </a:p>
          <a:p>
            <a:r>
              <a:rPr lang="en-GB" dirty="0"/>
              <a:t>5. Capital returns are more variable than a steady flow of dividends which may be a consideration when thinking about sequence of returns.</a:t>
            </a:r>
          </a:p>
          <a:p>
            <a:endParaRPr lang="en-GB" dirty="0"/>
          </a:p>
          <a:p>
            <a:r>
              <a:rPr lang="en-GB" u="sng" dirty="0"/>
              <a:t>Making the most of fixed income</a:t>
            </a:r>
            <a:r>
              <a:rPr lang="en-GB" dirty="0"/>
              <a:t>.</a:t>
            </a:r>
          </a:p>
          <a:p>
            <a:r>
              <a:rPr lang="en-GB" dirty="0"/>
              <a:t>Balancing equities with bonds is core to managing risk but a passive approach to bonds can have drawbacks as we saw in 2022/23.</a:t>
            </a:r>
          </a:p>
          <a:p>
            <a:pPr defTabSz="986180">
              <a:defRPr/>
            </a:pPr>
            <a:r>
              <a:rPr lang="en-GB" dirty="0"/>
              <a:t>Now that yields are off the floor, there are all sort of opportunities in fixed income and the key is to pick the right strategy for what you are trying to achieve.</a:t>
            </a:r>
          </a:p>
          <a:p>
            <a:r>
              <a:rPr lang="en-GB" dirty="0"/>
              <a:t>Interest rates and inflation are not static so sensitive management of your bond portfolio can enhance returns and avoid unexpected surprises.</a:t>
            </a:r>
          </a:p>
          <a:p>
            <a:endParaRPr lang="en-GB" dirty="0"/>
          </a:p>
          <a:p>
            <a:r>
              <a:rPr lang="en-GB" dirty="0"/>
              <a:t>More information can be found on the Framework on our Adviser website, under the Investing for retirement section.</a:t>
            </a:r>
          </a:p>
        </p:txBody>
      </p:sp>
      <p:sp>
        <p:nvSpPr>
          <p:cNvPr id="4" name="Slide Number Placeholder 3"/>
          <p:cNvSpPr>
            <a:spLocks noGrp="1"/>
          </p:cNvSpPr>
          <p:nvPr>
            <p:ph type="sldNum" sz="quarter" idx="5"/>
          </p:nvPr>
        </p:nvSpPr>
        <p:spPr/>
        <p:txBody>
          <a:bodyPr/>
          <a:lstStyle/>
          <a:p>
            <a:fld id="{A65E9FAD-ED0C-4522-BE66-4B77F71EED64}" type="slidenum">
              <a:rPr lang="en-GB" smtClean="0"/>
              <a:pPr/>
              <a:t>6</a:t>
            </a:fld>
            <a:endParaRPr lang="en-GB" dirty="0"/>
          </a:p>
        </p:txBody>
      </p:sp>
    </p:spTree>
    <p:extLst>
      <p:ext uri="{BB962C8B-B14F-4D97-AF65-F5344CB8AC3E}">
        <p14:creationId xmlns:p14="http://schemas.microsoft.com/office/powerpoint/2010/main" val="20056349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ally, before we move on to look at how we apply some of these ideas, it is important to consider how we extract client income.</a:t>
            </a:r>
          </a:p>
          <a:p>
            <a:r>
              <a:rPr lang="en-GB" dirty="0"/>
              <a:t>Without overthinking it there are two main ways to do this.</a:t>
            </a:r>
          </a:p>
          <a:p>
            <a:endParaRPr lang="en-GB" dirty="0"/>
          </a:p>
          <a:p>
            <a:r>
              <a:rPr lang="en-GB" dirty="0"/>
              <a:t>Total return with unit encashments – taking slices from the fund to move to cash…….  OR …………</a:t>
            </a:r>
          </a:p>
          <a:p>
            <a:endParaRPr lang="en-GB" dirty="0"/>
          </a:p>
          <a:p>
            <a:r>
              <a:rPr lang="en-GB" dirty="0"/>
              <a:t>………..natural income, a flow of cash from the underlying investments without the need to encash units.</a:t>
            </a:r>
          </a:p>
          <a:p>
            <a:endParaRPr lang="en-GB" dirty="0"/>
          </a:p>
          <a:p>
            <a:r>
              <a:rPr lang="en-GB" dirty="0"/>
              <a:t>There are advantages in both.</a:t>
            </a:r>
          </a:p>
          <a:p>
            <a:r>
              <a:rPr lang="en-GB" dirty="0">
                <a:highlight>
                  <a:srgbClr val="FFFF00"/>
                </a:highlight>
              </a:rPr>
              <a:t>The Regulator is not proscriptive about either but suggests in the RIAR that advisers identify a clear strategy to manage the income needs of the customer</a:t>
            </a:r>
          </a:p>
        </p:txBody>
      </p:sp>
      <p:sp>
        <p:nvSpPr>
          <p:cNvPr id="4" name="Slide Number Placeholder 3"/>
          <p:cNvSpPr>
            <a:spLocks noGrp="1"/>
          </p:cNvSpPr>
          <p:nvPr>
            <p:ph type="sldNum" sz="quarter" idx="5"/>
          </p:nvPr>
        </p:nvSpPr>
        <p:spPr/>
        <p:txBody>
          <a:bodyPr/>
          <a:lstStyle/>
          <a:p>
            <a:fld id="{A65E9FAD-ED0C-4522-BE66-4B77F71EED64}" type="slidenum">
              <a:rPr lang="en-GB" smtClean="0"/>
              <a:pPr/>
              <a:t>7</a:t>
            </a:fld>
            <a:endParaRPr lang="en-GB" dirty="0"/>
          </a:p>
        </p:txBody>
      </p:sp>
    </p:spTree>
    <p:extLst>
      <p:ext uri="{BB962C8B-B14F-4D97-AF65-F5344CB8AC3E}">
        <p14:creationId xmlns:p14="http://schemas.microsoft.com/office/powerpoint/2010/main" val="578984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will look at both models for income in due course but let’s focus first on sequence of returns risk.</a:t>
            </a:r>
          </a:p>
        </p:txBody>
      </p:sp>
      <p:sp>
        <p:nvSpPr>
          <p:cNvPr id="4" name="Slide Number Placeholder 3"/>
          <p:cNvSpPr>
            <a:spLocks noGrp="1"/>
          </p:cNvSpPr>
          <p:nvPr>
            <p:ph type="sldNum" sz="quarter" idx="5"/>
          </p:nvPr>
        </p:nvSpPr>
        <p:spPr/>
        <p:txBody>
          <a:bodyPr/>
          <a:lstStyle/>
          <a:p>
            <a:fld id="{A65E9FAD-ED0C-4522-BE66-4B77F71EED64}" type="slidenum">
              <a:rPr lang="en-GB" smtClean="0"/>
              <a:pPr/>
              <a:t>8</a:t>
            </a:fld>
            <a:endParaRPr lang="en-GB" dirty="0"/>
          </a:p>
        </p:txBody>
      </p:sp>
    </p:spTree>
    <p:extLst>
      <p:ext uri="{BB962C8B-B14F-4D97-AF65-F5344CB8AC3E}">
        <p14:creationId xmlns:p14="http://schemas.microsoft.com/office/powerpoint/2010/main" val="3217150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730250"/>
            <a:ext cx="6489700" cy="3651250"/>
          </a:xfrm>
        </p:spPr>
      </p:sp>
      <p:sp>
        <p:nvSpPr>
          <p:cNvPr id="3" name="Notes Placeholder 2"/>
          <p:cNvSpPr>
            <a:spLocks noGrp="1"/>
          </p:cNvSpPr>
          <p:nvPr>
            <p:ph type="body" idx="1"/>
          </p:nvPr>
        </p:nvSpPr>
        <p:spPr/>
        <p:txBody>
          <a:bodyPr/>
          <a:lstStyle/>
          <a:p>
            <a:r>
              <a:rPr lang="en-GB" dirty="0"/>
              <a:t>If we think about all the different measures that we use when we compare investment returns – which one of these is really going to help us predict sequence of returns risk.</a:t>
            </a:r>
          </a:p>
          <a:p>
            <a:endParaRPr lang="en-GB" dirty="0"/>
          </a:p>
          <a:p>
            <a:r>
              <a:rPr lang="en-GB" dirty="0"/>
              <a:t>----------QUESTION TO AUDIENCE --------------</a:t>
            </a:r>
          </a:p>
          <a:p>
            <a:r>
              <a:rPr lang="en-GB" dirty="0"/>
              <a:t>WHICH OF THESE IS MOST HELPFUL WHEN THINKING ABOUT SEQUENCE OF RETURNS RISK?</a:t>
            </a:r>
          </a:p>
          <a:p>
            <a:endParaRPr lang="en-GB" dirty="0"/>
          </a:p>
          <a:p>
            <a:r>
              <a:rPr lang="en-GB" dirty="0"/>
              <a:t>Many of us might consider Volatility but does it really tell us much about the pattern of returns?</a:t>
            </a:r>
          </a:p>
          <a:p>
            <a:endParaRPr lang="en-GB" dirty="0"/>
          </a:p>
          <a:p>
            <a:r>
              <a:rPr lang="en-GB" dirty="0"/>
              <a:t>Let’s have a closer look.</a:t>
            </a:r>
          </a:p>
          <a:p>
            <a:endParaRPr lang="en-GB" dirty="0"/>
          </a:p>
          <a:p>
            <a:endParaRPr lang="en-GB" dirty="0"/>
          </a:p>
        </p:txBody>
      </p:sp>
    </p:spTree>
    <p:extLst>
      <p:ext uri="{BB962C8B-B14F-4D97-AF65-F5344CB8AC3E}">
        <p14:creationId xmlns:p14="http://schemas.microsoft.com/office/powerpoint/2010/main" val="25907327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4"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864000" y="1636384"/>
            <a:ext cx="10080225" cy="467291"/>
          </a:xfrm>
          <a:prstGeom prst="rect">
            <a:avLst/>
          </a:prstGeom>
        </p:spPr>
        <p:txBody>
          <a:bodyPr lIns="0" anchor="b" anchorCtr="0"/>
          <a:lstStyle>
            <a:lvl1pPr marL="0" indent="0">
              <a:lnSpc>
                <a:spcPts val="5400"/>
              </a:lnSpc>
              <a:buNone/>
              <a:defRPr sz="3200" b="0" spc="0" baseline="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A Formal and Expressiv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D15A86B2-FFF4-FDA9-2F29-CFCB02579D1B}"/>
              </a:ext>
            </a:extLst>
          </p:cNvPr>
          <p:cNvSpPr/>
          <p:nvPr userDrawn="1"/>
        </p:nvSpPr>
        <p:spPr>
          <a:xfrm>
            <a:off x="0" y="1727200"/>
            <a:ext cx="576000" cy="1735191"/>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pic>
        <p:nvPicPr>
          <p:cNvPr id="4" name="Picture 3">
            <a:extLst>
              <a:ext uri="{FF2B5EF4-FFF2-40B4-BE49-F238E27FC236}">
                <a16:creationId xmlns:a16="http://schemas.microsoft.com/office/drawing/2014/main" id="{E648F4EB-5E17-F491-6DB4-3BF4CBCA71FB}"/>
              </a:ext>
            </a:extLst>
          </p:cNvPr>
          <p:cNvPicPr>
            <a:picLocks noChangeAspect="1"/>
          </p:cNvPicPr>
          <p:nvPr userDrawn="1"/>
        </p:nvPicPr>
        <p:blipFill>
          <a:blip r:embed="rId2"/>
          <a:stretch>
            <a:fillRect/>
          </a:stretch>
        </p:blipFill>
        <p:spPr>
          <a:xfrm>
            <a:off x="8385530" y="5910233"/>
            <a:ext cx="2606936" cy="209513"/>
          </a:xfrm>
          <a:prstGeom prst="rect">
            <a:avLst/>
          </a:prstGeom>
        </p:spPr>
      </p:pic>
    </p:spTree>
    <p:extLst>
      <p:ext uri="{BB962C8B-B14F-4D97-AF65-F5344CB8AC3E}">
        <p14:creationId xmlns:p14="http://schemas.microsoft.com/office/powerpoint/2010/main" val="3936622033"/>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numb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0"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6952891" y="2228351"/>
            <a:ext cx="4083169" cy="3456093"/>
          </a:xfrm>
          <a:prstGeom prst="rect">
            <a:avLst/>
          </a:prstGeom>
          <a:ln>
            <a:noFill/>
          </a:ln>
        </p:spPr>
        <p:txBody>
          <a:bodyPr/>
          <a:lstStyle>
            <a:lvl1pPr marL="0" indent="0" algn="r">
              <a:buNone/>
              <a:defRPr sz="28600" b="0">
                <a:ln w="25400">
                  <a:solidFill>
                    <a:srgbClr val="FF6120"/>
                  </a:solidFill>
                </a:ln>
                <a:no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1</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281660A2-DD88-9578-24ED-659B1EBFAD55}"/>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24CF0707-A572-0F04-0BFA-74BE1B62194E}"/>
              </a:ext>
            </a:extLst>
          </p:cNvPr>
          <p:cNvSpPr/>
          <p:nvPr userDrawn="1"/>
        </p:nvSpPr>
        <p:spPr>
          <a:xfrm>
            <a:off x="0" y="24479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Source">
            <a:extLst>
              <a:ext uri="{FF2B5EF4-FFF2-40B4-BE49-F238E27FC236}">
                <a16:creationId xmlns:a16="http://schemas.microsoft.com/office/drawing/2014/main" id="{4E7CD48D-9452-2FA4-0E83-6611905F9237}"/>
              </a:ext>
            </a:extLst>
          </p:cNvPr>
          <p:cNvSpPr>
            <a:spLocks noGrp="1"/>
          </p:cNvSpPr>
          <p:nvPr>
            <p:ph sz="quarter" idx="15" hasCustomPrompt="1"/>
          </p:nvPr>
        </p:nvSpPr>
        <p:spPr>
          <a:xfrm>
            <a:off x="863599" y="5093589"/>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Tree>
    <p:extLst>
      <p:ext uri="{BB962C8B-B14F-4D97-AF65-F5344CB8AC3E}">
        <p14:creationId xmlns:p14="http://schemas.microsoft.com/office/powerpoint/2010/main" val="426609091"/>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4 column / 1 row content Slate">
    <p:bg>
      <p:bgPr>
        <a:solidFill>
          <a:schemeClr val="accent1"/>
        </a:solidFill>
        <a:effectLst/>
      </p:bgPr>
    </p:bg>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1"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4"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400A898-523F-16FE-DBF1-D7B6AB441200}"/>
              </a:ext>
            </a:extLst>
          </p:cNvPr>
          <p:cNvSpPr>
            <a:spLocks noGrp="1"/>
          </p:cNvSpPr>
          <p:nvPr>
            <p:ph type="body" sz="quarter" idx="35"/>
          </p:nvPr>
        </p:nvSpPr>
        <p:spPr>
          <a:xfrm>
            <a:off x="576264"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F8FF0EEC-78FD-38BF-AEDF-B41F523888D5}"/>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8" name="Footer Placeholder 7">
            <a:extLst>
              <a:ext uri="{FF2B5EF4-FFF2-40B4-BE49-F238E27FC236}">
                <a16:creationId xmlns:a16="http://schemas.microsoft.com/office/drawing/2014/main" id="{31A22DBB-5BE7-C3DC-893C-A1DC2B1199B2}"/>
              </a:ext>
            </a:extLst>
          </p:cNvPr>
          <p:cNvSpPr>
            <a:spLocks noGrp="1"/>
          </p:cNvSpPr>
          <p:nvPr>
            <p:ph type="ftr" sz="quarter" idx="36"/>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ource">
            <a:extLst>
              <a:ext uri="{FF2B5EF4-FFF2-40B4-BE49-F238E27FC236}">
                <a16:creationId xmlns:a16="http://schemas.microsoft.com/office/drawing/2014/main" id="{68240A02-D897-A370-BB4D-A7DB29CA8C17}"/>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058B8C1-D147-9132-4EC2-756651BFA724}"/>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10" name="Picture 9">
            <a:extLst>
              <a:ext uri="{FF2B5EF4-FFF2-40B4-BE49-F238E27FC236}">
                <a16:creationId xmlns:a16="http://schemas.microsoft.com/office/drawing/2014/main" id="{107A1F54-8710-0216-78BA-8237598BC0E6}"/>
              </a:ext>
            </a:extLst>
          </p:cNvPr>
          <p:cNvPicPr>
            <a:picLocks noChangeAspect="1"/>
          </p:cNvPicPr>
          <p:nvPr userDrawn="1"/>
        </p:nvPicPr>
        <p:blipFill>
          <a:blip r:embed="rId2"/>
          <a:stretch>
            <a:fillRect/>
          </a:stretch>
        </p:blipFill>
        <p:spPr>
          <a:xfrm>
            <a:off x="9354397" y="6142501"/>
            <a:ext cx="1893795" cy="152200"/>
          </a:xfrm>
          <a:prstGeom prst="rect">
            <a:avLst/>
          </a:prstGeom>
        </p:spPr>
      </p:pic>
    </p:spTree>
    <p:extLst>
      <p:ext uri="{BB962C8B-B14F-4D97-AF65-F5344CB8AC3E}">
        <p14:creationId xmlns:p14="http://schemas.microsoft.com/office/powerpoint/2010/main" val="3100706156"/>
      </p:ext>
    </p:extLst>
  </p:cSld>
  <p:clrMapOvr>
    <a:masterClrMapping/>
  </p:clrMapOvr>
  <p:extLst>
    <p:ext uri="{DCECCB84-F9BA-43D5-87BE-67443E8EF086}">
      <p15:sldGuideLst xmlns:p15="http://schemas.microsoft.com/office/powerpoint/2012/main">
        <p15:guide id="1" pos="1859">
          <p15:clr>
            <a:srgbClr val="FBAE40"/>
          </p15:clr>
        </p15:guide>
        <p15:guide id="2" orient="horz" pos="223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1"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4"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43C7749-ABE2-0F6F-FAA2-4223033AF415}"/>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A81CEA5E-40F8-4E72-AEB3-F3BB67DF8B8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A7606548-0F64-FB0E-2AD8-0732B367F0F9}"/>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848CEE5A-EE4D-136F-1650-3224F814C3C2}"/>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588C8E1B-F5BC-3818-9DE5-CDC9F288EF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465532508"/>
      </p:ext>
    </p:extLst>
  </p:cSld>
  <p:clrMapOvr>
    <a:masterClrMapping/>
  </p:clrMapOvr>
  <p:extLst>
    <p:ext uri="{DCECCB84-F9BA-43D5-87BE-67443E8EF086}">
      <p15:sldGuideLst xmlns:p15="http://schemas.microsoft.com/office/powerpoint/2012/main">
        <p15:guide id="1" pos="1859">
          <p15:clr>
            <a:srgbClr val="FBAE40"/>
          </p15:clr>
        </p15:guide>
        <p15:guide id="2" orient="horz" pos="223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8568225" y="1439200"/>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237" y="1439200"/>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251" y="1439200"/>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4" y="1439200"/>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4"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3240251"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904237"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8568225" y="1727200"/>
            <a:ext cx="2376000" cy="3817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85B2BD3-D748-272B-4A4E-A704340EBC25}"/>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32F7E86B-6E5F-A86B-F551-51EFE4852A14}"/>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2C1748F9-1B8B-9EFA-5928-811C8B33ED55}"/>
              </a:ext>
            </a:extLst>
          </p:cNvPr>
          <p:cNvSpPr>
            <a:spLocks noGrp="1"/>
          </p:cNvSpPr>
          <p:nvPr>
            <p:ph type="ftr" sz="quarter" idx="4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3A709156-BE06-51CE-81F9-B38D1C65D4C6}"/>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31DA3D94-D8A6-2244-551F-C387680E40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432364432"/>
      </p:ext>
    </p:extLst>
  </p:cSld>
  <p:clrMapOvr>
    <a:masterClrMapping/>
  </p:clrMapOvr>
  <p:extLst>
    <p:ext uri="{DCECCB84-F9BA-43D5-87BE-67443E8EF086}">
      <p15:sldGuideLst xmlns:p15="http://schemas.microsoft.com/office/powerpoint/2012/main">
        <p15:guide id="1" pos="3538">
          <p15:clr>
            <a:srgbClr val="FBAE40"/>
          </p15:clr>
        </p15:guide>
        <p15:guide id="2" orient="horz" pos="2200">
          <p15:clr>
            <a:srgbClr val="FBAE40"/>
          </p15:clr>
        </p15:guide>
        <p15:guide id="4" orient="horz" pos="2381">
          <p15:clr>
            <a:srgbClr val="FBAE40"/>
          </p15:clr>
        </p15:guide>
        <p15:guide id="5" pos="1859">
          <p15:clr>
            <a:srgbClr val="FBAE40"/>
          </p15:clr>
        </p15:guide>
        <p15:guide id="6" pos="2041">
          <p15:clr>
            <a:srgbClr val="FBAE40"/>
          </p15:clr>
        </p15:guide>
        <p15:guide id="7" pos="3719">
          <p15:clr>
            <a:srgbClr val="FBAE40"/>
          </p15:clr>
        </p15:guide>
        <p15:guide id="8" pos="5216">
          <p15:clr>
            <a:srgbClr val="FBAE40"/>
          </p15:clr>
        </p15:guide>
        <p15:guide id="9" pos="539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 / 2 row content / 5 items">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0574"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38418" y="3565139"/>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9"/>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38418"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20C087E-0CC4-E5AC-6F3F-ED16E3693240}"/>
              </a:ext>
            </a:extLst>
          </p:cNvPr>
          <p:cNvSpPr>
            <a:spLocks noGrp="1"/>
          </p:cNvSpPr>
          <p:nvPr>
            <p:ph type="body" sz="quarter" idx="37"/>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6525F31-1DCC-8491-B1E1-D86991ADF42B}"/>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116776B-1056-9E16-B9AD-59FAD6163890}"/>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4F26AD23-0C5A-8AF4-1FFC-1BEC4909E3C3}"/>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EF9B7F4C-9231-FA3F-46CB-59DCE145B05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18858141"/>
      </p:ext>
    </p:extLst>
  </p:cSld>
  <p:clrMapOvr>
    <a:masterClrMapping/>
  </p:clrMapOvr>
  <p:extLst>
    <p:ext uri="{DCECCB84-F9BA-43D5-87BE-67443E8EF086}">
      <p15:sldGuideLst xmlns:p15="http://schemas.microsoft.com/office/powerpoint/2012/main">
        <p15:guide id="1" pos="2404">
          <p15:clr>
            <a:srgbClr val="FBAE40"/>
          </p15:clr>
        </p15:guide>
        <p15:guide id="2" orient="horz" pos="2200">
          <p15:clr>
            <a:srgbClr val="FBAE40"/>
          </p15:clr>
        </p15:guide>
        <p15:guide id="3" pos="2608">
          <p15:clr>
            <a:srgbClr val="FBAE40"/>
          </p15:clr>
        </p15:guide>
        <p15:guide id="4" pos="4649">
          <p15:clr>
            <a:srgbClr val="FBAE40"/>
          </p15:clr>
        </p15:guide>
        <p15:guide id="5" pos="4853">
          <p15:clr>
            <a:srgbClr val="FBAE40"/>
          </p15:clr>
        </p15:guide>
        <p15:guide id="6" orient="horz" pos="206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 / 2 row / 5 item / chart / table single head">
    <p:spTree>
      <p:nvGrpSpPr>
        <p:cNvPr id="1" name=""/>
        <p:cNvGrpSpPr/>
        <p:nvPr/>
      </p:nvGrpSpPr>
      <p:grpSpPr>
        <a:xfrm>
          <a:off x="0" y="0"/>
          <a:ext cx="0" cy="0"/>
          <a:chOff x="0" y="0"/>
          <a:chExt cx="0" cy="0"/>
        </a:xfrm>
      </p:grpSpPr>
      <p:sp>
        <p:nvSpPr>
          <p:cNvPr id="19" name="Content Placeholder 3"/>
          <p:cNvSpPr>
            <a:spLocks noGrp="1"/>
          </p:cNvSpPr>
          <p:nvPr>
            <p:ph sz="quarter" idx="33"/>
          </p:nvPr>
        </p:nvSpPr>
        <p:spPr>
          <a:xfrm>
            <a:off x="7704226"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12"/>
          <p:cNvSpPr>
            <a:spLocks noGrp="1"/>
          </p:cNvSpPr>
          <p:nvPr>
            <p:ph type="body" sz="quarter" idx="23" hasCustomPrompt="1"/>
          </p:nvPr>
        </p:nvSpPr>
        <p:spPr>
          <a:xfrm>
            <a:off x="4140245" y="3565138"/>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5"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4140245"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4140245"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E9A58C0-E392-BBF3-1FD1-DE77814CF82F}"/>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4542836C-6418-14AF-8CCB-D1C6B641AA27}"/>
              </a:ext>
            </a:extLst>
          </p:cNvPr>
          <p:cNvSpPr>
            <a:spLocks noGrp="1"/>
          </p:cNvSpPr>
          <p:nvPr>
            <p:ph type="title"/>
          </p:nvPr>
        </p:nvSpPr>
        <p:spPr/>
        <p:txBody>
          <a:bodyPr/>
          <a:lstStyle/>
          <a:p>
            <a:r>
              <a:rPr lang="en-US"/>
              <a:t>Click to edit Master title style</a:t>
            </a:r>
            <a:endParaRPr lang="en-GB"/>
          </a:p>
        </p:txBody>
      </p:sp>
      <p:sp>
        <p:nvSpPr>
          <p:cNvPr id="12" name="Footer Placeholder 11">
            <a:extLst>
              <a:ext uri="{FF2B5EF4-FFF2-40B4-BE49-F238E27FC236}">
                <a16:creationId xmlns:a16="http://schemas.microsoft.com/office/drawing/2014/main" id="{6DB40021-CE86-0741-F68D-4F4ACF75EC08}"/>
              </a:ext>
            </a:extLst>
          </p:cNvPr>
          <p:cNvSpPr>
            <a:spLocks noGrp="1"/>
          </p:cNvSpPr>
          <p:nvPr>
            <p:ph type="ftr" sz="quarter" idx="4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FDB5D49E-B03F-7822-90D9-87F926790871}"/>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998637D5-81E7-8AC5-570C-520E73AC7EA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996220922"/>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4" orient="horz" pos="2427">
          <p15:clr>
            <a:srgbClr val="FBAE40"/>
          </p15:clr>
        </p15:guide>
        <p15:guide id="5" pos="2608">
          <p15:clr>
            <a:srgbClr val="FBAE40"/>
          </p15:clr>
        </p15:guide>
        <p15:guide id="6" pos="4649">
          <p15:clr>
            <a:srgbClr val="FBAE40"/>
          </p15:clr>
        </p15:guide>
        <p15:guide id="7" pos="4853">
          <p15:clr>
            <a:srgbClr val="FBAE40"/>
          </p15:clr>
        </p15:guide>
        <p15:guide id="8" orient="horz" pos="215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 / 2 row content">
    <p:spTree>
      <p:nvGrpSpPr>
        <p:cNvPr id="1" name=""/>
        <p:cNvGrpSpPr/>
        <p:nvPr/>
      </p:nvGrpSpPr>
      <p:grpSpPr>
        <a:xfrm>
          <a:off x="0" y="0"/>
          <a:ext cx="0" cy="0"/>
          <a:chOff x="0" y="0"/>
          <a:chExt cx="0" cy="0"/>
        </a:xfrm>
      </p:grpSpPr>
      <p:sp>
        <p:nvSpPr>
          <p:cNvPr id="39" name="Content Placeholder 3"/>
          <p:cNvSpPr>
            <a:spLocks noGrp="1"/>
          </p:cNvSpPr>
          <p:nvPr>
            <p:ph sz="quarter" idx="37"/>
          </p:nvPr>
        </p:nvSpPr>
        <p:spPr>
          <a:xfrm>
            <a:off x="7704226" y="3565139"/>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40201" y="3565139"/>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9"/>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7704226"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5"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8"/>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62D95A3-636B-B1E7-CE1C-E12E4CA42FE2}"/>
              </a:ext>
            </a:extLst>
          </p:cNvPr>
          <p:cNvSpPr>
            <a:spLocks noGrp="1"/>
          </p:cNvSpPr>
          <p:nvPr>
            <p:ph type="body" sz="quarter" idx="39"/>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77ECED5-F948-E980-2E0B-F1787C1E4EF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5D4CCE17-52CA-6BAF-BBB5-14CE94BF7DEB}"/>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Source">
            <a:extLst>
              <a:ext uri="{FF2B5EF4-FFF2-40B4-BE49-F238E27FC236}">
                <a16:creationId xmlns:a16="http://schemas.microsoft.com/office/drawing/2014/main" id="{7F7069ED-3DC3-15C8-6CCA-BB5A7AD1B91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39E48406-FCC2-F450-654D-02A70FD058C6}"/>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821997966"/>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3" pos="2608">
          <p15:clr>
            <a:srgbClr val="FBAE40"/>
          </p15:clr>
        </p15:guide>
        <p15:guide id="4" pos="4649">
          <p15:clr>
            <a:srgbClr val="FBAE40"/>
          </p15:clr>
        </p15:guide>
        <p15:guide id="5" pos="4853">
          <p15:clr>
            <a:srgbClr val="FBAE40"/>
          </p15:clr>
        </p15:guide>
        <p15:guide id="6" orient="horz" pos="215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 / 2 row chart / table single head">
    <p:spTree>
      <p:nvGrpSpPr>
        <p:cNvPr id="1" name=""/>
        <p:cNvGrpSpPr/>
        <p:nvPr/>
      </p:nvGrpSpPr>
      <p:grpSpPr>
        <a:xfrm>
          <a:off x="0" y="0"/>
          <a:ext cx="0" cy="0"/>
          <a:chOff x="0" y="0"/>
          <a:chExt cx="0" cy="0"/>
        </a:xfrm>
      </p:grpSpPr>
      <p:sp>
        <p:nvSpPr>
          <p:cNvPr id="30" name="Text Placeholder 12"/>
          <p:cNvSpPr>
            <a:spLocks noGrp="1"/>
          </p:cNvSpPr>
          <p:nvPr>
            <p:ph type="body" sz="quarter" idx="27" hasCustomPrompt="1"/>
          </p:nvPr>
        </p:nvSpPr>
        <p:spPr>
          <a:xfrm>
            <a:off x="7704226" y="3560159"/>
            <a:ext cx="3240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4140245" y="3560159"/>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0159"/>
            <a:ext cx="3240000" cy="288000"/>
          </a:xfrm>
        </p:spPr>
        <p:txBody>
          <a:bodyPr/>
          <a:lstStyle>
            <a:lvl1pPr algn="ctr">
              <a:defRPr cap="all" spc="0" baseline="0"/>
            </a:lvl1pPr>
          </a:lstStyle>
          <a:p>
            <a:pPr lvl="0"/>
            <a:r>
              <a:rPr lang="en-US" dirty="0"/>
              <a:t>Single line heading</a:t>
            </a:r>
          </a:p>
        </p:txBody>
      </p:sp>
      <p:sp>
        <p:nvSpPr>
          <p:cNvPr id="22" name="Text Placeholder 12"/>
          <p:cNvSpPr>
            <a:spLocks noGrp="1"/>
          </p:cNvSpPr>
          <p:nvPr>
            <p:ph type="body" sz="quarter" idx="19" hasCustomPrompt="1"/>
          </p:nvPr>
        </p:nvSpPr>
        <p:spPr>
          <a:xfrm>
            <a:off x="7704226"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5"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4140245"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7704226"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4140245"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p:cNvSpPr>
            <a:spLocks noGrp="1"/>
          </p:cNvSpPr>
          <p:nvPr>
            <p:ph sz="quarter" idx="45"/>
          </p:nvPr>
        </p:nvSpPr>
        <p:spPr>
          <a:xfrm>
            <a:off x="7704226" y="3853138"/>
            <a:ext cx="32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7BF3E6-02F1-6F60-92F0-9DD9CFC6A70D}"/>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FEA91FC2-FFA8-9703-74AF-414BB5C4AA72}"/>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7ED0CC5F-6931-A71A-B377-4EDAFF888DAB}"/>
              </a:ext>
            </a:extLst>
          </p:cNvPr>
          <p:cNvSpPr>
            <a:spLocks noGrp="1"/>
          </p:cNvSpPr>
          <p:nvPr>
            <p:ph type="ftr" sz="quarter" idx="4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966259E3-6280-EC65-6D21-72343AF24C1F}"/>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BC9CD2A4-22E5-327B-51E6-78F8F207767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22432504"/>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4" orient="horz" pos="2427">
          <p15:clr>
            <a:srgbClr val="FBAE40"/>
          </p15:clr>
        </p15:guide>
        <p15:guide id="5" pos="2608">
          <p15:clr>
            <a:srgbClr val="FBAE40"/>
          </p15:clr>
        </p15:guide>
        <p15:guide id="6" pos="4649">
          <p15:clr>
            <a:srgbClr val="FBAE40"/>
          </p15:clr>
        </p15:guide>
        <p15:guide id="7" pos="4853">
          <p15:clr>
            <a:srgbClr val="FBAE40"/>
          </p15:clr>
        </p15:guide>
        <p15:guide id="8" orient="horz" pos="215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 column / 2 row / 7 item /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Content Placeholder 3"/>
          <p:cNvSpPr>
            <a:spLocks noGrp="1"/>
          </p:cNvSpPr>
          <p:nvPr>
            <p:ph sz="quarter" idx="36"/>
          </p:nvPr>
        </p:nvSpPr>
        <p:spPr>
          <a:xfrm>
            <a:off x="5904150" y="3565139"/>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3240075" y="3565139"/>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000" y="3565139"/>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15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075"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00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9B4A88B1-F214-B25E-D4FF-16FB3C0449FE}"/>
              </a:ext>
            </a:extLst>
          </p:cNvPr>
          <p:cNvSpPr>
            <a:spLocks noGrp="1"/>
          </p:cNvSpPr>
          <p:nvPr>
            <p:ph type="body" sz="quarter" idx="38"/>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B7BC8288-C4F6-CB1A-B9CF-291BD65A6075}"/>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B94E8C6-6CD0-2895-B258-9F766FE6896D}"/>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AC791DDA-FFC4-DF7F-F677-316753269394}"/>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290C6A47-C366-D49D-E65A-779CA58CFA2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142397272"/>
      </p:ext>
    </p:extLst>
  </p:cSld>
  <p:clrMapOvr>
    <a:masterClrMapping/>
  </p:clrMapOvr>
  <p:extLst>
    <p:ext uri="{DCECCB84-F9BA-43D5-87BE-67443E8EF086}">
      <p15:sldGuideLst xmlns:p15="http://schemas.microsoft.com/office/powerpoint/2012/main">
        <p15:guide id="1" pos="1859">
          <p15:clr>
            <a:srgbClr val="FBAE40"/>
          </p15:clr>
        </p15:guide>
        <p15:guide id="2" orient="horz" pos="224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guide id="8" orient="horz" pos="215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olumn / 2 row / 7 item /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000"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12"/>
          <p:cNvSpPr>
            <a:spLocks noGrp="1"/>
          </p:cNvSpPr>
          <p:nvPr>
            <p:ph type="body" sz="quarter" idx="25" hasCustomPrompt="1"/>
          </p:nvPr>
        </p:nvSpPr>
        <p:spPr>
          <a:xfrm>
            <a:off x="5904088" y="3565138"/>
            <a:ext cx="2376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3240175" y="3565138"/>
            <a:ext cx="2376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4" y="3565138"/>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88" y="1439863"/>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175" y="1439863"/>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4" y="1439863"/>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4"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576264"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3240175"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904088"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3240175"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p:cNvSpPr>
            <a:spLocks noGrp="1"/>
          </p:cNvSpPr>
          <p:nvPr>
            <p:ph sz="quarter" idx="45"/>
          </p:nvPr>
        </p:nvSpPr>
        <p:spPr>
          <a:xfrm>
            <a:off x="5904088"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3E0F789-4C85-098B-2913-DF18D3C2F053}"/>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71C073C4-C915-1742-F81F-6BC472F7D02C}"/>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72058CE7-567F-A9F5-D15E-4CB75F510B65}"/>
              </a:ext>
            </a:extLst>
          </p:cNvPr>
          <p:cNvSpPr>
            <a:spLocks noGrp="1"/>
          </p:cNvSpPr>
          <p:nvPr>
            <p:ph type="ftr" sz="quarter" idx="4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EEC21B44-DE5E-BBB5-B868-E62B664735D2}"/>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101452B0-949B-D57D-4EEF-A589BCB8316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102238205"/>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1859">
          <p15:clr>
            <a:srgbClr val="FBAE40"/>
          </p15:clr>
        </p15:guide>
        <p15:guide id="6" pos="2041">
          <p15:clr>
            <a:srgbClr val="FBAE40"/>
          </p15:clr>
        </p15:guide>
        <p15:guide id="7" pos="3719">
          <p15:clr>
            <a:srgbClr val="FBAE40"/>
          </p15:clr>
        </p15:guide>
        <p15:guide id="8" pos="5216">
          <p15:clr>
            <a:srgbClr val="FBAE40"/>
          </p15:clr>
        </p15:guide>
        <p15:guide id="9" pos="5398">
          <p15:clr>
            <a:srgbClr val="FBAE40"/>
          </p15:clr>
        </p15:guide>
        <p15:guide id="10" orient="horz" pos="215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sclaimer Copy">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044576"/>
            <a:ext cx="10367963" cy="4859337"/>
          </a:xfrm>
        </p:spPr>
        <p:txBody>
          <a:bodyPr numCol="1" spcCol="288000"/>
          <a:lstStyle>
            <a:lvl1pPr>
              <a:spcBef>
                <a:spcPts val="600"/>
              </a:spcBef>
              <a:spcAft>
                <a:spcPts val="300"/>
              </a:spcAft>
              <a:defRPr sz="800">
                <a:latin typeface="+mn-lt"/>
              </a:defRPr>
            </a:lvl1pPr>
            <a:lvl2pPr>
              <a:spcAft>
                <a:spcPts val="300"/>
              </a:spcAft>
              <a:defRPr sz="700">
                <a:latin typeface="+mn-lt"/>
              </a:defRPr>
            </a:lvl2pPr>
            <a:lvl3pPr marL="107998" indent="-107998">
              <a:spcAft>
                <a:spcPts val="300"/>
              </a:spcAft>
              <a:defRPr sz="700">
                <a:latin typeface="+mn-lt"/>
              </a:defRPr>
            </a:lvl3pPr>
            <a:lvl4pPr marL="215998" indent="-107998">
              <a:spcAft>
                <a:spcPts val="300"/>
              </a:spcAft>
              <a:defRPr sz="700">
                <a:latin typeface="+mn-lt"/>
              </a:defRPr>
            </a:lvl4pPr>
            <a:lvl5pPr marL="323996" indent="-107998">
              <a:spcAft>
                <a:spcPts val="300"/>
              </a:spcAft>
              <a:defRPr sz="7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8" name="Title 7">
            <a:extLst>
              <a:ext uri="{FF2B5EF4-FFF2-40B4-BE49-F238E27FC236}">
                <a16:creationId xmlns:a16="http://schemas.microsoft.com/office/drawing/2014/main" id="{BCB4F65F-0244-3136-FFC1-A9F33947D660}"/>
              </a:ext>
            </a:extLst>
          </p:cNvPr>
          <p:cNvSpPr>
            <a:spLocks noGrp="1"/>
          </p:cNvSpPr>
          <p:nvPr>
            <p:ph type="title" hasCustomPrompt="1"/>
          </p:nvPr>
        </p:nvSpPr>
        <p:spPr/>
        <p:txBody>
          <a:bodyPr/>
          <a:lstStyle/>
          <a:p>
            <a:r>
              <a:rPr lang="en-US" dirty="0"/>
              <a:t>Important Information</a:t>
            </a:r>
            <a:endParaRPr lang="en-GB" dirty="0"/>
          </a:p>
        </p:txBody>
      </p:sp>
      <p:sp>
        <p:nvSpPr>
          <p:cNvPr id="10" name="Footer Placeholder 9">
            <a:extLst>
              <a:ext uri="{FF2B5EF4-FFF2-40B4-BE49-F238E27FC236}">
                <a16:creationId xmlns:a16="http://schemas.microsoft.com/office/drawing/2014/main" id="{50C85F7B-68F3-3EB6-ACA6-675A32305408}"/>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5" name="Source">
            <a:extLst>
              <a:ext uri="{FF2B5EF4-FFF2-40B4-BE49-F238E27FC236}">
                <a16:creationId xmlns:a16="http://schemas.microsoft.com/office/drawing/2014/main" id="{B134438C-4A43-A027-CD91-F92B71CC35EA}"/>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6" name="Text Placeholder 7">
            <a:extLst>
              <a:ext uri="{FF2B5EF4-FFF2-40B4-BE49-F238E27FC236}">
                <a16:creationId xmlns:a16="http://schemas.microsoft.com/office/drawing/2014/main" id="{90F3C6B4-940C-3D05-7E52-C00A7B7EDE6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402778345"/>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chevr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0"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Chevron 1">
            <a:extLst>
              <a:ext uri="{FF2B5EF4-FFF2-40B4-BE49-F238E27FC236}">
                <a16:creationId xmlns:a16="http://schemas.microsoft.com/office/drawing/2014/main" id="{23F043BF-FDB6-EFCD-8E0A-C1E080A1A1FA}"/>
              </a:ext>
            </a:extLst>
          </p:cNvPr>
          <p:cNvSpPr/>
          <p:nvPr userDrawn="1"/>
        </p:nvSpPr>
        <p:spPr>
          <a:xfrm>
            <a:off x="8027682"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8" name="Chevron 7">
            <a:extLst>
              <a:ext uri="{FF2B5EF4-FFF2-40B4-BE49-F238E27FC236}">
                <a16:creationId xmlns:a16="http://schemas.microsoft.com/office/drawing/2014/main" id="{49817F1D-9B86-2B54-642D-88BB24A203CA}"/>
              </a:ext>
            </a:extLst>
          </p:cNvPr>
          <p:cNvSpPr/>
          <p:nvPr userDrawn="1"/>
        </p:nvSpPr>
        <p:spPr>
          <a:xfrm>
            <a:off x="9148666"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13" name="Title 1">
            <a:extLst>
              <a:ext uri="{FF2B5EF4-FFF2-40B4-BE49-F238E27FC236}">
                <a16:creationId xmlns:a16="http://schemas.microsoft.com/office/drawing/2014/main" id="{A76F056C-A36E-1918-83D0-747F1E0C4B3D}"/>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B458D999-F164-FB0F-14E1-8249E5DCFE33}"/>
              </a:ext>
            </a:extLst>
          </p:cNvPr>
          <p:cNvSpPr/>
          <p:nvPr userDrawn="1"/>
        </p:nvSpPr>
        <p:spPr>
          <a:xfrm>
            <a:off x="0" y="24479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extLst>
      <p:ext uri="{BB962C8B-B14F-4D97-AF65-F5344CB8AC3E}">
        <p14:creationId xmlns:p14="http://schemas.microsoft.com/office/powerpoint/2010/main" val="3544126927"/>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2 column / 2 row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4225"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3"/>
          <p:cNvSpPr>
            <a:spLocks noGrp="1"/>
          </p:cNvSpPr>
          <p:nvPr>
            <p:ph sz="quarter" idx="34"/>
          </p:nvPr>
        </p:nvSpPr>
        <p:spPr>
          <a:xfrm>
            <a:off x="576263"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16F67BE6-FB3F-00B6-B618-A0F8125DA1DE}"/>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70859E9E-72A3-3AEE-BFFC-E474401FC1A0}"/>
              </a:ext>
            </a:extLst>
          </p:cNvPr>
          <p:cNvSpPr>
            <a:spLocks noGrp="1"/>
          </p:cNvSpPr>
          <p:nvPr>
            <p:ph type="body" sz="quarter" idx="38"/>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36850F0-2C40-2747-EC2B-3FD083BD086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19627788-F545-50E7-3B61-989CC0480256}"/>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9D641272-9802-9CDC-A337-03A0A7BE49B6}"/>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2724285318"/>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B5FBA745-38C1-7E46-53C7-9482014134A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F149AD40-D7D1-7EA5-3220-97B9C147E5B2}"/>
              </a:ext>
            </a:extLst>
          </p:cNvPr>
          <p:cNvSpPr>
            <a:spLocks noGrp="1"/>
          </p:cNvSpPr>
          <p:nvPr>
            <p:ph type="ftr" sz="quarter" idx="32"/>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5A8B1959-9BAC-198B-C7AA-7973A6674E29}"/>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271768727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6"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5"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FC948D56-CA2B-1F32-1A1D-F64C6DDC1DF7}"/>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4B137546-4981-7744-91DC-2E34648D15BD}"/>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093533E0-CB75-2B41-6F1F-2D2453655739}"/>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701904390"/>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2 column / 1 row chart / table single head">
    <p:spTree>
      <p:nvGrpSpPr>
        <p:cNvPr id="1" name=""/>
        <p:cNvGrpSpPr/>
        <p:nvPr/>
      </p:nvGrpSpPr>
      <p:grpSpPr>
        <a:xfrm>
          <a:off x="0" y="0"/>
          <a:ext cx="0" cy="0"/>
          <a:chOff x="0" y="0"/>
          <a:chExt cx="0" cy="0"/>
        </a:xfrm>
      </p:grpSpPr>
      <p:sp>
        <p:nvSpPr>
          <p:cNvPr id="20" name="Text Placeholder 12"/>
          <p:cNvSpPr>
            <a:spLocks noGrp="1"/>
          </p:cNvSpPr>
          <p:nvPr>
            <p:ph type="body" sz="quarter" idx="17" hasCustomPrompt="1"/>
          </p:nvPr>
        </p:nvSpPr>
        <p:spPr>
          <a:xfrm>
            <a:off x="5904001" y="1439863"/>
            <a:ext cx="5040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5039737" cy="288000"/>
          </a:xfrm>
        </p:spPr>
        <p:txBody>
          <a:bodyPr/>
          <a:lstStyle>
            <a:lvl1pPr algn="ctr">
              <a:defRPr cap="all" spc="0" baseline="0"/>
            </a:lvl1pPr>
          </a:lstStyle>
          <a:p>
            <a:pPr lvl="0"/>
            <a:r>
              <a:rPr lang="en-US" dirty="0"/>
              <a:t>Single line heading</a:t>
            </a:r>
          </a:p>
        </p:txBody>
      </p:sp>
      <p:sp>
        <p:nvSpPr>
          <p:cNvPr id="9" name="Content Placeholder 3"/>
          <p:cNvSpPr>
            <a:spLocks noGrp="1"/>
          </p:cNvSpPr>
          <p:nvPr>
            <p:ph sz="quarter" idx="31"/>
          </p:nvPr>
        </p:nvSpPr>
        <p:spPr>
          <a:xfrm>
            <a:off x="5904001" y="1727863"/>
            <a:ext cx="5040225"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p:cNvSpPr>
            <a:spLocks noGrp="1"/>
          </p:cNvSpPr>
          <p:nvPr>
            <p:ph sz="quarter" idx="30"/>
          </p:nvPr>
        </p:nvSpPr>
        <p:spPr>
          <a:xfrm>
            <a:off x="576263" y="1727863"/>
            <a:ext cx="5039737"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4" name="Source">
            <a:extLst>
              <a:ext uri="{FF2B5EF4-FFF2-40B4-BE49-F238E27FC236}">
                <a16:creationId xmlns:a16="http://schemas.microsoft.com/office/drawing/2014/main" id="{8A7A820F-602B-DD20-8A57-3060E9DA086B}"/>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5" name="Text Placeholder 5">
            <a:extLst>
              <a:ext uri="{FF2B5EF4-FFF2-40B4-BE49-F238E27FC236}">
                <a16:creationId xmlns:a16="http://schemas.microsoft.com/office/drawing/2014/main" id="{3F1F6191-C141-F56A-C562-D9E21219F6D5}"/>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6" name="Title 5">
            <a:extLst>
              <a:ext uri="{FF2B5EF4-FFF2-40B4-BE49-F238E27FC236}">
                <a16:creationId xmlns:a16="http://schemas.microsoft.com/office/drawing/2014/main" id="{52AFD575-D302-2CB9-CA0D-54A12888A8C8}"/>
              </a:ext>
            </a:extLst>
          </p:cNvPr>
          <p:cNvSpPr>
            <a:spLocks noGrp="1"/>
          </p:cNvSpPr>
          <p:nvPr>
            <p:ph type="title"/>
          </p:nvPr>
        </p:nvSpPr>
        <p:spPr/>
        <p:txBody>
          <a:bodyPr/>
          <a:lstStyle/>
          <a:p>
            <a:r>
              <a:rPr lang="en-US"/>
              <a:t>Click to edit Master title style</a:t>
            </a:r>
            <a:endParaRPr lang="en-GB"/>
          </a:p>
        </p:txBody>
      </p:sp>
      <p:sp>
        <p:nvSpPr>
          <p:cNvPr id="7" name="Footer Placeholder 6">
            <a:extLst>
              <a:ext uri="{FF2B5EF4-FFF2-40B4-BE49-F238E27FC236}">
                <a16:creationId xmlns:a16="http://schemas.microsoft.com/office/drawing/2014/main" id="{B2751788-372A-C602-1384-0F5E60AF9F33}"/>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E8A2ABC6-FD2E-D0DC-860D-408AEA26CB8F}"/>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2033114081"/>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5"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3"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4" name="Source">
            <a:extLst>
              <a:ext uri="{FF2B5EF4-FFF2-40B4-BE49-F238E27FC236}">
                <a16:creationId xmlns:a16="http://schemas.microsoft.com/office/drawing/2014/main" id="{2E2A37C5-50B6-44E9-B421-1E3D7DD3C6A4}"/>
              </a:ext>
            </a:extLst>
          </p:cNvPr>
          <p:cNvSpPr>
            <a:spLocks noGrp="1"/>
          </p:cNvSpPr>
          <p:nvPr>
            <p:ph sz="quarter" idx="12" hasCustomPrompt="1"/>
          </p:nvPr>
        </p:nvSpPr>
        <p:spPr>
          <a:xfrm>
            <a:off x="576265"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5"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B1606E74-C774-873E-BFDD-28CF4EA435C3}"/>
              </a:ext>
            </a:extLst>
          </p:cNvPr>
          <p:cNvSpPr>
            <a:spLocks noGrp="1"/>
          </p:cNvSpPr>
          <p:nvPr>
            <p:ph type="ftr" sz="quarter" idx="16"/>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40FFD75F-8879-D799-AE9A-B07A68B64A23}"/>
              </a:ext>
            </a:extLst>
          </p:cNvPr>
          <p:cNvSpPr>
            <a:spLocks noGrp="1"/>
          </p:cNvSpPr>
          <p:nvPr>
            <p:ph type="body" sz="quarter" idx="17" hasCustomPrompt="1"/>
          </p:nvPr>
        </p:nvSpPr>
        <p:spPr>
          <a:xfrm>
            <a:off x="576265" y="288002"/>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4229321971"/>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3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7703782"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023"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20"/>
          </p:nvPr>
        </p:nvSpPr>
        <p:spPr>
          <a:xfrm>
            <a:off x="576263"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p:cNvSpPr>
            <a:spLocks noGrp="1"/>
          </p:cNvSpPr>
          <p:nvPr>
            <p:ph sz="quarter" idx="21"/>
          </p:nvPr>
        </p:nvSpPr>
        <p:spPr>
          <a:xfrm>
            <a:off x="4140023"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p:cNvSpPr>
            <a:spLocks noGrp="1"/>
          </p:cNvSpPr>
          <p:nvPr>
            <p:ph sz="quarter" idx="22"/>
          </p:nvPr>
        </p:nvSpPr>
        <p:spPr>
          <a:xfrm>
            <a:off x="7704227"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23"/>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73DD59A8-1A5B-D5CC-B1DD-9B3DD12DB139}"/>
              </a:ext>
            </a:extLst>
          </p:cNvPr>
          <p:cNvSpPr>
            <a:spLocks noGrp="1"/>
          </p:cNvSpPr>
          <p:nvPr>
            <p:ph sz="quarter" idx="12" hasCustomPrompt="1"/>
          </p:nvPr>
        </p:nvSpPr>
        <p:spPr>
          <a:xfrm>
            <a:off x="576265"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7" name="Text Placeholder 5">
            <a:extLst>
              <a:ext uri="{FF2B5EF4-FFF2-40B4-BE49-F238E27FC236}">
                <a16:creationId xmlns:a16="http://schemas.microsoft.com/office/drawing/2014/main" id="{1BB28D4C-0BFA-C698-9C0C-A247DB4AE46B}"/>
              </a:ext>
            </a:extLst>
          </p:cNvPr>
          <p:cNvSpPr>
            <a:spLocks noGrp="1"/>
          </p:cNvSpPr>
          <p:nvPr>
            <p:ph type="body" sz="quarter" idx="11"/>
          </p:nvPr>
        </p:nvSpPr>
        <p:spPr>
          <a:xfrm>
            <a:off x="576265"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4AE33DC0-053B-603D-970B-1BC65594FF96}"/>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B16B62F7-F764-0E16-5F75-E5754DE1F541}"/>
              </a:ext>
            </a:extLst>
          </p:cNvPr>
          <p:cNvSpPr>
            <a:spLocks noGrp="1"/>
          </p:cNvSpPr>
          <p:nvPr>
            <p:ph type="ftr" sz="quarter" idx="24"/>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99FD241D-722C-08E2-05FB-905D8FE27E21}"/>
              </a:ext>
            </a:extLst>
          </p:cNvPr>
          <p:cNvSpPr>
            <a:spLocks noGrp="1"/>
          </p:cNvSpPr>
          <p:nvPr>
            <p:ph type="body" sz="quarter" idx="14" hasCustomPrompt="1"/>
          </p:nvPr>
        </p:nvSpPr>
        <p:spPr>
          <a:xfrm>
            <a:off x="576265" y="288002"/>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1473485384"/>
      </p:ext>
    </p:extLst>
  </p:cSld>
  <p:clrMapOvr>
    <a:masterClrMapping/>
  </p:clrMapOvr>
  <p:extLst>
    <p:ext uri="{DCECCB84-F9BA-43D5-87BE-67443E8EF086}">
      <p15:sldGuideLst xmlns:p15="http://schemas.microsoft.com/office/powerpoint/2012/main">
        <p15:guide id="2" pos="2404">
          <p15:clr>
            <a:srgbClr val="FBAE40"/>
          </p15:clr>
        </p15:guide>
        <p15:guide id="3" pos="2608">
          <p15:clr>
            <a:srgbClr val="FBAE40"/>
          </p15:clr>
        </p15:guide>
        <p15:guide id="4" pos="4649">
          <p15:clr>
            <a:srgbClr val="FBAE40"/>
          </p15:clr>
        </p15:guide>
        <p15:guide id="5" pos="48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8" name="Source"/>
          <p:cNvSpPr>
            <a:spLocks noGrp="1"/>
          </p:cNvSpPr>
          <p:nvPr>
            <p:ph sz="quarter" idx="12" hasCustomPrompt="1"/>
          </p:nvPr>
        </p:nvSpPr>
        <p:spPr>
          <a:xfrm>
            <a:off x="576265"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5"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8E82600F-EA60-1E7B-8DEB-0F7F0075A3F4}"/>
              </a:ext>
            </a:extLst>
          </p:cNvPr>
          <p:cNvSpPr>
            <a:spLocks noGrp="1"/>
          </p:cNvSpPr>
          <p:nvPr>
            <p:ph type="ftr" sz="quarter" idx="14"/>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6444DFA0-FC0E-B6BE-E421-AC2359DFFDDA}"/>
              </a:ext>
            </a:extLst>
          </p:cNvPr>
          <p:cNvSpPr>
            <a:spLocks noGrp="1"/>
          </p:cNvSpPr>
          <p:nvPr>
            <p:ph type="body" sz="quarter" idx="15" hasCustomPrompt="1"/>
          </p:nvPr>
        </p:nvSpPr>
        <p:spPr>
          <a:xfrm>
            <a:off x="576265" y="288002"/>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1710301367"/>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B5FBA745-38C1-7E46-53C7-9482014134A9}"/>
              </a:ext>
            </a:extLst>
          </p:cNvPr>
          <p:cNvSpPr>
            <a:spLocks noGrp="1"/>
          </p:cNvSpPr>
          <p:nvPr>
            <p:ph sz="quarter" idx="12" hasCustomPrompt="1"/>
          </p:nvPr>
        </p:nvSpPr>
        <p:spPr>
          <a:xfrm>
            <a:off x="576265"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5"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F149AD40-D7D1-7EA5-3220-97B9C147E5B2}"/>
              </a:ext>
            </a:extLst>
          </p:cNvPr>
          <p:cNvSpPr>
            <a:spLocks noGrp="1"/>
          </p:cNvSpPr>
          <p:nvPr>
            <p:ph type="ftr" sz="quarter" idx="32"/>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5A8B1959-9BAC-198B-C7AA-7973A6674E29}"/>
              </a:ext>
            </a:extLst>
          </p:cNvPr>
          <p:cNvSpPr>
            <a:spLocks noGrp="1"/>
          </p:cNvSpPr>
          <p:nvPr>
            <p:ph type="body" sz="quarter" idx="14" hasCustomPrompt="1"/>
          </p:nvPr>
        </p:nvSpPr>
        <p:spPr>
          <a:xfrm>
            <a:off x="576265" y="288002"/>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2834415219"/>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1_Formal_Back Cover">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0720F4-371A-74B6-217A-9F369AADB449}"/>
              </a:ext>
            </a:extLst>
          </p:cNvPr>
          <p:cNvSpPr/>
          <p:nvPr userDrawn="1"/>
        </p:nvSpPr>
        <p:spPr>
          <a:xfrm>
            <a:off x="10944227" y="2"/>
            <a:ext cx="576263" cy="6480175"/>
          </a:xfrm>
          <a:prstGeom prst="rect">
            <a:avLst/>
          </a:prstGeom>
          <a:pattFill prst="wdUpDiag">
            <a:fgClr>
              <a:schemeClr val="accent3"/>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8" rIns="91438" bIns="45718" numCol="1" spcCol="0" rtlCol="0" fromWordArt="0" anchor="ctr" anchorCtr="0" forceAA="0" compatLnSpc="1">
            <a:prstTxWarp prst="textNoShape">
              <a:avLst/>
            </a:prstTxWarp>
            <a:noAutofit/>
          </a:bodyPr>
          <a:lstStyle/>
          <a:p>
            <a:pPr algn="ctr">
              <a:lnSpc>
                <a:spcPct val="90000"/>
              </a:lnSpc>
            </a:pPr>
            <a:endParaRPr lang="en-US" sz="1701" b="1" dirty="0"/>
          </a:p>
        </p:txBody>
      </p:sp>
      <p:pic>
        <p:nvPicPr>
          <p:cNvPr id="4" name="Graphic 3">
            <a:extLst>
              <a:ext uri="{FF2B5EF4-FFF2-40B4-BE49-F238E27FC236}">
                <a16:creationId xmlns:a16="http://schemas.microsoft.com/office/drawing/2014/main" id="{6D01FD1F-225F-F993-FFAA-8477C449884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931686" y="6013481"/>
            <a:ext cx="3817323" cy="395557"/>
          </a:xfrm>
          <a:prstGeom prst="rect">
            <a:avLst/>
          </a:prstGeom>
        </p:spPr>
      </p:pic>
      <p:sp>
        <p:nvSpPr>
          <p:cNvPr id="3" name="Text Placeholder 6">
            <a:extLst>
              <a:ext uri="{FF2B5EF4-FFF2-40B4-BE49-F238E27FC236}">
                <a16:creationId xmlns:a16="http://schemas.microsoft.com/office/drawing/2014/main" id="{F446116A-3180-9A4B-D0E9-0734C7719406}"/>
              </a:ext>
            </a:extLst>
          </p:cNvPr>
          <p:cNvSpPr>
            <a:spLocks noGrp="1"/>
          </p:cNvSpPr>
          <p:nvPr>
            <p:ph type="body" sz="quarter" idx="11" hasCustomPrompt="1"/>
          </p:nvPr>
        </p:nvSpPr>
        <p:spPr>
          <a:xfrm>
            <a:off x="576264" y="4136227"/>
            <a:ext cx="6154398"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59" indent="0">
              <a:buNone/>
              <a:defRPr/>
            </a:lvl2pPr>
            <a:lvl3pPr marL="344478" indent="0">
              <a:buNone/>
              <a:defRPr/>
            </a:lvl3pPr>
            <a:lvl4pPr marL="514337" indent="0">
              <a:buNone/>
              <a:defRPr/>
            </a:lvl4pPr>
            <a:lvl5pPr marL="688958" indent="0">
              <a:buNone/>
              <a:defRPr/>
            </a:lvl5pPr>
          </a:lstStyle>
          <a:p>
            <a:pPr lvl="0"/>
            <a:r>
              <a:rPr lang="en-US" dirty="0"/>
              <a:t>Subhead 1-3 Lines Title Case Avenir Next 18pt Orange</a:t>
            </a:r>
          </a:p>
        </p:txBody>
      </p:sp>
      <p:sp>
        <p:nvSpPr>
          <p:cNvPr id="5" name="Title 1">
            <a:extLst>
              <a:ext uri="{FF2B5EF4-FFF2-40B4-BE49-F238E27FC236}">
                <a16:creationId xmlns:a16="http://schemas.microsoft.com/office/drawing/2014/main" id="{4D84FAD1-A4CC-A3C8-F6FD-1D25101BD0B6}"/>
              </a:ext>
            </a:extLst>
          </p:cNvPr>
          <p:cNvSpPr>
            <a:spLocks noGrp="1"/>
          </p:cNvSpPr>
          <p:nvPr>
            <p:ph type="title" hasCustomPrompt="1"/>
          </p:nvPr>
        </p:nvSpPr>
        <p:spPr>
          <a:xfrm>
            <a:off x="576263" y="2239636"/>
            <a:ext cx="6829378" cy="1563189"/>
          </a:xfrm>
        </p:spPr>
        <p:txBody>
          <a:bodyPr anchor="b" anchorCtr="0"/>
          <a:lstStyle>
            <a:lvl1pPr>
              <a:lnSpc>
                <a:spcPct val="80000"/>
              </a:lnSpc>
              <a:defRPr sz="5400" cap="all" baseline="0">
                <a:solidFill>
                  <a:schemeClr val="bg1"/>
                </a:solidFill>
              </a:defRPr>
            </a:lvl1pPr>
          </a:lstStyle>
          <a:p>
            <a:r>
              <a:rPr lang="en-US" dirty="0"/>
              <a:t>Back Cover</a:t>
            </a:r>
            <a:endParaRPr lang="en-GB" dirty="0"/>
          </a:p>
        </p:txBody>
      </p:sp>
      <p:sp>
        <p:nvSpPr>
          <p:cNvPr id="6" name="Footer Placeholder 5">
            <a:extLst>
              <a:ext uri="{FF2B5EF4-FFF2-40B4-BE49-F238E27FC236}">
                <a16:creationId xmlns:a16="http://schemas.microsoft.com/office/drawing/2014/main" id="{0F0D1A19-3DD5-0885-3B32-C007121C8E4B}"/>
              </a:ext>
            </a:extLst>
          </p:cNvPr>
          <p:cNvSpPr>
            <a:spLocks noGrp="1"/>
          </p:cNvSpPr>
          <p:nvPr>
            <p:ph type="ftr" sz="quarter" idx="12"/>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Only. Not for Use with the General Public.</a:t>
            </a:r>
            <a:endParaRPr lang="en-GB" i="1" dirty="0">
              <a:latin typeface="AvenirNext LT Pro Bold" panose="020B0504020202020204" pitchFamily="34" charset="77"/>
            </a:endParaRPr>
          </a:p>
        </p:txBody>
      </p:sp>
      <p:sp>
        <p:nvSpPr>
          <p:cNvPr id="7" name="Slide Number Placeholder 6">
            <a:extLst>
              <a:ext uri="{FF2B5EF4-FFF2-40B4-BE49-F238E27FC236}">
                <a16:creationId xmlns:a16="http://schemas.microsoft.com/office/drawing/2014/main" id="{ABCF9E85-276F-6763-156C-A0E76A373261}"/>
              </a:ext>
            </a:extLst>
          </p:cNvPr>
          <p:cNvSpPr>
            <a:spLocks noGrp="1"/>
          </p:cNvSpPr>
          <p:nvPr>
            <p:ph type="sldNum" sz="quarter" idx="13"/>
          </p:nvPr>
        </p:nvSpPr>
        <p:spPr/>
        <p:txBody>
          <a:bodyPr/>
          <a:lstStyle>
            <a:lvl1pPr>
              <a:defRPr>
                <a:solidFill>
                  <a:schemeClr val="bg1"/>
                </a:solidFill>
              </a:defRPr>
            </a:lvl1pPr>
          </a:lstStyle>
          <a:p>
            <a:fld id="{0F961903-03AF-4EAC-BF2C-945F8C5557D1}" type="slidenum">
              <a:rPr lang="en-GB" smtClean="0"/>
              <a:pPr/>
              <a:t>‹#›</a:t>
            </a:fld>
            <a:endParaRPr lang="en-GB" dirty="0"/>
          </a:p>
        </p:txBody>
      </p:sp>
    </p:spTree>
    <p:extLst>
      <p:ext uri="{BB962C8B-B14F-4D97-AF65-F5344CB8AC3E}">
        <p14:creationId xmlns:p14="http://schemas.microsoft.com/office/powerpoint/2010/main" val="2058326886"/>
      </p:ext>
    </p:extLst>
  </p:cSld>
  <p:clrMapOvr>
    <a:masterClrMapping/>
  </p:clrMapOvr>
  <p:extLst>
    <p:ext uri="{DCECCB84-F9BA-43D5-87BE-67443E8EF086}">
      <p15:sldGuideLst xmlns:p15="http://schemas.microsoft.com/office/powerpoint/2012/main">
        <p15:guide id="1" pos="544">
          <p15:clr>
            <a:srgbClr val="FBAE40"/>
          </p15:clr>
        </p15:guide>
        <p15:guide id="2" pos="671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6"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5"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FC948D56-CA2B-1F32-1A1D-F64C6DDC1DF7}"/>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4B137546-4981-7744-91DC-2E34648D15BD}"/>
              </a:ext>
            </a:extLst>
          </p:cNvPr>
          <p:cNvSpPr>
            <a:spLocks noGrp="1"/>
          </p:cNvSpPr>
          <p:nvPr>
            <p:ph type="ftr" sz="quarter" idx="36"/>
          </p:nvPr>
        </p:nvSpPr>
        <p:spPr/>
        <p:txBody>
          <a:bodyPr/>
          <a:lstStyle/>
          <a:p>
            <a:r>
              <a:rPr lang="en-GB" i="1">
                <a:solidFill>
                  <a:schemeClr val="accent1"/>
                </a:solidFill>
                <a:latin typeface="Avenir Next LT Pro" panose="020B0504020202020204" pitchFamily="34" charset="77"/>
              </a:rPr>
              <a:t>For Use with Financial Professionals Only. Not for Use with the General Public.</a:t>
            </a:r>
            <a:endParaRPr lang="en-GB" i="1" dirty="0">
              <a:solidFill>
                <a:schemeClr val="accent1"/>
              </a:solidFill>
              <a:latin typeface="Avenir Next LT Pro" panose="020B0504020202020204" pitchFamily="34" charset="77"/>
            </a:endParaRPr>
          </a:p>
        </p:txBody>
      </p:sp>
      <p:sp>
        <p:nvSpPr>
          <p:cNvPr id="2" name="Text Placeholder 5">
            <a:extLst>
              <a:ext uri="{FF2B5EF4-FFF2-40B4-BE49-F238E27FC236}">
                <a16:creationId xmlns:a16="http://schemas.microsoft.com/office/drawing/2014/main" id="{093533E0-CB75-2B41-6F1F-2D2453655739}"/>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1927230374"/>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chevron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0"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Chevron 1">
            <a:extLst>
              <a:ext uri="{FF2B5EF4-FFF2-40B4-BE49-F238E27FC236}">
                <a16:creationId xmlns:a16="http://schemas.microsoft.com/office/drawing/2014/main" id="{23F043BF-FDB6-EFCD-8E0A-C1E080A1A1FA}"/>
              </a:ext>
            </a:extLst>
          </p:cNvPr>
          <p:cNvSpPr/>
          <p:nvPr userDrawn="1"/>
        </p:nvSpPr>
        <p:spPr>
          <a:xfrm>
            <a:off x="8027682"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8" name="Chevron 7">
            <a:extLst>
              <a:ext uri="{FF2B5EF4-FFF2-40B4-BE49-F238E27FC236}">
                <a16:creationId xmlns:a16="http://schemas.microsoft.com/office/drawing/2014/main" id="{49817F1D-9B86-2B54-642D-88BB24A203CA}"/>
              </a:ext>
            </a:extLst>
          </p:cNvPr>
          <p:cNvSpPr/>
          <p:nvPr userDrawn="1"/>
        </p:nvSpPr>
        <p:spPr>
          <a:xfrm>
            <a:off x="9148666"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13" name="Title 1">
            <a:extLst>
              <a:ext uri="{FF2B5EF4-FFF2-40B4-BE49-F238E27FC236}">
                <a16:creationId xmlns:a16="http://schemas.microsoft.com/office/drawing/2014/main" id="{A76F056C-A36E-1918-83D0-747F1E0C4B3D}"/>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B458D999-F164-FB0F-14E1-8249E5DCFE33}"/>
              </a:ext>
            </a:extLst>
          </p:cNvPr>
          <p:cNvSpPr/>
          <p:nvPr userDrawn="1"/>
        </p:nvSpPr>
        <p:spPr>
          <a:xfrm>
            <a:off x="0" y="24479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2" name="Source">
            <a:extLst>
              <a:ext uri="{FF2B5EF4-FFF2-40B4-BE49-F238E27FC236}">
                <a16:creationId xmlns:a16="http://schemas.microsoft.com/office/drawing/2014/main" id="{E471CE19-2D35-615E-4BD7-0ADF6EF7D1F5}"/>
              </a:ext>
            </a:extLst>
          </p:cNvPr>
          <p:cNvSpPr>
            <a:spLocks noGrp="1"/>
          </p:cNvSpPr>
          <p:nvPr>
            <p:ph sz="quarter" idx="15" hasCustomPrompt="1"/>
          </p:nvPr>
        </p:nvSpPr>
        <p:spPr>
          <a:xfrm>
            <a:off x="863599" y="5093589"/>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Tree>
    <p:extLst>
      <p:ext uri="{BB962C8B-B14F-4D97-AF65-F5344CB8AC3E}">
        <p14:creationId xmlns:p14="http://schemas.microsoft.com/office/powerpoint/2010/main" val="4175942042"/>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 - Agenda">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C371D3E-E861-0085-22E5-585D930E73AF}"/>
              </a:ext>
            </a:extLst>
          </p:cNvPr>
          <p:cNvSpPr/>
          <p:nvPr userDrawn="1"/>
        </p:nvSpPr>
        <p:spPr>
          <a:xfrm>
            <a:off x="4973011" y="6082324"/>
            <a:ext cx="589904" cy="397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4" name="Rectangle 3">
            <a:extLst>
              <a:ext uri="{FF2B5EF4-FFF2-40B4-BE49-F238E27FC236}">
                <a16:creationId xmlns:a16="http://schemas.microsoft.com/office/drawing/2014/main" id="{239F6D87-F5CE-38A2-2EBD-651365D87335}"/>
              </a:ext>
            </a:extLst>
          </p:cNvPr>
          <p:cNvSpPr/>
          <p:nvPr userDrawn="1"/>
        </p:nvSpPr>
        <p:spPr>
          <a:xfrm>
            <a:off x="0" y="0"/>
            <a:ext cx="5184220"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7" name="Text Placeholder 4">
            <a:extLst>
              <a:ext uri="{FF2B5EF4-FFF2-40B4-BE49-F238E27FC236}">
                <a16:creationId xmlns:a16="http://schemas.microsoft.com/office/drawing/2014/main" id="{59ACC2F0-EED5-0A49-AEC2-4E08EAA876FD}"/>
              </a:ext>
            </a:extLst>
          </p:cNvPr>
          <p:cNvSpPr>
            <a:spLocks noGrp="1"/>
          </p:cNvSpPr>
          <p:nvPr>
            <p:ph type="body" sz="quarter" idx="12" hasCustomPrompt="1"/>
          </p:nvPr>
        </p:nvSpPr>
        <p:spPr>
          <a:xfrm>
            <a:off x="5682311" y="485913"/>
            <a:ext cx="1054077" cy="328330"/>
          </a:xfrm>
          <a:prstGeom prst="rect">
            <a:avLst/>
          </a:prstGeom>
        </p:spPr>
        <p:txBody>
          <a:bodyPr lIns="0" anchor="ctr" anchorCtr="0"/>
          <a:lstStyle>
            <a:lvl1pPr marL="0" indent="0">
              <a:buNone/>
              <a:defRPr sz="1134" b="1" i="0" spc="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ME</a:t>
            </a:r>
          </a:p>
        </p:txBody>
      </p:sp>
      <p:sp>
        <p:nvSpPr>
          <p:cNvPr id="8" name="Text Placeholder 4">
            <a:extLst>
              <a:ext uri="{FF2B5EF4-FFF2-40B4-BE49-F238E27FC236}">
                <a16:creationId xmlns:a16="http://schemas.microsoft.com/office/drawing/2014/main" id="{06C4BB88-7B66-A54E-A240-A8217286D25F}"/>
              </a:ext>
            </a:extLst>
          </p:cNvPr>
          <p:cNvSpPr>
            <a:spLocks noGrp="1"/>
          </p:cNvSpPr>
          <p:nvPr>
            <p:ph type="body" sz="quarter" idx="13" hasCustomPrompt="1"/>
          </p:nvPr>
        </p:nvSpPr>
        <p:spPr>
          <a:xfrm>
            <a:off x="7107892" y="485913"/>
            <a:ext cx="1054077" cy="328330"/>
          </a:xfrm>
          <a:prstGeom prst="rect">
            <a:avLst/>
          </a:prstGeom>
        </p:spPr>
        <p:txBody>
          <a:bodyPr lIns="0" anchor="ctr" anchorCtr="0"/>
          <a:lstStyle>
            <a:lvl1pPr marL="0" indent="0">
              <a:buNone/>
              <a:defRPr sz="1134" b="1" i="0" spc="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EVENT</a:t>
            </a:r>
          </a:p>
        </p:txBody>
      </p:sp>
      <p:sp>
        <p:nvSpPr>
          <p:cNvPr id="9" name="Text Placeholder 4">
            <a:extLst>
              <a:ext uri="{FF2B5EF4-FFF2-40B4-BE49-F238E27FC236}">
                <a16:creationId xmlns:a16="http://schemas.microsoft.com/office/drawing/2014/main" id="{572BDFD8-4068-D646-8AA4-E1917B8A0DD9}"/>
              </a:ext>
            </a:extLst>
          </p:cNvPr>
          <p:cNvSpPr>
            <a:spLocks noGrp="1"/>
          </p:cNvSpPr>
          <p:nvPr>
            <p:ph type="body" sz="quarter" idx="14" hasCustomPrompt="1"/>
          </p:nvPr>
        </p:nvSpPr>
        <p:spPr>
          <a:xfrm>
            <a:off x="8683489" y="485913"/>
            <a:ext cx="1054077" cy="328330"/>
          </a:xfrm>
          <a:prstGeom prst="rect">
            <a:avLst/>
          </a:prstGeom>
        </p:spPr>
        <p:txBody>
          <a:bodyPr lIns="0" anchor="ctr" anchorCtr="0"/>
          <a:lstStyle>
            <a:lvl1pPr marL="0" indent="0">
              <a:buNone/>
              <a:defRPr sz="1134" b="1" i="0" spc="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PEAKER</a:t>
            </a:r>
          </a:p>
        </p:txBody>
      </p:sp>
      <p:sp>
        <p:nvSpPr>
          <p:cNvPr id="11" name="Table Placeholder 10">
            <a:extLst>
              <a:ext uri="{FF2B5EF4-FFF2-40B4-BE49-F238E27FC236}">
                <a16:creationId xmlns:a16="http://schemas.microsoft.com/office/drawing/2014/main" id="{43467FB2-7488-B44C-8665-15184934DD99}"/>
              </a:ext>
            </a:extLst>
          </p:cNvPr>
          <p:cNvSpPr>
            <a:spLocks noGrp="1"/>
          </p:cNvSpPr>
          <p:nvPr>
            <p:ph type="tbl" sz="quarter" idx="15" hasCustomPrompt="1"/>
          </p:nvPr>
        </p:nvSpPr>
        <p:spPr>
          <a:xfrm>
            <a:off x="5682311" y="972027"/>
            <a:ext cx="5262152" cy="4933826"/>
          </a:xfrm>
          <a:prstGeom prst="rect">
            <a:avLst/>
          </a:prstGeom>
          <a:solidFill>
            <a:schemeClr val="bg1">
              <a:lumMod val="95000"/>
            </a:schemeClr>
          </a:solidFill>
        </p:spPr>
        <p:txBody>
          <a:bodyPr/>
          <a:lstStyle>
            <a:lvl1pPr marL="0" indent="0">
              <a:buNone/>
              <a:defRPr sz="1134">
                <a:solidFill>
                  <a:schemeClr val="tx1"/>
                </a:solidFill>
                <a:latin typeface="Avenir Next" panose="020B0503020202020204" pitchFamily="34" charset="0"/>
              </a:defRPr>
            </a:lvl1pPr>
          </a:lstStyle>
          <a:p>
            <a:r>
              <a:rPr lang="en-US" dirty="0"/>
              <a:t>Insert Agenda Tabl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13" name="Text Placeholder 12">
            <a:extLst>
              <a:ext uri="{FF2B5EF4-FFF2-40B4-BE49-F238E27FC236}">
                <a16:creationId xmlns:a16="http://schemas.microsoft.com/office/drawing/2014/main" id="{B586ACC0-1D38-369E-CDE5-2CCBCCDCC8F1}"/>
              </a:ext>
            </a:extLst>
          </p:cNvPr>
          <p:cNvSpPr>
            <a:spLocks noGrp="1"/>
          </p:cNvSpPr>
          <p:nvPr>
            <p:ph type="body" sz="quarter" idx="16" hasCustomPrompt="1"/>
          </p:nvPr>
        </p:nvSpPr>
        <p:spPr>
          <a:xfrm>
            <a:off x="576025" y="485914"/>
            <a:ext cx="4282682" cy="328330"/>
          </a:xfrm>
          <a:prstGeom prst="rect">
            <a:avLst/>
          </a:prstGeom>
        </p:spPr>
        <p:txBody>
          <a:bodyPr lIns="0" tIns="0"/>
          <a:lstStyle>
            <a:lvl1pPr marL="0" indent="0">
              <a:buNone/>
              <a:defRPr sz="1512">
                <a:solidFill>
                  <a:schemeClr val="accent5">
                    <a:lumMod val="50000"/>
                  </a:schemeClr>
                </a:solidFill>
                <a:latin typeface="Avenir Next LT Pro" panose="020B0504020202020204" pitchFamily="34" charset="77"/>
              </a:defRPr>
            </a:lvl1pPr>
            <a:lvl2pPr marL="160504" indent="0">
              <a:buNone/>
              <a:defRPr>
                <a:solidFill>
                  <a:schemeClr val="accent1">
                    <a:lumMod val="90000"/>
                    <a:lumOff val="10000"/>
                  </a:schemeClr>
                </a:solidFill>
              </a:defRPr>
            </a:lvl2pPr>
            <a:lvl3pPr marL="325506" indent="0">
              <a:buNone/>
              <a:defRPr>
                <a:solidFill>
                  <a:schemeClr val="accent1">
                    <a:lumMod val="90000"/>
                    <a:lumOff val="10000"/>
                  </a:schemeClr>
                </a:solidFill>
              </a:defRPr>
            </a:lvl3pPr>
            <a:lvl4pPr marL="486009" indent="0">
              <a:buNone/>
              <a:defRPr>
                <a:solidFill>
                  <a:schemeClr val="accent1">
                    <a:lumMod val="90000"/>
                    <a:lumOff val="10000"/>
                  </a:schemeClr>
                </a:solidFill>
              </a:defRPr>
            </a:lvl4pPr>
            <a:lvl5pPr marL="651012" indent="0">
              <a:buNone/>
              <a:defRPr>
                <a:solidFill>
                  <a:schemeClr val="accent1">
                    <a:lumMod val="90000"/>
                    <a:lumOff val="10000"/>
                  </a:schemeClr>
                </a:solidFill>
              </a:defRPr>
            </a:lvl5pPr>
          </a:lstStyle>
          <a:p>
            <a:pPr lvl="0"/>
            <a:r>
              <a:rPr lang="en-US" dirty="0"/>
              <a:t>DATE / TIME</a:t>
            </a:r>
          </a:p>
        </p:txBody>
      </p:sp>
      <p:sp>
        <p:nvSpPr>
          <p:cNvPr id="14" name="Text Placeholder 13">
            <a:extLst>
              <a:ext uri="{FF2B5EF4-FFF2-40B4-BE49-F238E27FC236}">
                <a16:creationId xmlns:a16="http://schemas.microsoft.com/office/drawing/2014/main" id="{27D7237B-0472-CF45-F41A-BA739F8A8FDA}"/>
              </a:ext>
            </a:extLst>
          </p:cNvPr>
          <p:cNvSpPr>
            <a:spLocks noGrp="1"/>
          </p:cNvSpPr>
          <p:nvPr>
            <p:ph type="body" sz="quarter" idx="18" hasCustomPrompt="1"/>
          </p:nvPr>
        </p:nvSpPr>
        <p:spPr>
          <a:xfrm>
            <a:off x="576025" y="814243"/>
            <a:ext cx="4282682" cy="590208"/>
          </a:xfrm>
          <a:prstGeom prst="rect">
            <a:avLst/>
          </a:prstGeom>
        </p:spPr>
        <p:txBody>
          <a:bodyPr lIns="0" tIns="0"/>
          <a:lstStyle>
            <a:lvl1pPr marL="0" indent="0">
              <a:buNone/>
              <a:defRPr sz="4158">
                <a:solidFill>
                  <a:schemeClr val="bg1"/>
                </a:solidFill>
                <a:latin typeface="Avenir Next LT Pro" panose="020B0504020202020204" pitchFamily="34" charset="77"/>
              </a:defRPr>
            </a:lvl1pPr>
            <a:lvl2pPr marL="160504" indent="0">
              <a:buNone/>
              <a:defRPr>
                <a:solidFill>
                  <a:schemeClr val="bg1"/>
                </a:solidFill>
                <a:latin typeface="Avenir Next LT Pro" panose="020B0504020202020204" pitchFamily="34" charset="77"/>
              </a:defRPr>
            </a:lvl2pPr>
            <a:lvl3pPr marL="325506" indent="0">
              <a:buNone/>
              <a:defRPr>
                <a:solidFill>
                  <a:schemeClr val="bg1"/>
                </a:solidFill>
                <a:latin typeface="Avenir Next LT Pro" panose="020B0504020202020204" pitchFamily="34" charset="77"/>
              </a:defRPr>
            </a:lvl3pPr>
            <a:lvl4pPr marL="486009" indent="0">
              <a:buNone/>
              <a:defRPr>
                <a:solidFill>
                  <a:schemeClr val="bg1"/>
                </a:solidFill>
                <a:latin typeface="Avenir Next LT Pro" panose="020B0504020202020204" pitchFamily="34" charset="77"/>
              </a:defRPr>
            </a:lvl4pPr>
            <a:lvl5pPr marL="651012" indent="0">
              <a:buNone/>
              <a:defRPr>
                <a:solidFill>
                  <a:schemeClr val="bg1"/>
                </a:solidFill>
                <a:latin typeface="Avenir Next LT Pro" panose="020B0504020202020204" pitchFamily="34" charset="77"/>
              </a:defRPr>
            </a:lvl5pPr>
          </a:lstStyle>
          <a:p>
            <a:pPr lvl="0"/>
            <a:r>
              <a:rPr lang="en-US" dirty="0"/>
              <a:t>AGENDA</a:t>
            </a:r>
          </a:p>
        </p:txBody>
      </p:sp>
      <p:sp>
        <p:nvSpPr>
          <p:cNvPr id="2" name="Rectangle 50">
            <a:extLst>
              <a:ext uri="{FF2B5EF4-FFF2-40B4-BE49-F238E27FC236}">
                <a16:creationId xmlns:a16="http://schemas.microsoft.com/office/drawing/2014/main" id="{783A967C-62BF-2302-70A2-00695786B0A7}"/>
              </a:ext>
            </a:extLst>
          </p:cNvPr>
          <p:cNvSpPr>
            <a:spLocks noChangeArrowheads="1"/>
          </p:cNvSpPr>
          <p:nvPr userDrawn="1"/>
        </p:nvSpPr>
        <p:spPr bwMode="auto">
          <a:xfrm>
            <a:off x="576025" y="6084008"/>
            <a:ext cx="4986890" cy="324961"/>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a:t>
            </a:r>
            <a:br>
              <a:rPr lang="en-US" sz="756" b="1" dirty="0">
                <a:solidFill>
                  <a:schemeClr val="bg1"/>
                </a:solidFill>
                <a:latin typeface="Avenir Next LT Pro" panose="020B0504020202020204" pitchFamily="34" charset="77"/>
              </a:rPr>
            </a:br>
            <a:r>
              <a:rPr lang="en-US" sz="756" b="1" dirty="0">
                <a:solidFill>
                  <a:schemeClr val="bg1"/>
                </a:solidFill>
                <a:latin typeface="Avenir Next LT Pro" panose="020B0504020202020204" pitchFamily="34" charset="77"/>
              </a:rPr>
              <a:t>Not for Use with the General Public.</a:t>
            </a:r>
          </a:p>
        </p:txBody>
      </p:sp>
    </p:spTree>
    <p:extLst>
      <p:ext uri="{BB962C8B-B14F-4D97-AF65-F5344CB8AC3E}">
        <p14:creationId xmlns:p14="http://schemas.microsoft.com/office/powerpoint/2010/main" val="2611482702"/>
      </p:ext>
    </p:extLst>
  </p:cSld>
  <p:clrMapOvr>
    <a:masterClrMapping/>
  </p:clrMapOvr>
  <p:transition>
    <p:wip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 Photo Collage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3628076"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576025" y="3088584"/>
            <a:ext cx="3638049" cy="2116557"/>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sp>
        <p:nvSpPr>
          <p:cNvPr id="14" name="Rectangle 13">
            <a:extLst>
              <a:ext uri="{FF2B5EF4-FFF2-40B4-BE49-F238E27FC236}">
                <a16:creationId xmlns:a16="http://schemas.microsoft.com/office/drawing/2014/main" id="{85A00C00-5E5A-A5B4-D4BD-95590287E6C0}"/>
              </a:ext>
            </a:extLst>
          </p:cNvPr>
          <p:cNvSpPr/>
          <p:nvPr userDrawn="1"/>
        </p:nvSpPr>
        <p:spPr>
          <a:xfrm>
            <a:off x="5457649" y="-1115"/>
            <a:ext cx="6062839" cy="6481290"/>
          </a:xfrm>
          <a:prstGeom prst="rect">
            <a:avLst/>
          </a:prstGeom>
          <a:solidFill>
            <a:srgbClr val="ECE8D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6" name="Picture Placeholder 15">
            <a:extLst>
              <a:ext uri="{FF2B5EF4-FFF2-40B4-BE49-F238E27FC236}">
                <a16:creationId xmlns:a16="http://schemas.microsoft.com/office/drawing/2014/main" id="{A984298A-F9CA-1180-33FC-8CA8186F0748}"/>
              </a:ext>
            </a:extLst>
          </p:cNvPr>
          <p:cNvSpPr>
            <a:spLocks noGrp="1"/>
          </p:cNvSpPr>
          <p:nvPr>
            <p:ph type="pic" sz="quarter" idx="11"/>
          </p:nvPr>
        </p:nvSpPr>
        <p:spPr>
          <a:xfrm>
            <a:off x="5663041" y="-907824"/>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17" name="Picture Placeholder 15">
            <a:extLst>
              <a:ext uri="{FF2B5EF4-FFF2-40B4-BE49-F238E27FC236}">
                <a16:creationId xmlns:a16="http://schemas.microsoft.com/office/drawing/2014/main" id="{6A944B5A-1968-D91A-7C9A-E411A6CF9260}"/>
              </a:ext>
            </a:extLst>
          </p:cNvPr>
          <p:cNvSpPr>
            <a:spLocks noGrp="1"/>
          </p:cNvSpPr>
          <p:nvPr>
            <p:ph type="pic" sz="quarter" idx="12"/>
          </p:nvPr>
        </p:nvSpPr>
        <p:spPr>
          <a:xfrm>
            <a:off x="7623473" y="-1688029"/>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18" name="Picture Placeholder 15">
            <a:extLst>
              <a:ext uri="{FF2B5EF4-FFF2-40B4-BE49-F238E27FC236}">
                <a16:creationId xmlns:a16="http://schemas.microsoft.com/office/drawing/2014/main" id="{7CA25526-492F-2424-6C76-D8B72AE74CF1}"/>
              </a:ext>
            </a:extLst>
          </p:cNvPr>
          <p:cNvSpPr>
            <a:spLocks noGrp="1"/>
          </p:cNvSpPr>
          <p:nvPr>
            <p:ph type="pic" sz="quarter" idx="13"/>
          </p:nvPr>
        </p:nvSpPr>
        <p:spPr>
          <a:xfrm>
            <a:off x="9583906" y="-907824"/>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19" name="Picture Placeholder 15">
            <a:extLst>
              <a:ext uri="{FF2B5EF4-FFF2-40B4-BE49-F238E27FC236}">
                <a16:creationId xmlns:a16="http://schemas.microsoft.com/office/drawing/2014/main" id="{04F0BAFB-6969-55C3-FECF-B982DADA695E}"/>
              </a:ext>
            </a:extLst>
          </p:cNvPr>
          <p:cNvSpPr>
            <a:spLocks noGrp="1"/>
          </p:cNvSpPr>
          <p:nvPr>
            <p:ph type="pic" sz="quarter" idx="14"/>
          </p:nvPr>
        </p:nvSpPr>
        <p:spPr>
          <a:xfrm>
            <a:off x="5663041" y="2235061"/>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20" name="Picture Placeholder 15">
            <a:extLst>
              <a:ext uri="{FF2B5EF4-FFF2-40B4-BE49-F238E27FC236}">
                <a16:creationId xmlns:a16="http://schemas.microsoft.com/office/drawing/2014/main" id="{87940A6B-AD93-D4D8-CC37-964C561206B8}"/>
              </a:ext>
            </a:extLst>
          </p:cNvPr>
          <p:cNvSpPr>
            <a:spLocks noGrp="1"/>
          </p:cNvSpPr>
          <p:nvPr>
            <p:ph type="pic" sz="quarter" idx="15"/>
          </p:nvPr>
        </p:nvSpPr>
        <p:spPr>
          <a:xfrm>
            <a:off x="7623473" y="1454856"/>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21" name="Picture Placeholder 15">
            <a:extLst>
              <a:ext uri="{FF2B5EF4-FFF2-40B4-BE49-F238E27FC236}">
                <a16:creationId xmlns:a16="http://schemas.microsoft.com/office/drawing/2014/main" id="{9780006C-637A-31E7-95F1-265F3F800F42}"/>
              </a:ext>
            </a:extLst>
          </p:cNvPr>
          <p:cNvSpPr>
            <a:spLocks noGrp="1"/>
          </p:cNvSpPr>
          <p:nvPr>
            <p:ph type="pic" sz="quarter" idx="16"/>
          </p:nvPr>
        </p:nvSpPr>
        <p:spPr>
          <a:xfrm>
            <a:off x="9583906" y="2235061"/>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663041" y="5387988"/>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23" name="Picture Placeholder 15">
            <a:extLst>
              <a:ext uri="{FF2B5EF4-FFF2-40B4-BE49-F238E27FC236}">
                <a16:creationId xmlns:a16="http://schemas.microsoft.com/office/drawing/2014/main" id="{E22BCD43-FD89-B981-152A-6AFA829BF6C2}"/>
              </a:ext>
            </a:extLst>
          </p:cNvPr>
          <p:cNvSpPr>
            <a:spLocks noGrp="1"/>
          </p:cNvSpPr>
          <p:nvPr>
            <p:ph type="pic" sz="quarter" idx="18"/>
          </p:nvPr>
        </p:nvSpPr>
        <p:spPr>
          <a:xfrm>
            <a:off x="7623473" y="4607784"/>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9583906" y="5387988"/>
            <a:ext cx="1741274" cy="2949080"/>
          </a:xfrm>
          <a:prstGeom prst="rect">
            <a:avLst/>
          </a:prstGeom>
          <a:solidFill>
            <a:schemeClr val="accent6"/>
          </a:solidFill>
          <a:ln>
            <a:noFill/>
          </a:ln>
        </p:spPr>
        <p:txBody>
          <a:bodyPr/>
          <a:lstStyle>
            <a:lvl1pPr marL="0" indent="0">
              <a:buNone/>
              <a:defRPr>
                <a:latin typeface="Avenir Next LT Pro" panose="020B0504020202020204" pitchFamily="34" charset="77"/>
              </a:defRPr>
            </a:lvl1pPr>
          </a:lstStyle>
          <a:p>
            <a:endParaRPr lang="en-US"/>
          </a:p>
        </p:txBody>
      </p:sp>
      <p:sp>
        <p:nvSpPr>
          <p:cNvPr id="3" name="Rectangle 50">
            <a:extLst>
              <a:ext uri="{FF2B5EF4-FFF2-40B4-BE49-F238E27FC236}">
                <a16:creationId xmlns:a16="http://schemas.microsoft.com/office/drawing/2014/main" id="{45465884-A7E8-2010-762A-1FADE24482DB}"/>
              </a:ext>
            </a:extLst>
          </p:cNvPr>
          <p:cNvSpPr>
            <a:spLocks noChangeArrowheads="1"/>
          </p:cNvSpPr>
          <p:nvPr userDrawn="1"/>
        </p:nvSpPr>
        <p:spPr bwMode="auto">
          <a:xfrm>
            <a:off x="576025" y="6084008"/>
            <a:ext cx="4986890" cy="324961"/>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a:t>
            </a:r>
            <a:br>
              <a:rPr lang="en-US" sz="756" b="1" dirty="0">
                <a:solidFill>
                  <a:schemeClr val="bg1"/>
                </a:solidFill>
                <a:latin typeface="Avenir Next LT Pro" panose="020B0504020202020204" pitchFamily="34" charset="77"/>
              </a:rPr>
            </a:br>
            <a:r>
              <a:rPr lang="en-US" sz="756" b="1" dirty="0">
                <a:solidFill>
                  <a:schemeClr val="bg1"/>
                </a:solidFill>
                <a:latin typeface="Avenir Next LT Pro" panose="020B0504020202020204" pitchFamily="34" charset="77"/>
              </a:rPr>
              <a:t>Not for Use with the General Public.</a:t>
            </a:r>
          </a:p>
        </p:txBody>
      </p:sp>
    </p:spTree>
    <p:extLst>
      <p:ext uri="{BB962C8B-B14F-4D97-AF65-F5344CB8AC3E}">
        <p14:creationId xmlns:p14="http://schemas.microsoft.com/office/powerpoint/2010/main" val="2773757141"/>
      </p:ext>
    </p:extLst>
  </p:cSld>
  <p:clrMapOvr>
    <a:masterClrMapping/>
  </p:clrMapOvr>
  <p:transition>
    <p:wip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 - Photo Collage - newsprint">
    <p:bg>
      <p:bgPr>
        <a:solidFill>
          <a:schemeClr val="bg1"/>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200790BF-8581-5DDA-BAE3-41355C2532FF}"/>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6" y="2573743"/>
            <a:ext cx="365830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tx2"/>
              </a:solidFill>
              <a:latin typeface="Avenir Next LT Pro" panose="020B0504020202020204" pitchFamily="34" charset="77"/>
            </a:endParaRPr>
          </a:p>
        </p:txBody>
      </p:sp>
      <p:sp>
        <p:nvSpPr>
          <p:cNvPr id="14" name="Rectangle 13">
            <a:extLst>
              <a:ext uri="{FF2B5EF4-FFF2-40B4-BE49-F238E27FC236}">
                <a16:creationId xmlns:a16="http://schemas.microsoft.com/office/drawing/2014/main" id="{85A00C00-5E5A-A5B4-D4BD-95590287E6C0}"/>
              </a:ext>
            </a:extLst>
          </p:cNvPr>
          <p:cNvSpPr/>
          <p:nvPr userDrawn="1"/>
        </p:nvSpPr>
        <p:spPr>
          <a:xfrm>
            <a:off x="5457649" y="-1115"/>
            <a:ext cx="6062839" cy="648129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6" name="Picture Placeholder 15">
            <a:extLst>
              <a:ext uri="{FF2B5EF4-FFF2-40B4-BE49-F238E27FC236}">
                <a16:creationId xmlns:a16="http://schemas.microsoft.com/office/drawing/2014/main" id="{A984298A-F9CA-1180-33FC-8CA8186F0748}"/>
              </a:ext>
            </a:extLst>
          </p:cNvPr>
          <p:cNvSpPr>
            <a:spLocks noGrp="1"/>
          </p:cNvSpPr>
          <p:nvPr>
            <p:ph type="pic" sz="quarter" idx="11"/>
          </p:nvPr>
        </p:nvSpPr>
        <p:spPr>
          <a:xfrm>
            <a:off x="5663041" y="-907824"/>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17" name="Picture Placeholder 15">
            <a:extLst>
              <a:ext uri="{FF2B5EF4-FFF2-40B4-BE49-F238E27FC236}">
                <a16:creationId xmlns:a16="http://schemas.microsoft.com/office/drawing/2014/main" id="{6A944B5A-1968-D91A-7C9A-E411A6CF9260}"/>
              </a:ext>
            </a:extLst>
          </p:cNvPr>
          <p:cNvSpPr>
            <a:spLocks noGrp="1"/>
          </p:cNvSpPr>
          <p:nvPr>
            <p:ph type="pic" sz="quarter" idx="12"/>
          </p:nvPr>
        </p:nvSpPr>
        <p:spPr>
          <a:xfrm>
            <a:off x="7623473" y="-1688029"/>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18" name="Picture Placeholder 15">
            <a:extLst>
              <a:ext uri="{FF2B5EF4-FFF2-40B4-BE49-F238E27FC236}">
                <a16:creationId xmlns:a16="http://schemas.microsoft.com/office/drawing/2014/main" id="{7CA25526-492F-2424-6C76-D8B72AE74CF1}"/>
              </a:ext>
            </a:extLst>
          </p:cNvPr>
          <p:cNvSpPr>
            <a:spLocks noGrp="1"/>
          </p:cNvSpPr>
          <p:nvPr>
            <p:ph type="pic" sz="quarter" idx="13"/>
          </p:nvPr>
        </p:nvSpPr>
        <p:spPr>
          <a:xfrm>
            <a:off x="9583906" y="-907824"/>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19" name="Picture Placeholder 15">
            <a:extLst>
              <a:ext uri="{FF2B5EF4-FFF2-40B4-BE49-F238E27FC236}">
                <a16:creationId xmlns:a16="http://schemas.microsoft.com/office/drawing/2014/main" id="{04F0BAFB-6969-55C3-FECF-B982DADA695E}"/>
              </a:ext>
            </a:extLst>
          </p:cNvPr>
          <p:cNvSpPr>
            <a:spLocks noGrp="1"/>
          </p:cNvSpPr>
          <p:nvPr>
            <p:ph type="pic" sz="quarter" idx="14"/>
          </p:nvPr>
        </p:nvSpPr>
        <p:spPr>
          <a:xfrm>
            <a:off x="5663041" y="2235061"/>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20" name="Picture Placeholder 15">
            <a:extLst>
              <a:ext uri="{FF2B5EF4-FFF2-40B4-BE49-F238E27FC236}">
                <a16:creationId xmlns:a16="http://schemas.microsoft.com/office/drawing/2014/main" id="{87940A6B-AD93-D4D8-CC37-964C561206B8}"/>
              </a:ext>
            </a:extLst>
          </p:cNvPr>
          <p:cNvSpPr>
            <a:spLocks noGrp="1"/>
          </p:cNvSpPr>
          <p:nvPr>
            <p:ph type="pic" sz="quarter" idx="15"/>
          </p:nvPr>
        </p:nvSpPr>
        <p:spPr>
          <a:xfrm>
            <a:off x="7623473" y="1454856"/>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21" name="Picture Placeholder 15">
            <a:extLst>
              <a:ext uri="{FF2B5EF4-FFF2-40B4-BE49-F238E27FC236}">
                <a16:creationId xmlns:a16="http://schemas.microsoft.com/office/drawing/2014/main" id="{9780006C-637A-31E7-95F1-265F3F800F42}"/>
              </a:ext>
            </a:extLst>
          </p:cNvPr>
          <p:cNvSpPr>
            <a:spLocks noGrp="1"/>
          </p:cNvSpPr>
          <p:nvPr>
            <p:ph type="pic" sz="quarter" idx="16"/>
          </p:nvPr>
        </p:nvSpPr>
        <p:spPr>
          <a:xfrm>
            <a:off x="9583906" y="2235061"/>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663041" y="5387988"/>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23" name="Picture Placeholder 15">
            <a:extLst>
              <a:ext uri="{FF2B5EF4-FFF2-40B4-BE49-F238E27FC236}">
                <a16:creationId xmlns:a16="http://schemas.microsoft.com/office/drawing/2014/main" id="{E22BCD43-FD89-B981-152A-6AFA829BF6C2}"/>
              </a:ext>
            </a:extLst>
          </p:cNvPr>
          <p:cNvSpPr>
            <a:spLocks noGrp="1"/>
          </p:cNvSpPr>
          <p:nvPr>
            <p:ph type="pic" sz="quarter" idx="18"/>
          </p:nvPr>
        </p:nvSpPr>
        <p:spPr>
          <a:xfrm>
            <a:off x="7623473" y="4607784"/>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9583906" y="5387988"/>
            <a:ext cx="1741274" cy="2949080"/>
          </a:xfrm>
          <a:prstGeom prst="rect">
            <a:avLst/>
          </a:prstGeom>
          <a:solidFill>
            <a:schemeClr val="accent6"/>
          </a:solidFill>
        </p:spPr>
        <p:txBody>
          <a:bodyPr/>
          <a:lstStyle>
            <a:lvl1pPr marL="0" indent="0">
              <a:buNone/>
              <a:defRPr>
                <a:latin typeface="Avenir Next LT Pro" panose="020B0504020202020204" pitchFamily="34" charset="77"/>
              </a:defRPr>
            </a:lvl1pPr>
          </a:lstStyle>
          <a:p>
            <a:endParaRPr lang="en-US"/>
          </a:p>
        </p:txBody>
      </p:sp>
      <p:sp>
        <p:nvSpPr>
          <p:cNvPr id="5" name="Text Placeholder 4">
            <a:extLst>
              <a:ext uri="{FF2B5EF4-FFF2-40B4-BE49-F238E27FC236}">
                <a16:creationId xmlns:a16="http://schemas.microsoft.com/office/drawing/2014/main" id="{A3CB3FBF-1AEC-4AE8-83C7-7BA5087FEEDA}"/>
              </a:ext>
            </a:extLst>
          </p:cNvPr>
          <p:cNvSpPr>
            <a:spLocks noGrp="1"/>
          </p:cNvSpPr>
          <p:nvPr>
            <p:ph type="body" sz="quarter" idx="20"/>
          </p:nvPr>
        </p:nvSpPr>
        <p:spPr>
          <a:xfrm>
            <a:off x="576025" y="3088584"/>
            <a:ext cx="3668365" cy="2116557"/>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endParaRPr lang="en-US" sz="1039" dirty="0">
              <a:solidFill>
                <a:srgbClr val="000000"/>
              </a:solidFill>
            </a:endParaRPr>
          </a:p>
        </p:txBody>
      </p:sp>
    </p:spTree>
    <p:extLst>
      <p:ext uri="{BB962C8B-B14F-4D97-AF65-F5344CB8AC3E}">
        <p14:creationId xmlns:p14="http://schemas.microsoft.com/office/powerpoint/2010/main" val="3478669248"/>
      </p:ext>
    </p:extLst>
  </p:cSld>
  <p:clrMapOvr>
    <a:masterClrMapping/>
  </p:clrMapOvr>
  <p:transition>
    <p:wip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 - Content with mobile phones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panose="020B0503020202020204" pitchFamily="34" charset="0"/>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3628076"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576025" y="3088584"/>
            <a:ext cx="3638049" cy="2116557"/>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pic>
        <p:nvPicPr>
          <p:cNvPr id="3" name="Picture 2" descr="iPhone-6-Flat-Mockup---Black.png">
            <a:extLst>
              <a:ext uri="{FF2B5EF4-FFF2-40B4-BE49-F238E27FC236}">
                <a16:creationId xmlns:a16="http://schemas.microsoft.com/office/drawing/2014/main" id="{C1058111-83D7-D93C-A350-B3A5E232638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7770813" y="-698842"/>
            <a:ext cx="3196253" cy="6064536"/>
          </a:xfrm>
          <a:prstGeom prst="rect">
            <a:avLst/>
          </a:prstGeom>
        </p:spPr>
      </p:pic>
      <p:pic>
        <p:nvPicPr>
          <p:cNvPr id="5" name="Picture 4" descr="iPhone-6-Flat-Mockup---Black.png">
            <a:extLst>
              <a:ext uri="{FF2B5EF4-FFF2-40B4-BE49-F238E27FC236}">
                <a16:creationId xmlns:a16="http://schemas.microsoft.com/office/drawing/2014/main" id="{8355D63B-06E8-3A59-0A24-7738EF44643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471768" y="1201145"/>
            <a:ext cx="3196253" cy="6193878"/>
          </a:xfrm>
          <a:prstGeom prst="rect">
            <a:avLst/>
          </a:prstGeom>
        </p:spPr>
      </p:pic>
      <p:sp>
        <p:nvSpPr>
          <p:cNvPr id="8" name="Picture Placeholder 7">
            <a:extLst>
              <a:ext uri="{FF2B5EF4-FFF2-40B4-BE49-F238E27FC236}">
                <a16:creationId xmlns:a16="http://schemas.microsoft.com/office/drawing/2014/main" id="{ED80A8EE-89F6-3AD9-636A-842A3EC71FEE}"/>
              </a:ext>
            </a:extLst>
          </p:cNvPr>
          <p:cNvSpPr>
            <a:spLocks noGrp="1"/>
          </p:cNvSpPr>
          <p:nvPr>
            <p:ph type="pic" sz="quarter" idx="11"/>
          </p:nvPr>
        </p:nvSpPr>
        <p:spPr>
          <a:xfrm>
            <a:off x="4726701" y="2032556"/>
            <a:ext cx="2757117" cy="45496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9" name="Picture Placeholder 7">
            <a:extLst>
              <a:ext uri="{FF2B5EF4-FFF2-40B4-BE49-F238E27FC236}">
                <a16:creationId xmlns:a16="http://schemas.microsoft.com/office/drawing/2014/main" id="{EC59697E-FC92-AA33-7FDF-0241C26A2280}"/>
              </a:ext>
            </a:extLst>
          </p:cNvPr>
          <p:cNvSpPr>
            <a:spLocks noGrp="1"/>
          </p:cNvSpPr>
          <p:nvPr>
            <p:ph type="pic" sz="quarter" idx="12"/>
          </p:nvPr>
        </p:nvSpPr>
        <p:spPr>
          <a:xfrm>
            <a:off x="8004957" y="44805"/>
            <a:ext cx="2757117" cy="45496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pic>
        <p:nvPicPr>
          <p:cNvPr id="11" name="Picture 10">
            <a:extLst>
              <a:ext uri="{FF2B5EF4-FFF2-40B4-BE49-F238E27FC236}">
                <a16:creationId xmlns:a16="http://schemas.microsoft.com/office/drawing/2014/main" id="{AE8CCE49-86E0-63FD-3B27-21B9ED79D159}"/>
              </a:ext>
            </a:extLst>
          </p:cNvPr>
          <p:cNvPicPr>
            <a:picLocks noChangeAspect="1"/>
          </p:cNvPicPr>
          <p:nvPr userDrawn="1"/>
        </p:nvPicPr>
        <p:blipFill>
          <a:blip r:embed="rId3"/>
          <a:stretch>
            <a:fillRect/>
          </a:stretch>
        </p:blipFill>
        <p:spPr>
          <a:xfrm>
            <a:off x="9354396" y="6142501"/>
            <a:ext cx="1893795" cy="152200"/>
          </a:xfrm>
          <a:prstGeom prst="rect">
            <a:avLst/>
          </a:prstGeom>
        </p:spPr>
      </p:pic>
      <p:sp>
        <p:nvSpPr>
          <p:cNvPr id="12" name="Rectangle 50">
            <a:extLst>
              <a:ext uri="{FF2B5EF4-FFF2-40B4-BE49-F238E27FC236}">
                <a16:creationId xmlns:a16="http://schemas.microsoft.com/office/drawing/2014/main" id="{362EA196-1DDE-E4AC-5B59-292882C37157}"/>
              </a:ext>
            </a:extLst>
          </p:cNvPr>
          <p:cNvSpPr>
            <a:spLocks noChangeArrowheads="1"/>
          </p:cNvSpPr>
          <p:nvPr userDrawn="1"/>
        </p:nvSpPr>
        <p:spPr bwMode="auto">
          <a:xfrm>
            <a:off x="576025" y="6084008"/>
            <a:ext cx="4986890" cy="324961"/>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a:t>
            </a:r>
            <a:br>
              <a:rPr lang="en-US" sz="756" b="1" dirty="0">
                <a:solidFill>
                  <a:schemeClr val="bg1"/>
                </a:solidFill>
                <a:latin typeface="Avenir Next LT Pro" panose="020B0504020202020204" pitchFamily="34" charset="77"/>
              </a:rPr>
            </a:br>
            <a:r>
              <a:rPr lang="en-US" sz="756" b="1" dirty="0">
                <a:solidFill>
                  <a:schemeClr val="bg1"/>
                </a:solidFill>
                <a:latin typeface="Avenir Next LT Pro" panose="020B0504020202020204" pitchFamily="34" charset="77"/>
              </a:rPr>
              <a:t>Not for Use with the General Public.</a:t>
            </a:r>
          </a:p>
        </p:txBody>
      </p:sp>
    </p:spTree>
    <p:extLst>
      <p:ext uri="{BB962C8B-B14F-4D97-AF65-F5344CB8AC3E}">
        <p14:creationId xmlns:p14="http://schemas.microsoft.com/office/powerpoint/2010/main" val="880890878"/>
      </p:ext>
    </p:extLst>
  </p:cSld>
  <p:clrMapOvr>
    <a:masterClrMapping/>
  </p:clrMapOvr>
  <p:transition>
    <p:wip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 Content with mobile phones - newsprint">
    <p:bg>
      <p:bgPr>
        <a:solidFill>
          <a:schemeClr val="bg1"/>
        </a:solidFill>
        <a:effectLst/>
      </p:bgPr>
    </p:bg>
    <p:spTree>
      <p:nvGrpSpPr>
        <p:cNvPr id="1" name=""/>
        <p:cNvGrpSpPr/>
        <p:nvPr/>
      </p:nvGrpSpPr>
      <p:grpSpPr>
        <a:xfrm>
          <a:off x="0" y="0"/>
          <a:ext cx="0" cy="0"/>
          <a:chOff x="0" y="0"/>
          <a:chExt cx="0" cy="0"/>
        </a:xfrm>
      </p:grpSpPr>
      <p:sp>
        <p:nvSpPr>
          <p:cNvPr id="8" name="Rectangle 50">
            <a:extLst>
              <a:ext uri="{FF2B5EF4-FFF2-40B4-BE49-F238E27FC236}">
                <a16:creationId xmlns:a16="http://schemas.microsoft.com/office/drawing/2014/main" id="{78F74482-6DDB-80A5-AB50-A4CDCE5DDDA8}"/>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6" y="2573743"/>
            <a:ext cx="365830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tx2"/>
              </a:solidFill>
              <a:latin typeface="Avenir Next LT Pro" panose="020B0504020202020204" pitchFamily="34" charset="77"/>
            </a:endParaRPr>
          </a:p>
        </p:txBody>
      </p:sp>
      <p:sp>
        <p:nvSpPr>
          <p:cNvPr id="5" name="Text Placeholder 4">
            <a:extLst>
              <a:ext uri="{FF2B5EF4-FFF2-40B4-BE49-F238E27FC236}">
                <a16:creationId xmlns:a16="http://schemas.microsoft.com/office/drawing/2014/main" id="{A3CB3FBF-1AEC-4AE8-83C7-7BA5087FEEDA}"/>
              </a:ext>
            </a:extLst>
          </p:cNvPr>
          <p:cNvSpPr>
            <a:spLocks noGrp="1"/>
          </p:cNvSpPr>
          <p:nvPr>
            <p:ph type="body" sz="quarter" idx="20" hasCustomPrompt="1"/>
          </p:nvPr>
        </p:nvSpPr>
        <p:spPr>
          <a:xfrm>
            <a:off x="576025" y="3088584"/>
            <a:ext cx="3668365" cy="2116557"/>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r>
              <a:rPr lang="en-US" sz="1039" dirty="0">
                <a:solidFill>
                  <a:srgbClr val="000000"/>
                </a:solidFill>
              </a:rPr>
              <a:t>Click to add text</a:t>
            </a:r>
          </a:p>
        </p:txBody>
      </p:sp>
      <p:pic>
        <p:nvPicPr>
          <p:cNvPr id="3" name="Picture 2" descr="iPhone-6-Flat-Mockup---Black.png">
            <a:extLst>
              <a:ext uri="{FF2B5EF4-FFF2-40B4-BE49-F238E27FC236}">
                <a16:creationId xmlns:a16="http://schemas.microsoft.com/office/drawing/2014/main" id="{1FD9706D-EE9F-7748-3818-FAD37522EB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7770813" y="-698842"/>
            <a:ext cx="3196253" cy="6064536"/>
          </a:xfrm>
          <a:prstGeom prst="rect">
            <a:avLst/>
          </a:prstGeom>
        </p:spPr>
      </p:pic>
      <p:pic>
        <p:nvPicPr>
          <p:cNvPr id="4" name="Picture 3" descr="iPhone-6-Flat-Mockup---Black.png">
            <a:extLst>
              <a:ext uri="{FF2B5EF4-FFF2-40B4-BE49-F238E27FC236}">
                <a16:creationId xmlns:a16="http://schemas.microsoft.com/office/drawing/2014/main" id="{6B4E151C-5B7D-06CB-3AD2-7904C4C65DC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471768" y="1201145"/>
            <a:ext cx="3196253" cy="6193878"/>
          </a:xfrm>
          <a:prstGeom prst="rect">
            <a:avLst/>
          </a:prstGeom>
        </p:spPr>
      </p:pic>
      <p:sp>
        <p:nvSpPr>
          <p:cNvPr id="6" name="Picture Placeholder 7">
            <a:extLst>
              <a:ext uri="{FF2B5EF4-FFF2-40B4-BE49-F238E27FC236}">
                <a16:creationId xmlns:a16="http://schemas.microsoft.com/office/drawing/2014/main" id="{3131E72B-E7CD-556A-28FD-E485B718D0D1}"/>
              </a:ext>
            </a:extLst>
          </p:cNvPr>
          <p:cNvSpPr>
            <a:spLocks noGrp="1"/>
          </p:cNvSpPr>
          <p:nvPr>
            <p:ph type="pic" sz="quarter" idx="11"/>
          </p:nvPr>
        </p:nvSpPr>
        <p:spPr>
          <a:xfrm>
            <a:off x="4726701" y="2032556"/>
            <a:ext cx="2757117" cy="45496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7" name="Picture Placeholder 7">
            <a:extLst>
              <a:ext uri="{FF2B5EF4-FFF2-40B4-BE49-F238E27FC236}">
                <a16:creationId xmlns:a16="http://schemas.microsoft.com/office/drawing/2014/main" id="{968553F9-37D3-D159-915B-0560EC3DCDAD}"/>
              </a:ext>
            </a:extLst>
          </p:cNvPr>
          <p:cNvSpPr>
            <a:spLocks noGrp="1"/>
          </p:cNvSpPr>
          <p:nvPr>
            <p:ph type="pic" sz="quarter" idx="12"/>
          </p:nvPr>
        </p:nvSpPr>
        <p:spPr>
          <a:xfrm>
            <a:off x="8004957" y="44805"/>
            <a:ext cx="2757117" cy="45496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Tree>
    <p:extLst>
      <p:ext uri="{BB962C8B-B14F-4D97-AF65-F5344CB8AC3E}">
        <p14:creationId xmlns:p14="http://schemas.microsoft.com/office/powerpoint/2010/main" val="1792057200"/>
      </p:ext>
    </p:extLst>
  </p:cSld>
  <p:clrMapOvr>
    <a:masterClrMapping/>
  </p:clrMapOvr>
  <p:transition>
    <p:wip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 - Content with image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panose="020B0503020202020204" pitchFamily="34" charset="0"/>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3628076"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576025" y="3088584"/>
            <a:ext cx="3638049" cy="2116557"/>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457649" y="-1115"/>
            <a:ext cx="6062839" cy="648129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3" name="Rectangle 50">
            <a:extLst>
              <a:ext uri="{FF2B5EF4-FFF2-40B4-BE49-F238E27FC236}">
                <a16:creationId xmlns:a16="http://schemas.microsoft.com/office/drawing/2014/main" id="{6B2B944D-410B-85F2-7B97-628A23FB4017}"/>
              </a:ext>
            </a:extLst>
          </p:cNvPr>
          <p:cNvSpPr>
            <a:spLocks noChangeArrowheads="1"/>
          </p:cNvSpPr>
          <p:nvPr userDrawn="1"/>
        </p:nvSpPr>
        <p:spPr bwMode="auto">
          <a:xfrm>
            <a:off x="576025" y="6084008"/>
            <a:ext cx="4986890" cy="324961"/>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a:t>
            </a:r>
            <a:br>
              <a:rPr lang="en-US" sz="756" b="1" dirty="0">
                <a:solidFill>
                  <a:schemeClr val="bg1"/>
                </a:solidFill>
                <a:latin typeface="Avenir Next LT Pro" panose="020B0504020202020204" pitchFamily="34" charset="77"/>
              </a:rPr>
            </a:br>
            <a:r>
              <a:rPr lang="en-US" sz="756" b="1" dirty="0">
                <a:solidFill>
                  <a:schemeClr val="bg1"/>
                </a:solidFill>
                <a:latin typeface="Avenir Next LT Pro" panose="020B0504020202020204" pitchFamily="34" charset="77"/>
              </a:rPr>
              <a:t>Not for Use with the General Public.</a:t>
            </a:r>
          </a:p>
        </p:txBody>
      </p:sp>
    </p:spTree>
    <p:extLst>
      <p:ext uri="{BB962C8B-B14F-4D97-AF65-F5344CB8AC3E}">
        <p14:creationId xmlns:p14="http://schemas.microsoft.com/office/powerpoint/2010/main" val="1365148014"/>
      </p:ext>
    </p:extLst>
  </p:cSld>
  <p:clrMapOvr>
    <a:masterClrMapping/>
  </p:clrMapOvr>
  <p:transition>
    <p:wip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 - Content with image - newsprint">
    <p:bg>
      <p:bgPr>
        <a:solidFill>
          <a:schemeClr val="bg1"/>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68F7A4C9-AE82-9EC7-CA72-3BD7A51A7614}"/>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6" y="2573743"/>
            <a:ext cx="365830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tx2"/>
              </a:solidFill>
              <a:latin typeface="Avenir Next LT Pro" panose="020B0504020202020204" pitchFamily="34" charset="77"/>
            </a:endParaRPr>
          </a:p>
        </p:txBody>
      </p:sp>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5457649" y="-1115"/>
            <a:ext cx="6062839" cy="648129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5" name="Text Placeholder 4">
            <a:extLst>
              <a:ext uri="{FF2B5EF4-FFF2-40B4-BE49-F238E27FC236}">
                <a16:creationId xmlns:a16="http://schemas.microsoft.com/office/drawing/2014/main" id="{A3CB3FBF-1AEC-4AE8-83C7-7BA5087FEEDA}"/>
              </a:ext>
            </a:extLst>
          </p:cNvPr>
          <p:cNvSpPr>
            <a:spLocks noGrp="1"/>
          </p:cNvSpPr>
          <p:nvPr>
            <p:ph type="body" sz="quarter" idx="20"/>
          </p:nvPr>
        </p:nvSpPr>
        <p:spPr>
          <a:xfrm>
            <a:off x="576025" y="3088584"/>
            <a:ext cx="3668365" cy="2116557"/>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endParaRPr lang="en-US" sz="1039" dirty="0">
              <a:solidFill>
                <a:srgbClr val="000000"/>
              </a:solidFill>
            </a:endParaRPr>
          </a:p>
        </p:txBody>
      </p:sp>
    </p:spTree>
    <p:extLst>
      <p:ext uri="{BB962C8B-B14F-4D97-AF65-F5344CB8AC3E}">
        <p14:creationId xmlns:p14="http://schemas.microsoft.com/office/powerpoint/2010/main" val="1856860043"/>
      </p:ext>
    </p:extLst>
  </p:cSld>
  <p:clrMapOvr>
    <a:masterClrMapping/>
  </p:clrMapOvr>
  <p:transition>
    <p:wip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5 - Project slide with image - dark">
    <p:bg>
      <p:bgPr>
        <a:solidFill>
          <a:srgbClr val="00243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45078" y="1756095"/>
            <a:ext cx="4782659"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645076" y="2270936"/>
            <a:ext cx="4782661" cy="1169999"/>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6092752" y="-1115"/>
            <a:ext cx="5427736" cy="648129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7" name="Rectangle 26">
            <a:extLst>
              <a:ext uri="{FF2B5EF4-FFF2-40B4-BE49-F238E27FC236}">
                <a16:creationId xmlns:a16="http://schemas.microsoft.com/office/drawing/2014/main" id="{D2A6FAA1-41C1-5A7D-28A0-E5B1C8613594}"/>
              </a:ext>
            </a:extLst>
          </p:cNvPr>
          <p:cNvSpPr/>
          <p:nvPr userDrawn="1"/>
        </p:nvSpPr>
        <p:spPr>
          <a:xfrm>
            <a:off x="3186119" y="4255062"/>
            <a:ext cx="60553" cy="9255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solidFill>
                <a:schemeClr val="bg2"/>
              </a:solidFill>
              <a:latin typeface="Avenir Next" panose="020B0503020202020204" pitchFamily="34" charset="0"/>
            </a:endParaRPr>
          </a:p>
        </p:txBody>
      </p:sp>
      <p:sp>
        <p:nvSpPr>
          <p:cNvPr id="28" name="Rectangle 27">
            <a:extLst>
              <a:ext uri="{FF2B5EF4-FFF2-40B4-BE49-F238E27FC236}">
                <a16:creationId xmlns:a16="http://schemas.microsoft.com/office/drawing/2014/main" id="{07DE7A7E-906B-5AF4-DE20-DA6B473BAD56}"/>
              </a:ext>
            </a:extLst>
          </p:cNvPr>
          <p:cNvSpPr/>
          <p:nvPr userDrawn="1"/>
        </p:nvSpPr>
        <p:spPr>
          <a:xfrm>
            <a:off x="645076" y="4255062"/>
            <a:ext cx="60553" cy="9255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solidFill>
                <a:schemeClr val="bg2"/>
              </a:solidFill>
              <a:latin typeface="Avenir Next" panose="020B0503020202020204" pitchFamily="34" charset="0"/>
            </a:endParaRPr>
          </a:p>
        </p:txBody>
      </p:sp>
      <p:sp>
        <p:nvSpPr>
          <p:cNvPr id="30" name="Text Placeholder 5">
            <a:extLst>
              <a:ext uri="{FF2B5EF4-FFF2-40B4-BE49-F238E27FC236}">
                <a16:creationId xmlns:a16="http://schemas.microsoft.com/office/drawing/2014/main" id="{5C71529D-AB05-020E-7C25-C3F10B794C04}"/>
              </a:ext>
            </a:extLst>
          </p:cNvPr>
          <p:cNvSpPr>
            <a:spLocks noGrp="1"/>
          </p:cNvSpPr>
          <p:nvPr>
            <p:ph type="body" sz="quarter" idx="18"/>
          </p:nvPr>
        </p:nvSpPr>
        <p:spPr>
          <a:xfrm>
            <a:off x="832603" y="4255062"/>
            <a:ext cx="2023998" cy="929078"/>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sp>
        <p:nvSpPr>
          <p:cNvPr id="31" name="Text Placeholder 5">
            <a:extLst>
              <a:ext uri="{FF2B5EF4-FFF2-40B4-BE49-F238E27FC236}">
                <a16:creationId xmlns:a16="http://schemas.microsoft.com/office/drawing/2014/main" id="{5D12230B-C19C-27EC-6C55-83AB835E3BE3}"/>
              </a:ext>
            </a:extLst>
          </p:cNvPr>
          <p:cNvSpPr>
            <a:spLocks noGrp="1"/>
          </p:cNvSpPr>
          <p:nvPr>
            <p:ph type="body" sz="quarter" idx="19"/>
          </p:nvPr>
        </p:nvSpPr>
        <p:spPr>
          <a:xfrm>
            <a:off x="3403738" y="4255062"/>
            <a:ext cx="2023998" cy="929078"/>
          </a:xfrm>
          <a:prstGeom prst="rect">
            <a:avLst/>
          </a:prstGeom>
        </p:spPr>
        <p:txBody>
          <a:bodyPr lIns="0"/>
          <a:lstStyle>
            <a:lvl1pPr marL="0" indent="0">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sp>
        <p:nvSpPr>
          <p:cNvPr id="3" name="Rectangle 50">
            <a:extLst>
              <a:ext uri="{FF2B5EF4-FFF2-40B4-BE49-F238E27FC236}">
                <a16:creationId xmlns:a16="http://schemas.microsoft.com/office/drawing/2014/main" id="{E3199E5B-C0C0-FEDC-5E0E-EB0E2FDBE922}"/>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3967290584"/>
      </p:ext>
    </p:extLst>
  </p:cSld>
  <p:clrMapOvr>
    <a:masterClrMapping/>
  </p:clrMapOvr>
  <p:transition>
    <p:wip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6 - Project slide with image - newspri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45078" y="1756095"/>
            <a:ext cx="478265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tx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tx2"/>
              </a:solidFill>
              <a:latin typeface="Avenir Next LT Pro" panose="020B0504020202020204" pitchFamily="34" charset="77"/>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6092752" y="-1115"/>
            <a:ext cx="5427736" cy="648129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7" name="Rectangle 26">
            <a:extLst>
              <a:ext uri="{FF2B5EF4-FFF2-40B4-BE49-F238E27FC236}">
                <a16:creationId xmlns:a16="http://schemas.microsoft.com/office/drawing/2014/main" id="{D2A6FAA1-41C1-5A7D-28A0-E5B1C8613594}"/>
              </a:ext>
            </a:extLst>
          </p:cNvPr>
          <p:cNvSpPr/>
          <p:nvPr userDrawn="1"/>
        </p:nvSpPr>
        <p:spPr>
          <a:xfrm>
            <a:off x="3186119" y="4255062"/>
            <a:ext cx="60553" cy="925590"/>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solidFill>
                <a:schemeClr val="bg2"/>
              </a:solidFill>
              <a:latin typeface="Avenir Next" panose="020B0503020202020204" pitchFamily="34" charset="0"/>
            </a:endParaRPr>
          </a:p>
        </p:txBody>
      </p:sp>
      <p:sp>
        <p:nvSpPr>
          <p:cNvPr id="28" name="Rectangle 27">
            <a:extLst>
              <a:ext uri="{FF2B5EF4-FFF2-40B4-BE49-F238E27FC236}">
                <a16:creationId xmlns:a16="http://schemas.microsoft.com/office/drawing/2014/main" id="{07DE7A7E-906B-5AF4-DE20-DA6B473BAD56}"/>
              </a:ext>
            </a:extLst>
          </p:cNvPr>
          <p:cNvSpPr/>
          <p:nvPr userDrawn="1"/>
        </p:nvSpPr>
        <p:spPr>
          <a:xfrm>
            <a:off x="645076" y="4255062"/>
            <a:ext cx="60553" cy="9255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solidFill>
                <a:schemeClr val="bg2"/>
              </a:solidFill>
              <a:latin typeface="Avenir Next" panose="020B0503020202020204" pitchFamily="34" charset="0"/>
            </a:endParaRPr>
          </a:p>
        </p:txBody>
      </p:sp>
      <p:sp>
        <p:nvSpPr>
          <p:cNvPr id="3" name="Text Placeholder 4">
            <a:extLst>
              <a:ext uri="{FF2B5EF4-FFF2-40B4-BE49-F238E27FC236}">
                <a16:creationId xmlns:a16="http://schemas.microsoft.com/office/drawing/2014/main" id="{58B3B1D2-370E-A2DF-AD36-31CBDFFB64B8}"/>
              </a:ext>
            </a:extLst>
          </p:cNvPr>
          <p:cNvSpPr>
            <a:spLocks noGrp="1"/>
          </p:cNvSpPr>
          <p:nvPr>
            <p:ph type="body" sz="quarter" idx="20"/>
          </p:nvPr>
        </p:nvSpPr>
        <p:spPr>
          <a:xfrm>
            <a:off x="643917" y="2270936"/>
            <a:ext cx="4782659" cy="1169999"/>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endParaRPr lang="en-US" sz="1039" dirty="0">
              <a:solidFill>
                <a:srgbClr val="000000"/>
              </a:solidFill>
            </a:endParaRPr>
          </a:p>
        </p:txBody>
      </p:sp>
      <p:sp>
        <p:nvSpPr>
          <p:cNvPr id="4" name="Text Placeholder 4">
            <a:extLst>
              <a:ext uri="{FF2B5EF4-FFF2-40B4-BE49-F238E27FC236}">
                <a16:creationId xmlns:a16="http://schemas.microsoft.com/office/drawing/2014/main" id="{E0F4CE8D-F269-111D-AB4C-2DCBEC14A62C}"/>
              </a:ext>
            </a:extLst>
          </p:cNvPr>
          <p:cNvSpPr>
            <a:spLocks noGrp="1"/>
          </p:cNvSpPr>
          <p:nvPr>
            <p:ph type="body" sz="quarter" idx="21"/>
          </p:nvPr>
        </p:nvSpPr>
        <p:spPr>
          <a:xfrm>
            <a:off x="832604" y="4248714"/>
            <a:ext cx="2023998" cy="931938"/>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endParaRPr lang="en-US" sz="1039" dirty="0">
              <a:solidFill>
                <a:srgbClr val="000000"/>
              </a:solidFill>
            </a:endParaRPr>
          </a:p>
        </p:txBody>
      </p:sp>
      <p:sp>
        <p:nvSpPr>
          <p:cNvPr id="5" name="Text Placeholder 4">
            <a:extLst>
              <a:ext uri="{FF2B5EF4-FFF2-40B4-BE49-F238E27FC236}">
                <a16:creationId xmlns:a16="http://schemas.microsoft.com/office/drawing/2014/main" id="{AB921775-C765-E1DD-FABB-3C2A26CEACA7}"/>
              </a:ext>
            </a:extLst>
          </p:cNvPr>
          <p:cNvSpPr>
            <a:spLocks noGrp="1"/>
          </p:cNvSpPr>
          <p:nvPr>
            <p:ph type="body" sz="quarter" idx="22"/>
          </p:nvPr>
        </p:nvSpPr>
        <p:spPr>
          <a:xfrm>
            <a:off x="3403738" y="4248714"/>
            <a:ext cx="2023998" cy="931938"/>
          </a:xfrm>
          <a:prstGeom prst="rect">
            <a:avLst/>
          </a:prstGeom>
        </p:spPr>
        <p:txBody>
          <a:bodyPr lIns="0"/>
          <a:lstStyle>
            <a:lvl1pPr marL="0" indent="0">
              <a:spcBef>
                <a:spcPts val="1134"/>
              </a:spcBef>
              <a:buNone/>
              <a:defRPr sz="1039">
                <a:solidFill>
                  <a:schemeClr val="tx2"/>
                </a:solidFill>
                <a:latin typeface="Avenir Next LT Pro" panose="020B0504020202020204" pitchFamily="34" charset="77"/>
              </a:defRPr>
            </a:lvl1pPr>
            <a:lvl2pPr marL="160504" indent="0">
              <a:buNone/>
              <a:defRPr sz="1039"/>
            </a:lvl2pPr>
            <a:lvl3pPr marL="325506" indent="0">
              <a:buNone/>
              <a:defRPr sz="1039"/>
            </a:lvl3pPr>
            <a:lvl4pPr marL="486009" indent="0">
              <a:buNone/>
              <a:defRPr sz="1039"/>
            </a:lvl4pPr>
            <a:lvl5pPr marL="651012" indent="0">
              <a:buNone/>
              <a:defRPr sz="1039"/>
            </a:lvl5pPr>
          </a:lstStyle>
          <a:p>
            <a:pPr>
              <a:spcBef>
                <a:spcPts val="1200"/>
              </a:spcBef>
            </a:pPr>
            <a:endParaRPr lang="en-US" sz="1039" dirty="0">
              <a:solidFill>
                <a:srgbClr val="000000"/>
              </a:solidFill>
            </a:endParaRPr>
          </a:p>
        </p:txBody>
      </p:sp>
    </p:spTree>
    <p:extLst>
      <p:ext uri="{BB962C8B-B14F-4D97-AF65-F5344CB8AC3E}">
        <p14:creationId xmlns:p14="http://schemas.microsoft.com/office/powerpoint/2010/main" val="3057911770"/>
      </p:ext>
    </p:extLst>
  </p:cSld>
  <p:clrMapOvr>
    <a:masterClrMapping/>
  </p:clrMapOvr>
  <p:transition>
    <p:wip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 - Headline, copy, 2 col with icons">
    <p:bg>
      <p:bgPr>
        <a:solidFill>
          <a:schemeClr val="bg1"/>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E6ED81F4-CAAE-8D91-9B14-20FBD01C8822}"/>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6" y="2573743"/>
            <a:ext cx="365830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4" name="Rectangle 13">
            <a:extLst>
              <a:ext uri="{FF2B5EF4-FFF2-40B4-BE49-F238E27FC236}">
                <a16:creationId xmlns:a16="http://schemas.microsoft.com/office/drawing/2014/main" id="{85A00C00-5E5A-A5B4-D4BD-95590287E6C0}"/>
              </a:ext>
            </a:extLst>
          </p:cNvPr>
          <p:cNvSpPr/>
          <p:nvPr userDrawn="1"/>
        </p:nvSpPr>
        <p:spPr>
          <a:xfrm>
            <a:off x="5260933" y="-1115"/>
            <a:ext cx="3129778" cy="64812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6" name="Text Placeholder 5">
            <a:extLst>
              <a:ext uri="{FF2B5EF4-FFF2-40B4-BE49-F238E27FC236}">
                <a16:creationId xmlns:a16="http://schemas.microsoft.com/office/drawing/2014/main" id="{43471A51-F19B-E8DA-E9B7-3711557ABB41}"/>
              </a:ext>
            </a:extLst>
          </p:cNvPr>
          <p:cNvSpPr>
            <a:spLocks noGrp="1"/>
          </p:cNvSpPr>
          <p:nvPr>
            <p:ph type="body" sz="quarter" idx="21"/>
          </p:nvPr>
        </p:nvSpPr>
        <p:spPr>
          <a:xfrm>
            <a:off x="576025" y="3072351"/>
            <a:ext cx="3658655" cy="2171791"/>
          </a:xfrm>
          <a:prstGeom prst="rect">
            <a:avLst/>
          </a:prstGeom>
        </p:spPr>
        <p:txBody>
          <a:bodyPr lIns="0"/>
          <a:lstStyle>
            <a:lvl1pPr marL="0" indent="0">
              <a:buNone/>
              <a:defRPr>
                <a:solidFill>
                  <a:schemeClr val="tx2"/>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7" name="Rectangle 6">
            <a:extLst>
              <a:ext uri="{FF2B5EF4-FFF2-40B4-BE49-F238E27FC236}">
                <a16:creationId xmlns:a16="http://schemas.microsoft.com/office/drawing/2014/main" id="{CB25B7CA-0AF9-1A3A-1517-DBCF612EC38E}"/>
              </a:ext>
            </a:extLst>
          </p:cNvPr>
          <p:cNvSpPr/>
          <p:nvPr userDrawn="1"/>
        </p:nvSpPr>
        <p:spPr>
          <a:xfrm>
            <a:off x="8390710" y="-1115"/>
            <a:ext cx="3129778" cy="64812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9" name="Text Placeholder 8">
            <a:extLst>
              <a:ext uri="{FF2B5EF4-FFF2-40B4-BE49-F238E27FC236}">
                <a16:creationId xmlns:a16="http://schemas.microsoft.com/office/drawing/2014/main" id="{6DFC2BC4-F2FF-D49A-2C6C-A3CB7212D607}"/>
              </a:ext>
            </a:extLst>
          </p:cNvPr>
          <p:cNvSpPr>
            <a:spLocks noGrp="1"/>
          </p:cNvSpPr>
          <p:nvPr>
            <p:ph type="body" sz="quarter" idx="22" hasCustomPrompt="1"/>
          </p:nvPr>
        </p:nvSpPr>
        <p:spPr>
          <a:xfrm>
            <a:off x="5570269" y="1713047"/>
            <a:ext cx="2511106" cy="985129"/>
          </a:xfrm>
          <a:prstGeom prst="rect">
            <a:avLst/>
          </a:prstGeom>
        </p:spPr>
        <p:txBody>
          <a:bodyPr lIns="0" rIns="0"/>
          <a:lstStyle>
            <a:lvl1pPr marL="0" indent="0">
              <a:lnSpc>
                <a:spcPts val="3024"/>
              </a:lnSpc>
              <a:buNone/>
              <a:defRPr sz="3024">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15" name="Text Placeholder 8">
            <a:extLst>
              <a:ext uri="{FF2B5EF4-FFF2-40B4-BE49-F238E27FC236}">
                <a16:creationId xmlns:a16="http://schemas.microsoft.com/office/drawing/2014/main" id="{9DE6892E-C4DA-31AC-E1EB-EBC160A00B1F}"/>
              </a:ext>
            </a:extLst>
          </p:cNvPr>
          <p:cNvSpPr>
            <a:spLocks noGrp="1"/>
          </p:cNvSpPr>
          <p:nvPr>
            <p:ph type="body" sz="quarter" idx="23" hasCustomPrompt="1"/>
          </p:nvPr>
        </p:nvSpPr>
        <p:spPr>
          <a:xfrm>
            <a:off x="8700046" y="1713047"/>
            <a:ext cx="2511106" cy="985129"/>
          </a:xfrm>
          <a:prstGeom prst="rect">
            <a:avLst/>
          </a:prstGeom>
        </p:spPr>
        <p:txBody>
          <a:bodyPr lIns="0" rIns="0"/>
          <a:lstStyle>
            <a:lvl1pPr marL="0" indent="0">
              <a:lnSpc>
                <a:spcPts val="3024"/>
              </a:lnSpc>
              <a:buNone/>
              <a:defRPr sz="3024">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26" name="Picture Placeholder 25">
            <a:extLst>
              <a:ext uri="{FF2B5EF4-FFF2-40B4-BE49-F238E27FC236}">
                <a16:creationId xmlns:a16="http://schemas.microsoft.com/office/drawing/2014/main" id="{23D807CB-AE9D-4F66-3F4F-D1576A7D44C8}"/>
              </a:ext>
            </a:extLst>
          </p:cNvPr>
          <p:cNvSpPr>
            <a:spLocks noGrp="1"/>
          </p:cNvSpPr>
          <p:nvPr>
            <p:ph type="pic" sz="quarter" idx="24" hasCustomPrompt="1"/>
          </p:nvPr>
        </p:nvSpPr>
        <p:spPr>
          <a:xfrm>
            <a:off x="5569736" y="852351"/>
            <a:ext cx="622526" cy="621017"/>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7" name="Picture Placeholder 25">
            <a:extLst>
              <a:ext uri="{FF2B5EF4-FFF2-40B4-BE49-F238E27FC236}">
                <a16:creationId xmlns:a16="http://schemas.microsoft.com/office/drawing/2014/main" id="{3E60D1F6-F4EC-2F4A-58D6-1F003272E906}"/>
              </a:ext>
            </a:extLst>
          </p:cNvPr>
          <p:cNvSpPr>
            <a:spLocks noGrp="1"/>
          </p:cNvSpPr>
          <p:nvPr>
            <p:ph type="pic" sz="quarter" idx="25" hasCustomPrompt="1"/>
          </p:nvPr>
        </p:nvSpPr>
        <p:spPr>
          <a:xfrm>
            <a:off x="8699514" y="852351"/>
            <a:ext cx="622526" cy="621017"/>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9" name="Text Placeholder 28">
            <a:extLst>
              <a:ext uri="{FF2B5EF4-FFF2-40B4-BE49-F238E27FC236}">
                <a16:creationId xmlns:a16="http://schemas.microsoft.com/office/drawing/2014/main" id="{A822F748-C123-60EC-5B79-72B90A5A78D1}"/>
              </a:ext>
            </a:extLst>
          </p:cNvPr>
          <p:cNvSpPr>
            <a:spLocks noGrp="1"/>
          </p:cNvSpPr>
          <p:nvPr>
            <p:ph type="body" sz="quarter" idx="26"/>
          </p:nvPr>
        </p:nvSpPr>
        <p:spPr>
          <a:xfrm>
            <a:off x="5569737" y="3066955"/>
            <a:ext cx="2511106" cy="2177187"/>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8">
            <a:extLst>
              <a:ext uri="{FF2B5EF4-FFF2-40B4-BE49-F238E27FC236}">
                <a16:creationId xmlns:a16="http://schemas.microsoft.com/office/drawing/2014/main" id="{777A8324-7C74-1396-6CFF-195714611D65}"/>
              </a:ext>
            </a:extLst>
          </p:cNvPr>
          <p:cNvSpPr>
            <a:spLocks noGrp="1"/>
          </p:cNvSpPr>
          <p:nvPr>
            <p:ph type="body" sz="quarter" idx="27"/>
          </p:nvPr>
        </p:nvSpPr>
        <p:spPr>
          <a:xfrm>
            <a:off x="8703616" y="3066955"/>
            <a:ext cx="2511106" cy="2177187"/>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a:extLst>
              <a:ext uri="{FF2B5EF4-FFF2-40B4-BE49-F238E27FC236}">
                <a16:creationId xmlns:a16="http://schemas.microsoft.com/office/drawing/2014/main" id="{B29364DF-7FEE-9C68-94CD-157048589050}"/>
              </a:ext>
            </a:extLst>
          </p:cNvPr>
          <p:cNvPicPr>
            <a:picLocks noChangeAspect="1"/>
          </p:cNvPicPr>
          <p:nvPr userDrawn="1"/>
        </p:nvPicPr>
        <p:blipFill>
          <a:blip r:embed="rId2">
            <a:biLevel thresh="25000"/>
          </a:blip>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882744075"/>
      </p:ext>
    </p:extLst>
  </p:cSld>
  <p:clrMapOvr>
    <a:masterClrMapping/>
  </p:clrMapOvr>
  <p:transition>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Appendix">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Title 1">
            <a:extLst>
              <a:ext uri="{FF2B5EF4-FFF2-40B4-BE49-F238E27FC236}">
                <a16:creationId xmlns:a16="http://schemas.microsoft.com/office/drawing/2014/main" id="{0358F5EA-9823-C2E6-8623-10614E1848DE}"/>
              </a:ext>
            </a:extLst>
          </p:cNvPr>
          <p:cNvSpPr>
            <a:spLocks noGrp="1"/>
          </p:cNvSpPr>
          <p:nvPr>
            <p:ph type="title" hasCustomPrompt="1"/>
          </p:nvPr>
        </p:nvSpPr>
        <p:spPr>
          <a:xfrm>
            <a:off x="576263" y="2239636"/>
            <a:ext cx="6829378" cy="1563189"/>
          </a:xfrm>
        </p:spPr>
        <p:txBody>
          <a:bodyPr anchor="b" anchorCtr="0"/>
          <a:lstStyle>
            <a:lvl1pPr>
              <a:lnSpc>
                <a:spcPct val="80000"/>
              </a:lnSpc>
              <a:defRPr sz="5400" cap="all" baseline="0">
                <a:solidFill>
                  <a:schemeClr val="bg1"/>
                </a:solidFill>
              </a:defRPr>
            </a:lvl1pPr>
          </a:lstStyle>
          <a:p>
            <a:r>
              <a:rPr lang="en-US" dirty="0"/>
              <a:t>Appendix</a:t>
            </a:r>
            <a:endParaRPr lang="en-GB" dirty="0"/>
          </a:p>
        </p:txBody>
      </p:sp>
    </p:spTree>
    <p:extLst>
      <p:ext uri="{BB962C8B-B14F-4D97-AF65-F5344CB8AC3E}">
        <p14:creationId xmlns:p14="http://schemas.microsoft.com/office/powerpoint/2010/main" val="2823892422"/>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10 - Headline, copy, 2 col with icons">
    <p:bg>
      <p:bgPr>
        <a:solidFill>
          <a:schemeClr val="bg1"/>
        </a:solidFill>
        <a:effectLst/>
      </p:bgPr>
    </p:bg>
    <p:spTree>
      <p:nvGrpSpPr>
        <p:cNvPr id="1" name=""/>
        <p:cNvGrpSpPr/>
        <p:nvPr/>
      </p:nvGrpSpPr>
      <p:grpSpPr>
        <a:xfrm>
          <a:off x="0" y="0"/>
          <a:ext cx="0" cy="0"/>
          <a:chOff x="0" y="0"/>
          <a:chExt cx="0" cy="0"/>
        </a:xfrm>
      </p:grpSpPr>
      <p:sp>
        <p:nvSpPr>
          <p:cNvPr id="4" name="Rectangle 50">
            <a:extLst>
              <a:ext uri="{FF2B5EF4-FFF2-40B4-BE49-F238E27FC236}">
                <a16:creationId xmlns:a16="http://schemas.microsoft.com/office/drawing/2014/main" id="{86CFBB07-AB84-84AF-A84D-9B1AC3FFFC7F}"/>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6" y="2573743"/>
            <a:ext cx="3658309"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4" name="Rectangle 13">
            <a:extLst>
              <a:ext uri="{FF2B5EF4-FFF2-40B4-BE49-F238E27FC236}">
                <a16:creationId xmlns:a16="http://schemas.microsoft.com/office/drawing/2014/main" id="{85A00C00-5E5A-A5B4-D4BD-95590287E6C0}"/>
              </a:ext>
            </a:extLst>
          </p:cNvPr>
          <p:cNvSpPr/>
          <p:nvPr userDrawn="1"/>
        </p:nvSpPr>
        <p:spPr>
          <a:xfrm>
            <a:off x="5260933" y="-1115"/>
            <a:ext cx="3129778" cy="64812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6" name="Text Placeholder 5">
            <a:extLst>
              <a:ext uri="{FF2B5EF4-FFF2-40B4-BE49-F238E27FC236}">
                <a16:creationId xmlns:a16="http://schemas.microsoft.com/office/drawing/2014/main" id="{43471A51-F19B-E8DA-E9B7-3711557ABB41}"/>
              </a:ext>
            </a:extLst>
          </p:cNvPr>
          <p:cNvSpPr>
            <a:spLocks noGrp="1"/>
          </p:cNvSpPr>
          <p:nvPr>
            <p:ph type="body" sz="quarter" idx="21"/>
          </p:nvPr>
        </p:nvSpPr>
        <p:spPr>
          <a:xfrm>
            <a:off x="576025" y="3072351"/>
            <a:ext cx="3658655" cy="2171791"/>
          </a:xfrm>
          <a:prstGeom prst="rect">
            <a:avLst/>
          </a:prstGeom>
        </p:spPr>
        <p:txBody>
          <a:bodyPr lIns="0"/>
          <a:lstStyle>
            <a:lvl1pPr marL="0" indent="0">
              <a:buNone/>
              <a:defRPr>
                <a:solidFill>
                  <a:schemeClr val="tx2"/>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7" name="Rectangle 6">
            <a:extLst>
              <a:ext uri="{FF2B5EF4-FFF2-40B4-BE49-F238E27FC236}">
                <a16:creationId xmlns:a16="http://schemas.microsoft.com/office/drawing/2014/main" id="{CB25B7CA-0AF9-1A3A-1517-DBCF612EC38E}"/>
              </a:ext>
            </a:extLst>
          </p:cNvPr>
          <p:cNvSpPr/>
          <p:nvPr userDrawn="1"/>
        </p:nvSpPr>
        <p:spPr>
          <a:xfrm>
            <a:off x="8390710" y="-1115"/>
            <a:ext cx="3129778" cy="648129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9" name="Text Placeholder 8">
            <a:extLst>
              <a:ext uri="{FF2B5EF4-FFF2-40B4-BE49-F238E27FC236}">
                <a16:creationId xmlns:a16="http://schemas.microsoft.com/office/drawing/2014/main" id="{6DFC2BC4-F2FF-D49A-2C6C-A3CB7212D607}"/>
              </a:ext>
            </a:extLst>
          </p:cNvPr>
          <p:cNvSpPr>
            <a:spLocks noGrp="1"/>
          </p:cNvSpPr>
          <p:nvPr>
            <p:ph type="body" sz="quarter" idx="22" hasCustomPrompt="1"/>
          </p:nvPr>
        </p:nvSpPr>
        <p:spPr>
          <a:xfrm>
            <a:off x="5570269" y="1713047"/>
            <a:ext cx="2511106" cy="985129"/>
          </a:xfrm>
          <a:prstGeom prst="rect">
            <a:avLst/>
          </a:prstGeom>
        </p:spPr>
        <p:txBody>
          <a:bodyPr lIns="0" rIns="0"/>
          <a:lstStyle>
            <a:lvl1pPr marL="0" indent="0">
              <a:lnSpc>
                <a:spcPts val="3024"/>
              </a:lnSpc>
              <a:buNone/>
              <a:defRPr sz="3024">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15" name="Text Placeholder 8">
            <a:extLst>
              <a:ext uri="{FF2B5EF4-FFF2-40B4-BE49-F238E27FC236}">
                <a16:creationId xmlns:a16="http://schemas.microsoft.com/office/drawing/2014/main" id="{9DE6892E-C4DA-31AC-E1EB-EBC160A00B1F}"/>
              </a:ext>
            </a:extLst>
          </p:cNvPr>
          <p:cNvSpPr>
            <a:spLocks noGrp="1"/>
          </p:cNvSpPr>
          <p:nvPr>
            <p:ph type="body" sz="quarter" idx="23" hasCustomPrompt="1"/>
          </p:nvPr>
        </p:nvSpPr>
        <p:spPr>
          <a:xfrm>
            <a:off x="8700046" y="1713047"/>
            <a:ext cx="2511106" cy="985129"/>
          </a:xfrm>
          <a:prstGeom prst="rect">
            <a:avLst/>
          </a:prstGeom>
        </p:spPr>
        <p:txBody>
          <a:bodyPr lIns="0" rIns="0"/>
          <a:lstStyle>
            <a:lvl1pPr marL="0" indent="0">
              <a:lnSpc>
                <a:spcPts val="3024"/>
              </a:lnSpc>
              <a:buNone/>
              <a:defRPr sz="3024">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26" name="Picture Placeholder 25">
            <a:extLst>
              <a:ext uri="{FF2B5EF4-FFF2-40B4-BE49-F238E27FC236}">
                <a16:creationId xmlns:a16="http://schemas.microsoft.com/office/drawing/2014/main" id="{23D807CB-AE9D-4F66-3F4F-D1576A7D44C8}"/>
              </a:ext>
            </a:extLst>
          </p:cNvPr>
          <p:cNvSpPr>
            <a:spLocks noGrp="1"/>
          </p:cNvSpPr>
          <p:nvPr>
            <p:ph type="pic" sz="quarter" idx="24" hasCustomPrompt="1"/>
          </p:nvPr>
        </p:nvSpPr>
        <p:spPr>
          <a:xfrm>
            <a:off x="5569736" y="852351"/>
            <a:ext cx="622526" cy="621017"/>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7" name="Picture Placeholder 25">
            <a:extLst>
              <a:ext uri="{FF2B5EF4-FFF2-40B4-BE49-F238E27FC236}">
                <a16:creationId xmlns:a16="http://schemas.microsoft.com/office/drawing/2014/main" id="{3E60D1F6-F4EC-2F4A-58D6-1F003272E906}"/>
              </a:ext>
            </a:extLst>
          </p:cNvPr>
          <p:cNvSpPr>
            <a:spLocks noGrp="1"/>
          </p:cNvSpPr>
          <p:nvPr>
            <p:ph type="pic" sz="quarter" idx="25" hasCustomPrompt="1"/>
          </p:nvPr>
        </p:nvSpPr>
        <p:spPr>
          <a:xfrm>
            <a:off x="8699514" y="852351"/>
            <a:ext cx="622526" cy="621017"/>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9" name="Text Placeholder 28">
            <a:extLst>
              <a:ext uri="{FF2B5EF4-FFF2-40B4-BE49-F238E27FC236}">
                <a16:creationId xmlns:a16="http://schemas.microsoft.com/office/drawing/2014/main" id="{A822F748-C123-60EC-5B79-72B90A5A78D1}"/>
              </a:ext>
            </a:extLst>
          </p:cNvPr>
          <p:cNvSpPr>
            <a:spLocks noGrp="1"/>
          </p:cNvSpPr>
          <p:nvPr>
            <p:ph type="body" sz="quarter" idx="26"/>
          </p:nvPr>
        </p:nvSpPr>
        <p:spPr>
          <a:xfrm>
            <a:off x="5569737" y="3066955"/>
            <a:ext cx="2511106" cy="2177187"/>
          </a:xfrm>
          <a:prstGeom prst="rect">
            <a:avLst/>
          </a:prstGeom>
        </p:spPr>
        <p:txBody>
          <a:bodyPr/>
          <a:lstStyle>
            <a:lvl1pPr>
              <a:defRPr>
                <a:solidFill>
                  <a:schemeClr val="bg1"/>
                </a:solidFill>
                <a:latin typeface="Avenir Next LT Pro" panose="020B0504020202020204" pitchFamily="34" charset="77"/>
              </a:defRPr>
            </a:lvl1pPr>
            <a:lvl2pPr>
              <a:defRPr>
                <a:solidFill>
                  <a:schemeClr val="bg1"/>
                </a:solidFill>
                <a:latin typeface="Avenir Next LT Pro" panose="020B0504020202020204" pitchFamily="34" charset="77"/>
              </a:defRPr>
            </a:lvl2pPr>
            <a:lvl3pPr>
              <a:defRPr>
                <a:solidFill>
                  <a:schemeClr val="bg1"/>
                </a:solidFill>
                <a:latin typeface="Avenir Next LT Pro" panose="020B0504020202020204" pitchFamily="34" charset="77"/>
              </a:defRPr>
            </a:lvl3pPr>
            <a:lvl4pPr>
              <a:defRPr>
                <a:solidFill>
                  <a:schemeClr val="bg1"/>
                </a:solidFill>
                <a:latin typeface="Avenir Next LT Pro" panose="020B0504020202020204" pitchFamily="34" charset="77"/>
              </a:defRPr>
            </a:lvl4pPr>
            <a:lvl5pPr>
              <a:defRPr>
                <a:solidFill>
                  <a:schemeClr val="bg1"/>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28">
            <a:extLst>
              <a:ext uri="{FF2B5EF4-FFF2-40B4-BE49-F238E27FC236}">
                <a16:creationId xmlns:a16="http://schemas.microsoft.com/office/drawing/2014/main" id="{777A8324-7C74-1396-6CFF-195714611D65}"/>
              </a:ext>
            </a:extLst>
          </p:cNvPr>
          <p:cNvSpPr>
            <a:spLocks noGrp="1"/>
          </p:cNvSpPr>
          <p:nvPr>
            <p:ph type="body" sz="quarter" idx="27"/>
          </p:nvPr>
        </p:nvSpPr>
        <p:spPr>
          <a:xfrm>
            <a:off x="8703616" y="3066955"/>
            <a:ext cx="2511106" cy="2177187"/>
          </a:xfrm>
          <a:prstGeom prst="rect">
            <a:avLst/>
          </a:prstGeom>
        </p:spPr>
        <p:txBody>
          <a:bodyPr/>
          <a:lstStyle>
            <a:lvl1pPr>
              <a:defRPr>
                <a:solidFill>
                  <a:schemeClr val="bg1"/>
                </a:solidFill>
                <a:latin typeface="Avenir Next LT Pro" panose="020B0504020202020204" pitchFamily="34" charset="77"/>
              </a:defRPr>
            </a:lvl1pPr>
            <a:lvl2pPr>
              <a:defRPr>
                <a:solidFill>
                  <a:schemeClr val="bg1"/>
                </a:solidFill>
                <a:latin typeface="Avenir Next LT Pro" panose="020B0504020202020204" pitchFamily="34" charset="77"/>
              </a:defRPr>
            </a:lvl2pPr>
            <a:lvl3pPr>
              <a:defRPr>
                <a:solidFill>
                  <a:schemeClr val="bg1"/>
                </a:solidFill>
                <a:latin typeface="Avenir Next LT Pro" panose="020B0504020202020204" pitchFamily="34" charset="77"/>
              </a:defRPr>
            </a:lvl3pPr>
            <a:lvl4pPr>
              <a:defRPr>
                <a:solidFill>
                  <a:schemeClr val="bg1"/>
                </a:solidFill>
                <a:latin typeface="Avenir Next LT Pro" panose="020B0504020202020204" pitchFamily="34" charset="77"/>
              </a:defRPr>
            </a:lvl4pPr>
            <a:lvl5pPr>
              <a:defRPr>
                <a:solidFill>
                  <a:schemeClr val="bg1"/>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a:extLst>
              <a:ext uri="{FF2B5EF4-FFF2-40B4-BE49-F238E27FC236}">
                <a16:creationId xmlns:a16="http://schemas.microsoft.com/office/drawing/2014/main" id="{66AA2DD9-4279-0F08-D24D-82F6339E3188}"/>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2943111717"/>
      </p:ext>
    </p:extLst>
  </p:cSld>
  <p:clrMapOvr>
    <a:masterClrMapping/>
  </p:clrMapOvr>
  <p:transition>
    <p:wip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1 - Quote with duotone headsho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6624281"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panose="020B0503020202020204" pitchFamily="34" charset="0"/>
            </a:endParaRPr>
          </a:p>
        </p:txBody>
      </p:sp>
      <p:sp>
        <p:nvSpPr>
          <p:cNvPr id="10" name="TextBox 9">
            <a:extLst>
              <a:ext uri="{FF2B5EF4-FFF2-40B4-BE49-F238E27FC236}">
                <a16:creationId xmlns:a16="http://schemas.microsoft.com/office/drawing/2014/main" id="{AF4EB9D7-71DD-FCA4-7C02-1BA97745F3C8}"/>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8" name="Text Placeholder 7">
            <a:extLst>
              <a:ext uri="{FF2B5EF4-FFF2-40B4-BE49-F238E27FC236}">
                <a16:creationId xmlns:a16="http://schemas.microsoft.com/office/drawing/2014/main" id="{AC778EAD-D98C-9943-9150-6EAA6CFEB302}"/>
              </a:ext>
            </a:extLst>
          </p:cNvPr>
          <p:cNvSpPr>
            <a:spLocks noGrp="1"/>
          </p:cNvSpPr>
          <p:nvPr>
            <p:ph type="body" sz="quarter" idx="10" hasCustomPrompt="1"/>
          </p:nvPr>
        </p:nvSpPr>
        <p:spPr>
          <a:xfrm>
            <a:off x="576025" y="1"/>
            <a:ext cx="1546500" cy="1485227"/>
          </a:xfrm>
          <a:prstGeom prst="rect">
            <a:avLst/>
          </a:prstGeom>
        </p:spPr>
        <p:txBody>
          <a:bodyPr rIns="0"/>
          <a:lstStyle>
            <a:lvl1pPr marL="0" indent="0">
              <a:buNone/>
              <a:defRPr sz="22583" i="0">
                <a:solidFill>
                  <a:schemeClr val="accent2"/>
                </a:solidFill>
                <a:latin typeface="+mn-lt"/>
                <a:cs typeface="Times New Roman" panose="02020603050405020304" pitchFamily="18"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6" name="Text Placeholder 5">
            <a:extLst>
              <a:ext uri="{FF2B5EF4-FFF2-40B4-BE49-F238E27FC236}">
                <a16:creationId xmlns:a16="http://schemas.microsoft.com/office/drawing/2014/main" id="{7EC4E445-EE4A-E348-8A9F-8A2055066EB4}"/>
              </a:ext>
            </a:extLst>
          </p:cNvPr>
          <p:cNvSpPr>
            <a:spLocks noGrp="1"/>
          </p:cNvSpPr>
          <p:nvPr>
            <p:ph type="body" sz="quarter" idx="12" hasCustomPrompt="1"/>
          </p:nvPr>
        </p:nvSpPr>
        <p:spPr>
          <a:xfrm>
            <a:off x="576024" y="4958214"/>
            <a:ext cx="5340986" cy="309136"/>
          </a:xfrm>
          <a:prstGeom prst="rect">
            <a:avLst/>
          </a:prstGeom>
        </p:spPr>
        <p:txBody>
          <a:bodyPr/>
          <a:lstStyle>
            <a:lvl1pPr algn="l">
              <a:buNone/>
              <a:defRPr sz="1323"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First Last Name</a:t>
            </a:r>
          </a:p>
        </p:txBody>
      </p:sp>
      <p:sp>
        <p:nvSpPr>
          <p:cNvPr id="9" name="Text Placeholder 5">
            <a:extLst>
              <a:ext uri="{FF2B5EF4-FFF2-40B4-BE49-F238E27FC236}">
                <a16:creationId xmlns:a16="http://schemas.microsoft.com/office/drawing/2014/main" id="{C37A0E7D-8E59-7043-BA8D-21FA39AE38A1}"/>
              </a:ext>
            </a:extLst>
          </p:cNvPr>
          <p:cNvSpPr>
            <a:spLocks noGrp="1"/>
          </p:cNvSpPr>
          <p:nvPr>
            <p:ph type="body" sz="quarter" idx="13" hasCustomPrompt="1"/>
          </p:nvPr>
        </p:nvSpPr>
        <p:spPr>
          <a:xfrm>
            <a:off x="576024" y="5316165"/>
            <a:ext cx="5340986" cy="309136"/>
          </a:xfrm>
          <a:prstGeom prst="rect">
            <a:avLst/>
          </a:prstGeom>
        </p:spPr>
        <p:txBody>
          <a:bodyPr/>
          <a:lstStyle>
            <a:lvl1pPr algn="l">
              <a:buNone/>
              <a:defRPr sz="1323"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Title, Company</a:t>
            </a:r>
          </a:p>
        </p:txBody>
      </p:sp>
      <p:sp>
        <p:nvSpPr>
          <p:cNvPr id="15" name="Picture Placeholder 14">
            <a:extLst>
              <a:ext uri="{FF2B5EF4-FFF2-40B4-BE49-F238E27FC236}">
                <a16:creationId xmlns:a16="http://schemas.microsoft.com/office/drawing/2014/main" id="{B1BC5447-3512-8139-774C-9D1E8B8EF93E}"/>
              </a:ext>
            </a:extLst>
          </p:cNvPr>
          <p:cNvSpPr>
            <a:spLocks noGrp="1"/>
          </p:cNvSpPr>
          <p:nvPr>
            <p:ph type="pic" sz="quarter" idx="15" hasCustomPrompt="1"/>
          </p:nvPr>
        </p:nvSpPr>
        <p:spPr>
          <a:xfrm>
            <a:off x="6624281" y="0"/>
            <a:ext cx="4896207" cy="6480175"/>
          </a:xfrm>
          <a:prstGeom prst="rect">
            <a:avLst/>
          </a:prstGeom>
          <a:solidFill>
            <a:schemeClr val="accent6"/>
          </a:solidFill>
        </p:spPr>
        <p:txBody>
          <a:bodyPr anchor="ctr" anchorCtr="0"/>
          <a:lstStyle>
            <a:lvl1pPr marL="0" indent="0" algn="ctr">
              <a:buNone/>
              <a:defRPr>
                <a:latin typeface="Avenir Next LT Pro" panose="020B0504020202020204" pitchFamily="34" charset="77"/>
              </a:defRPr>
            </a:lvl1pPr>
          </a:lstStyle>
          <a:p>
            <a:r>
              <a:rPr lang="en-US" dirty="0"/>
              <a:t>Insert</a:t>
            </a:r>
            <a:br>
              <a:rPr lang="en-US" dirty="0"/>
            </a:br>
            <a:r>
              <a:rPr lang="en-US" dirty="0"/>
              <a:t>Duotone Headshot</a:t>
            </a:r>
          </a:p>
        </p:txBody>
      </p:sp>
      <p:sp>
        <p:nvSpPr>
          <p:cNvPr id="4" name="Text Placeholder 3">
            <a:extLst>
              <a:ext uri="{FF2B5EF4-FFF2-40B4-BE49-F238E27FC236}">
                <a16:creationId xmlns:a16="http://schemas.microsoft.com/office/drawing/2014/main" id="{5BF8A36C-D612-05FF-7E11-06FF8DEAC1CC}"/>
              </a:ext>
            </a:extLst>
          </p:cNvPr>
          <p:cNvSpPr>
            <a:spLocks noGrp="1"/>
          </p:cNvSpPr>
          <p:nvPr>
            <p:ph type="body" sz="quarter" idx="16" hasCustomPrompt="1"/>
          </p:nvPr>
        </p:nvSpPr>
        <p:spPr>
          <a:xfrm>
            <a:off x="576024" y="1662425"/>
            <a:ext cx="5341727" cy="2920199"/>
          </a:xfrm>
          <a:prstGeom prst="rect">
            <a:avLst/>
          </a:prstGeom>
        </p:spPr>
        <p:txBody>
          <a:bodyPr/>
          <a:lstStyle>
            <a:lvl1pPr marL="0" indent="0">
              <a:buNone/>
              <a:defRPr sz="2646">
                <a:solidFill>
                  <a:schemeClr val="bg1"/>
                </a:solidFill>
                <a:latin typeface="Avenir Next LT Pro" panose="020B0504020202020204" pitchFamily="34" charset="77"/>
              </a:defRPr>
            </a:lvl1pPr>
            <a:lvl2pPr marL="160504" indent="0">
              <a:buNone/>
              <a:defRPr>
                <a:solidFill>
                  <a:schemeClr val="bg1"/>
                </a:solidFill>
                <a:latin typeface="Avenir Next LT Pro" panose="020B0504020202020204" pitchFamily="34" charset="77"/>
              </a:defRPr>
            </a:lvl2pPr>
            <a:lvl3pPr marL="325506" indent="0">
              <a:buNone/>
              <a:defRPr>
                <a:solidFill>
                  <a:schemeClr val="bg1"/>
                </a:solidFill>
                <a:latin typeface="Avenir Next LT Pro" panose="020B0504020202020204" pitchFamily="34" charset="77"/>
              </a:defRPr>
            </a:lvl3pPr>
            <a:lvl4pPr marL="486009" indent="0">
              <a:buNone/>
              <a:defRPr>
                <a:solidFill>
                  <a:schemeClr val="bg1"/>
                </a:solidFill>
                <a:latin typeface="Avenir Next LT Pro" panose="020B0504020202020204" pitchFamily="34" charset="77"/>
              </a:defRPr>
            </a:lvl4pPr>
            <a:lvl5pPr marL="651012" indent="0">
              <a:buNone/>
              <a:defRPr>
                <a:solidFill>
                  <a:schemeClr val="bg1"/>
                </a:solidFill>
                <a:latin typeface="Avenir Next LT Pro" panose="020B0504020202020204" pitchFamily="34" charset="77"/>
              </a:defRPr>
            </a:lvl5pPr>
          </a:lstStyle>
          <a:p>
            <a:pPr lvl="0"/>
            <a:r>
              <a:rPr lang="en-US" dirty="0"/>
              <a:t>Quote, Avenir Next LT Pro 28 </a:t>
            </a:r>
            <a:r>
              <a:rPr lang="en-US" dirty="0" err="1"/>
              <a:t>pt</a:t>
            </a:r>
            <a:r>
              <a:rPr lang="en-US" dirty="0"/>
              <a:t> – At </a:t>
            </a:r>
            <a:r>
              <a:rPr lang="en-US" dirty="0" err="1"/>
              <a:t>vero</a:t>
            </a:r>
            <a:r>
              <a:rPr lang="en-US" dirty="0"/>
              <a:t> </a:t>
            </a:r>
            <a:r>
              <a:rPr lang="en-US" dirty="0" err="1"/>
              <a:t>eos</a:t>
            </a:r>
            <a:r>
              <a:rPr lang="en-US" dirty="0"/>
              <a:t> et </a:t>
            </a:r>
            <a:r>
              <a:rPr lang="en-US" dirty="0" err="1"/>
              <a:t>accusamus</a:t>
            </a:r>
            <a:r>
              <a:rPr lang="en-US" dirty="0"/>
              <a:t> et </a:t>
            </a:r>
            <a:r>
              <a:rPr lang="en-US" dirty="0" err="1"/>
              <a:t>iusto</a:t>
            </a:r>
            <a:r>
              <a:rPr lang="en-US" dirty="0"/>
              <a:t> </a:t>
            </a:r>
            <a:r>
              <a:rPr lang="en-US" dirty="0" err="1"/>
              <a:t>odio</a:t>
            </a:r>
            <a:r>
              <a:rPr lang="en-US" dirty="0"/>
              <a:t> </a:t>
            </a:r>
            <a:r>
              <a:rPr lang="en-US" dirty="0" err="1"/>
              <a:t>dignissimos</a:t>
            </a:r>
            <a:r>
              <a:rPr lang="en-US" dirty="0"/>
              <a:t> </a:t>
            </a:r>
            <a:r>
              <a:rPr lang="en-US" dirty="0" err="1"/>
              <a:t>ducimus</a:t>
            </a:r>
            <a:r>
              <a:rPr lang="en-US" dirty="0"/>
              <a:t> qui </a:t>
            </a:r>
            <a:r>
              <a:rPr lang="en-US" dirty="0" err="1"/>
              <a:t>blanditiis</a:t>
            </a:r>
            <a:r>
              <a:rPr lang="en-US" dirty="0"/>
              <a:t> </a:t>
            </a:r>
            <a:r>
              <a:rPr lang="en-US" dirty="0" err="1"/>
              <a:t>praesentium</a:t>
            </a:r>
            <a:r>
              <a:rPr lang="en-US" dirty="0"/>
              <a:t> </a:t>
            </a:r>
            <a:r>
              <a:rPr lang="en-US" dirty="0" err="1"/>
              <a:t>voluptatum</a:t>
            </a:r>
            <a:r>
              <a:rPr lang="en-US" dirty="0"/>
              <a:t> </a:t>
            </a:r>
            <a:r>
              <a:rPr lang="en-US" dirty="0" err="1"/>
              <a:t>deleniti</a:t>
            </a:r>
            <a:r>
              <a:rPr lang="en-US" dirty="0"/>
              <a:t> </a:t>
            </a:r>
            <a:r>
              <a:rPr lang="en-US" dirty="0" err="1"/>
              <a:t>atque</a:t>
            </a:r>
            <a:r>
              <a:rPr lang="en-US" dirty="0"/>
              <a:t> </a:t>
            </a:r>
            <a:r>
              <a:rPr lang="en-US" dirty="0" err="1"/>
              <a:t>corrupti</a:t>
            </a:r>
            <a:r>
              <a:rPr lang="en-US" dirty="0"/>
              <a:t> quos </a:t>
            </a:r>
            <a:r>
              <a:rPr lang="en-US" dirty="0" err="1"/>
              <a:t>delores</a:t>
            </a:r>
            <a:r>
              <a:rPr lang="en-US" dirty="0"/>
              <a:t> et </a:t>
            </a:r>
            <a:r>
              <a:rPr lang="en-US" dirty="0" err="1"/>
              <a:t>quas</a:t>
            </a:r>
            <a:r>
              <a:rPr lang="en-US" dirty="0"/>
              <a:t>.”</a:t>
            </a:r>
          </a:p>
        </p:txBody>
      </p:sp>
      <p:sp>
        <p:nvSpPr>
          <p:cNvPr id="2" name="Rectangle 50">
            <a:extLst>
              <a:ext uri="{FF2B5EF4-FFF2-40B4-BE49-F238E27FC236}">
                <a16:creationId xmlns:a16="http://schemas.microsoft.com/office/drawing/2014/main" id="{202E5AAF-B718-9400-1D87-C870C1D5AFB3}"/>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2354070964"/>
      </p:ext>
    </p:extLst>
  </p:cSld>
  <p:clrMapOvr>
    <a:masterClrMapping/>
  </p:clrMapOvr>
  <p:transition>
    <p:wip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 - Quote, no headsho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78275D-B1DA-7A52-05C0-670F34C883BD}"/>
              </a:ext>
            </a:extLst>
          </p:cNvPr>
          <p:cNvSpPr/>
          <p:nvPr userDrawn="1"/>
        </p:nvSpPr>
        <p:spPr>
          <a:xfrm>
            <a:off x="0" y="444211"/>
            <a:ext cx="11520488" cy="5426066"/>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14" name="Text Placeholder 7">
            <a:extLst>
              <a:ext uri="{FF2B5EF4-FFF2-40B4-BE49-F238E27FC236}">
                <a16:creationId xmlns:a16="http://schemas.microsoft.com/office/drawing/2014/main" id="{AC33313A-8640-D66C-F0C4-C798A9A18FD3}"/>
              </a:ext>
            </a:extLst>
          </p:cNvPr>
          <p:cNvSpPr>
            <a:spLocks noGrp="1"/>
          </p:cNvSpPr>
          <p:nvPr>
            <p:ph type="body" sz="quarter" idx="10" hasCustomPrompt="1"/>
          </p:nvPr>
        </p:nvSpPr>
        <p:spPr>
          <a:xfrm>
            <a:off x="1043071" y="444210"/>
            <a:ext cx="1546500" cy="2044555"/>
          </a:xfrm>
          <a:prstGeom prst="rect">
            <a:avLst/>
          </a:prstGeom>
        </p:spPr>
        <p:txBody>
          <a:bodyPr rIns="0"/>
          <a:lstStyle>
            <a:lvl1pPr marL="0" indent="0">
              <a:buNone/>
              <a:defRPr sz="22583" i="0">
                <a:solidFill>
                  <a:schemeClr val="accent2"/>
                </a:solidFill>
                <a:latin typeface="+mn-lt"/>
                <a:cs typeface="Times New Roman" panose="02020603050405020304" pitchFamily="18"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17" name="Text Placeholder 5">
            <a:extLst>
              <a:ext uri="{FF2B5EF4-FFF2-40B4-BE49-F238E27FC236}">
                <a16:creationId xmlns:a16="http://schemas.microsoft.com/office/drawing/2014/main" id="{5CBEE98C-25FC-E7C6-476D-12875059E35C}"/>
              </a:ext>
            </a:extLst>
          </p:cNvPr>
          <p:cNvSpPr>
            <a:spLocks noGrp="1"/>
          </p:cNvSpPr>
          <p:nvPr>
            <p:ph type="body" sz="quarter" idx="12" hasCustomPrompt="1"/>
          </p:nvPr>
        </p:nvSpPr>
        <p:spPr>
          <a:xfrm>
            <a:off x="2314384" y="4641040"/>
            <a:ext cx="6891292" cy="309136"/>
          </a:xfrm>
          <a:prstGeom prst="rect">
            <a:avLst/>
          </a:prstGeom>
        </p:spPr>
        <p:txBody>
          <a:bodyPr/>
          <a:lstStyle>
            <a:lvl1pPr algn="r">
              <a:buNone/>
              <a:defRPr sz="1512"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 First Last Name</a:t>
            </a:r>
          </a:p>
        </p:txBody>
      </p:sp>
      <p:sp>
        <p:nvSpPr>
          <p:cNvPr id="18" name="Text Placeholder 5">
            <a:extLst>
              <a:ext uri="{FF2B5EF4-FFF2-40B4-BE49-F238E27FC236}">
                <a16:creationId xmlns:a16="http://schemas.microsoft.com/office/drawing/2014/main" id="{CD59E837-EA56-EF98-BA8E-9F074FA90A4A}"/>
              </a:ext>
            </a:extLst>
          </p:cNvPr>
          <p:cNvSpPr>
            <a:spLocks noGrp="1"/>
          </p:cNvSpPr>
          <p:nvPr>
            <p:ph type="body" sz="quarter" idx="13" hasCustomPrompt="1"/>
          </p:nvPr>
        </p:nvSpPr>
        <p:spPr>
          <a:xfrm>
            <a:off x="2314384" y="4998992"/>
            <a:ext cx="6891292" cy="309136"/>
          </a:xfrm>
          <a:prstGeom prst="rect">
            <a:avLst/>
          </a:prstGeom>
        </p:spPr>
        <p:txBody>
          <a:bodyPr/>
          <a:lstStyle>
            <a:lvl1pPr algn="r">
              <a:buNone/>
              <a:defRPr sz="1512"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Title, Company</a:t>
            </a:r>
          </a:p>
        </p:txBody>
      </p:sp>
      <p:sp>
        <p:nvSpPr>
          <p:cNvPr id="19" name="Text Placeholder 7">
            <a:extLst>
              <a:ext uri="{FF2B5EF4-FFF2-40B4-BE49-F238E27FC236}">
                <a16:creationId xmlns:a16="http://schemas.microsoft.com/office/drawing/2014/main" id="{A74687C5-D2E4-64A6-2E68-F101CB500BF0}"/>
              </a:ext>
            </a:extLst>
          </p:cNvPr>
          <p:cNvSpPr>
            <a:spLocks noGrp="1"/>
          </p:cNvSpPr>
          <p:nvPr>
            <p:ph type="body" sz="quarter" idx="19" hasCustomPrompt="1"/>
          </p:nvPr>
        </p:nvSpPr>
        <p:spPr>
          <a:xfrm rot="10800000">
            <a:off x="9205676" y="2399551"/>
            <a:ext cx="1546500" cy="2044555"/>
          </a:xfrm>
          <a:prstGeom prst="rect">
            <a:avLst/>
          </a:prstGeom>
        </p:spPr>
        <p:txBody>
          <a:bodyPr rIns="0" anchor="ctr" anchorCtr="0"/>
          <a:lstStyle>
            <a:lvl1pPr marL="0" indent="0">
              <a:buNone/>
              <a:defRPr sz="22583" i="0">
                <a:solidFill>
                  <a:schemeClr val="accent2"/>
                </a:solidFill>
                <a:latin typeface="+mn-lt"/>
                <a:cs typeface="Times New Roman" panose="02020603050405020304" pitchFamily="18"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20" name="Text Placeholder 7">
            <a:extLst>
              <a:ext uri="{FF2B5EF4-FFF2-40B4-BE49-F238E27FC236}">
                <a16:creationId xmlns:a16="http://schemas.microsoft.com/office/drawing/2014/main" id="{863EC0BC-4112-8DDD-0614-95A80EA70C02}"/>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RIAL 9PT</a:t>
            </a:r>
          </a:p>
        </p:txBody>
      </p:sp>
      <p:sp>
        <p:nvSpPr>
          <p:cNvPr id="2" name="Text Placeholder 3">
            <a:extLst>
              <a:ext uri="{FF2B5EF4-FFF2-40B4-BE49-F238E27FC236}">
                <a16:creationId xmlns:a16="http://schemas.microsoft.com/office/drawing/2014/main" id="{E19A537C-5C6F-B2FA-52B5-03182607FFE5}"/>
              </a:ext>
            </a:extLst>
          </p:cNvPr>
          <p:cNvSpPr>
            <a:spLocks noGrp="1"/>
          </p:cNvSpPr>
          <p:nvPr>
            <p:ph type="body" sz="quarter" idx="16" hasCustomPrompt="1"/>
          </p:nvPr>
        </p:nvSpPr>
        <p:spPr>
          <a:xfrm>
            <a:off x="2317877" y="1955135"/>
            <a:ext cx="6887799" cy="2488971"/>
          </a:xfrm>
          <a:prstGeom prst="rect">
            <a:avLst/>
          </a:prstGeom>
        </p:spPr>
        <p:txBody>
          <a:bodyPr/>
          <a:lstStyle>
            <a:lvl1pPr marL="0" indent="0">
              <a:buNone/>
              <a:defRPr sz="3024">
                <a:solidFill>
                  <a:schemeClr val="bg1"/>
                </a:solidFill>
                <a:latin typeface="Avenir Next LT Pro" panose="020B0504020202020204" pitchFamily="34" charset="77"/>
              </a:defRPr>
            </a:lvl1pPr>
            <a:lvl2pPr marL="160504" indent="0">
              <a:buNone/>
              <a:defRPr>
                <a:solidFill>
                  <a:schemeClr val="bg1"/>
                </a:solidFill>
                <a:latin typeface="Avenir Next LT Pro" panose="020B0504020202020204" pitchFamily="34" charset="77"/>
              </a:defRPr>
            </a:lvl2pPr>
            <a:lvl3pPr marL="325506" indent="0">
              <a:buNone/>
              <a:defRPr>
                <a:solidFill>
                  <a:schemeClr val="bg1"/>
                </a:solidFill>
                <a:latin typeface="Avenir Next LT Pro" panose="020B0504020202020204" pitchFamily="34" charset="77"/>
              </a:defRPr>
            </a:lvl3pPr>
            <a:lvl4pPr marL="486009" indent="0">
              <a:buNone/>
              <a:defRPr>
                <a:solidFill>
                  <a:schemeClr val="bg1"/>
                </a:solidFill>
                <a:latin typeface="Avenir Next LT Pro" panose="020B0504020202020204" pitchFamily="34" charset="77"/>
              </a:defRPr>
            </a:lvl4pPr>
            <a:lvl5pPr marL="651012" indent="0">
              <a:buNone/>
              <a:defRPr>
                <a:solidFill>
                  <a:schemeClr val="bg1"/>
                </a:solidFill>
                <a:latin typeface="Avenir Next LT Pro" panose="020B0504020202020204" pitchFamily="34" charset="77"/>
              </a:defRPr>
            </a:lvl5pPr>
          </a:lstStyle>
          <a:p>
            <a:pPr lvl="0"/>
            <a:r>
              <a:rPr lang="en-US" dirty="0"/>
              <a:t>Quote, Avenir Next LT Pro 32 </a:t>
            </a:r>
            <a:r>
              <a:rPr lang="en-US" dirty="0" err="1"/>
              <a:t>pt</a:t>
            </a:r>
            <a:r>
              <a:rPr lang="en-US" dirty="0"/>
              <a:t> – At </a:t>
            </a:r>
            <a:r>
              <a:rPr lang="en-US" dirty="0" err="1"/>
              <a:t>vero</a:t>
            </a:r>
            <a:r>
              <a:rPr lang="en-US" dirty="0"/>
              <a:t> </a:t>
            </a:r>
            <a:r>
              <a:rPr lang="en-US" dirty="0" err="1"/>
              <a:t>eos</a:t>
            </a:r>
            <a:r>
              <a:rPr lang="en-US" dirty="0"/>
              <a:t> et </a:t>
            </a:r>
            <a:r>
              <a:rPr lang="en-US" dirty="0" err="1"/>
              <a:t>accusamus</a:t>
            </a:r>
            <a:r>
              <a:rPr lang="en-US" dirty="0"/>
              <a:t> et </a:t>
            </a:r>
            <a:r>
              <a:rPr lang="en-US" dirty="0" err="1"/>
              <a:t>iusto</a:t>
            </a:r>
            <a:r>
              <a:rPr lang="en-US" dirty="0"/>
              <a:t> </a:t>
            </a:r>
            <a:r>
              <a:rPr lang="en-US" dirty="0" err="1"/>
              <a:t>odio</a:t>
            </a:r>
            <a:r>
              <a:rPr lang="en-US" dirty="0"/>
              <a:t> </a:t>
            </a:r>
            <a:r>
              <a:rPr lang="en-US" dirty="0" err="1"/>
              <a:t>dignissimos</a:t>
            </a:r>
            <a:r>
              <a:rPr lang="en-US" dirty="0"/>
              <a:t> </a:t>
            </a:r>
            <a:r>
              <a:rPr lang="en-US" dirty="0" err="1"/>
              <a:t>ducimus</a:t>
            </a:r>
            <a:r>
              <a:rPr lang="en-US" dirty="0"/>
              <a:t> qui </a:t>
            </a:r>
            <a:r>
              <a:rPr lang="en-US" dirty="0" err="1"/>
              <a:t>blanditiis</a:t>
            </a:r>
            <a:r>
              <a:rPr lang="en-US" dirty="0"/>
              <a:t> </a:t>
            </a:r>
            <a:r>
              <a:rPr lang="en-US" dirty="0" err="1"/>
              <a:t>praesentium</a:t>
            </a:r>
            <a:r>
              <a:rPr lang="en-US" dirty="0"/>
              <a:t> </a:t>
            </a:r>
            <a:r>
              <a:rPr lang="en-US" dirty="0" err="1"/>
              <a:t>voluptatum</a:t>
            </a:r>
            <a:r>
              <a:rPr lang="en-US" dirty="0"/>
              <a:t> </a:t>
            </a:r>
            <a:r>
              <a:rPr lang="en-US" dirty="0" err="1"/>
              <a:t>deleniti</a:t>
            </a:r>
            <a:r>
              <a:rPr lang="en-US" dirty="0"/>
              <a:t> </a:t>
            </a:r>
            <a:r>
              <a:rPr lang="en-US" dirty="0" err="1"/>
              <a:t>atque</a:t>
            </a:r>
            <a:r>
              <a:rPr lang="en-US" dirty="0"/>
              <a:t> </a:t>
            </a:r>
            <a:r>
              <a:rPr lang="en-US" dirty="0" err="1"/>
              <a:t>corrupti</a:t>
            </a:r>
            <a:r>
              <a:rPr lang="en-US" dirty="0"/>
              <a:t> quos </a:t>
            </a:r>
            <a:r>
              <a:rPr lang="en-US" dirty="0" err="1"/>
              <a:t>delores</a:t>
            </a:r>
            <a:r>
              <a:rPr lang="en-US" dirty="0"/>
              <a:t> et </a:t>
            </a:r>
            <a:r>
              <a:rPr lang="en-US" dirty="0" err="1"/>
              <a:t>quas</a:t>
            </a:r>
            <a:r>
              <a:rPr lang="en-US" dirty="0"/>
              <a:t>.</a:t>
            </a:r>
          </a:p>
        </p:txBody>
      </p:sp>
    </p:spTree>
    <p:extLst>
      <p:ext uri="{BB962C8B-B14F-4D97-AF65-F5344CB8AC3E}">
        <p14:creationId xmlns:p14="http://schemas.microsoft.com/office/powerpoint/2010/main" val="3002121487"/>
      </p:ext>
    </p:extLst>
  </p:cSld>
  <p:clrMapOvr>
    <a:masterClrMapping/>
  </p:clrMapOvr>
  <p:transition>
    <p:wip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8 - Quote with headsho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C9D8F8-4A13-8793-2A81-7045F3B025D8}"/>
              </a:ext>
            </a:extLst>
          </p:cNvPr>
          <p:cNvSpPr/>
          <p:nvPr userDrawn="1"/>
        </p:nvSpPr>
        <p:spPr>
          <a:xfrm>
            <a:off x="0" y="444211"/>
            <a:ext cx="11520488" cy="5426066"/>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5" name="Picture Placeholder 4">
            <a:extLst>
              <a:ext uri="{FF2B5EF4-FFF2-40B4-BE49-F238E27FC236}">
                <a16:creationId xmlns:a16="http://schemas.microsoft.com/office/drawing/2014/main" id="{ED560F63-1444-A7AA-4410-7217C40E1A0F}"/>
              </a:ext>
            </a:extLst>
          </p:cNvPr>
          <p:cNvSpPr>
            <a:spLocks noGrp="1"/>
          </p:cNvSpPr>
          <p:nvPr>
            <p:ph type="pic" sz="quarter" idx="19"/>
          </p:nvPr>
        </p:nvSpPr>
        <p:spPr>
          <a:xfrm>
            <a:off x="458282" y="1968304"/>
            <a:ext cx="2185593" cy="2185559"/>
          </a:xfrm>
          <a:prstGeom prst="ellipse">
            <a:avLst/>
          </a:prstGeom>
          <a:solidFill>
            <a:schemeClr val="accent6"/>
          </a:solidFill>
        </p:spPr>
        <p:txBody>
          <a:bodyPr/>
          <a:lstStyle>
            <a:lvl1pPr>
              <a:defRPr>
                <a:latin typeface="Avenir Next" panose="020B0503020202020204" pitchFamily="34" charset="0"/>
              </a:defRPr>
            </a:lvl1pPr>
          </a:lstStyle>
          <a:p>
            <a:endParaRPr lang="en-US"/>
          </a:p>
        </p:txBody>
      </p:sp>
      <p:sp>
        <p:nvSpPr>
          <p:cNvPr id="17" name="Text Placeholder 5">
            <a:extLst>
              <a:ext uri="{FF2B5EF4-FFF2-40B4-BE49-F238E27FC236}">
                <a16:creationId xmlns:a16="http://schemas.microsoft.com/office/drawing/2014/main" id="{5CBEE98C-25FC-E7C6-476D-12875059E35C}"/>
              </a:ext>
            </a:extLst>
          </p:cNvPr>
          <p:cNvSpPr>
            <a:spLocks noGrp="1"/>
          </p:cNvSpPr>
          <p:nvPr>
            <p:ph type="body" sz="quarter" idx="12" hasCustomPrompt="1"/>
          </p:nvPr>
        </p:nvSpPr>
        <p:spPr>
          <a:xfrm>
            <a:off x="3267969" y="4641040"/>
            <a:ext cx="7267645" cy="309136"/>
          </a:xfrm>
          <a:prstGeom prst="rect">
            <a:avLst/>
          </a:prstGeom>
        </p:spPr>
        <p:txBody>
          <a:bodyPr/>
          <a:lstStyle>
            <a:lvl1pPr algn="r">
              <a:buNone/>
              <a:defRPr sz="1512"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 First Last Name</a:t>
            </a:r>
          </a:p>
        </p:txBody>
      </p:sp>
      <p:sp>
        <p:nvSpPr>
          <p:cNvPr id="18" name="Text Placeholder 5">
            <a:extLst>
              <a:ext uri="{FF2B5EF4-FFF2-40B4-BE49-F238E27FC236}">
                <a16:creationId xmlns:a16="http://schemas.microsoft.com/office/drawing/2014/main" id="{CD59E837-EA56-EF98-BA8E-9F074FA90A4A}"/>
              </a:ext>
            </a:extLst>
          </p:cNvPr>
          <p:cNvSpPr>
            <a:spLocks noGrp="1"/>
          </p:cNvSpPr>
          <p:nvPr>
            <p:ph type="body" sz="quarter" idx="13" hasCustomPrompt="1"/>
          </p:nvPr>
        </p:nvSpPr>
        <p:spPr>
          <a:xfrm>
            <a:off x="3267969" y="4998992"/>
            <a:ext cx="7267645" cy="309136"/>
          </a:xfrm>
          <a:prstGeom prst="rect">
            <a:avLst/>
          </a:prstGeom>
        </p:spPr>
        <p:txBody>
          <a:bodyPr/>
          <a:lstStyle>
            <a:lvl1pPr algn="r">
              <a:buNone/>
              <a:defRPr sz="1512"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dirty="0"/>
              <a:t>Title, Company</a:t>
            </a:r>
          </a:p>
        </p:txBody>
      </p:sp>
      <p:sp>
        <p:nvSpPr>
          <p:cNvPr id="20" name="Text Placeholder 7">
            <a:extLst>
              <a:ext uri="{FF2B5EF4-FFF2-40B4-BE49-F238E27FC236}">
                <a16:creationId xmlns:a16="http://schemas.microsoft.com/office/drawing/2014/main" id="{863EC0BC-4112-8DDD-0614-95A80EA70C02}"/>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RIAL 9PT</a:t>
            </a:r>
          </a:p>
        </p:txBody>
      </p:sp>
      <p:sp>
        <p:nvSpPr>
          <p:cNvPr id="3" name="Text Placeholder 1">
            <a:extLst>
              <a:ext uri="{FF2B5EF4-FFF2-40B4-BE49-F238E27FC236}">
                <a16:creationId xmlns:a16="http://schemas.microsoft.com/office/drawing/2014/main" id="{31B6A3A9-297A-F0BF-6C44-7BDBBA9533FF}"/>
              </a:ext>
            </a:extLst>
          </p:cNvPr>
          <p:cNvSpPr>
            <a:spLocks noGrp="1"/>
          </p:cNvSpPr>
          <p:nvPr>
            <p:ph type="body" sz="quarter" idx="10" hasCustomPrompt="1"/>
          </p:nvPr>
        </p:nvSpPr>
        <p:spPr>
          <a:xfrm>
            <a:off x="1721445" y="377970"/>
            <a:ext cx="1546500" cy="2044555"/>
          </a:xfrm>
          <a:prstGeom prst="rect">
            <a:avLst/>
          </a:prstGeom>
        </p:spPr>
        <p:txBody>
          <a:bodyPr/>
          <a:lstStyle>
            <a:lvl1pPr marL="0" indent="0">
              <a:buNone/>
              <a:defRPr sz="32694">
                <a:solidFill>
                  <a:schemeClr val="accent2"/>
                </a:solidFill>
                <a:latin typeface="+mn-lt"/>
              </a:defRPr>
            </a:lvl1pPr>
          </a:lstStyle>
          <a:p>
            <a:r>
              <a:rPr lang="en-US" dirty="0">
                <a:solidFill>
                  <a:schemeClr val="accent2"/>
                </a:solidFill>
              </a:rPr>
              <a:t>“</a:t>
            </a:r>
          </a:p>
        </p:txBody>
      </p:sp>
      <p:sp>
        <p:nvSpPr>
          <p:cNvPr id="4" name="Text Placeholder 3">
            <a:extLst>
              <a:ext uri="{FF2B5EF4-FFF2-40B4-BE49-F238E27FC236}">
                <a16:creationId xmlns:a16="http://schemas.microsoft.com/office/drawing/2014/main" id="{DE76262B-6B95-8E68-045B-DC72333C9566}"/>
              </a:ext>
            </a:extLst>
          </p:cNvPr>
          <p:cNvSpPr>
            <a:spLocks noGrp="1"/>
          </p:cNvSpPr>
          <p:nvPr>
            <p:ph type="body" sz="quarter" idx="16" hasCustomPrompt="1"/>
          </p:nvPr>
        </p:nvSpPr>
        <p:spPr>
          <a:xfrm>
            <a:off x="3267944" y="1955135"/>
            <a:ext cx="7267645" cy="2488971"/>
          </a:xfrm>
          <a:prstGeom prst="rect">
            <a:avLst/>
          </a:prstGeom>
        </p:spPr>
        <p:txBody>
          <a:bodyPr/>
          <a:lstStyle>
            <a:lvl1pPr marL="0" indent="0">
              <a:buNone/>
              <a:defRPr sz="3024">
                <a:solidFill>
                  <a:schemeClr val="bg1"/>
                </a:solidFill>
                <a:latin typeface="Avenir Next LT Pro" panose="020B0504020202020204" pitchFamily="34" charset="77"/>
              </a:defRPr>
            </a:lvl1pPr>
            <a:lvl2pPr marL="160504" indent="0">
              <a:buNone/>
              <a:defRPr>
                <a:solidFill>
                  <a:schemeClr val="bg1"/>
                </a:solidFill>
                <a:latin typeface="Avenir Next LT Pro" panose="020B0504020202020204" pitchFamily="34" charset="77"/>
              </a:defRPr>
            </a:lvl2pPr>
            <a:lvl3pPr marL="325506" indent="0">
              <a:buNone/>
              <a:defRPr>
                <a:solidFill>
                  <a:schemeClr val="bg1"/>
                </a:solidFill>
                <a:latin typeface="Avenir Next LT Pro" panose="020B0504020202020204" pitchFamily="34" charset="77"/>
              </a:defRPr>
            </a:lvl3pPr>
            <a:lvl4pPr marL="486009" indent="0">
              <a:buNone/>
              <a:defRPr>
                <a:solidFill>
                  <a:schemeClr val="bg1"/>
                </a:solidFill>
                <a:latin typeface="Avenir Next LT Pro" panose="020B0504020202020204" pitchFamily="34" charset="77"/>
              </a:defRPr>
            </a:lvl4pPr>
            <a:lvl5pPr marL="651012" indent="0">
              <a:buNone/>
              <a:defRPr>
                <a:solidFill>
                  <a:schemeClr val="bg1"/>
                </a:solidFill>
                <a:latin typeface="Avenir Next LT Pro" panose="020B0504020202020204" pitchFamily="34" charset="77"/>
              </a:defRPr>
            </a:lvl5pPr>
          </a:lstStyle>
          <a:p>
            <a:pPr lvl="0"/>
            <a:r>
              <a:rPr lang="en-US" dirty="0"/>
              <a:t>Quote, Avenir Next LT Pro 32 </a:t>
            </a:r>
            <a:r>
              <a:rPr lang="en-US" dirty="0" err="1"/>
              <a:t>pt</a:t>
            </a:r>
            <a:r>
              <a:rPr lang="en-US" dirty="0"/>
              <a:t> – </a:t>
            </a:r>
            <a:br>
              <a:rPr lang="en-US" dirty="0"/>
            </a:br>
            <a:r>
              <a:rPr lang="en-US" dirty="0"/>
              <a:t>At </a:t>
            </a:r>
            <a:r>
              <a:rPr lang="en-US" dirty="0" err="1"/>
              <a:t>vero</a:t>
            </a:r>
            <a:r>
              <a:rPr lang="en-US" dirty="0"/>
              <a:t> </a:t>
            </a:r>
            <a:r>
              <a:rPr lang="en-US" dirty="0" err="1"/>
              <a:t>eos</a:t>
            </a:r>
            <a:r>
              <a:rPr lang="en-US" dirty="0"/>
              <a:t> et </a:t>
            </a:r>
            <a:r>
              <a:rPr lang="en-US" dirty="0" err="1"/>
              <a:t>accusamus</a:t>
            </a:r>
            <a:r>
              <a:rPr lang="en-US" dirty="0"/>
              <a:t> et </a:t>
            </a:r>
            <a:r>
              <a:rPr lang="en-US" dirty="0" err="1"/>
              <a:t>iusto</a:t>
            </a:r>
            <a:r>
              <a:rPr lang="en-US" dirty="0"/>
              <a:t> </a:t>
            </a:r>
            <a:r>
              <a:rPr lang="en-US" dirty="0" err="1"/>
              <a:t>odio</a:t>
            </a:r>
            <a:r>
              <a:rPr lang="en-US" dirty="0"/>
              <a:t> </a:t>
            </a:r>
            <a:r>
              <a:rPr lang="en-US" dirty="0" err="1"/>
              <a:t>dignissimos</a:t>
            </a:r>
            <a:r>
              <a:rPr lang="en-US" dirty="0"/>
              <a:t> </a:t>
            </a:r>
            <a:r>
              <a:rPr lang="en-US" dirty="0" err="1"/>
              <a:t>ducimus</a:t>
            </a:r>
            <a:r>
              <a:rPr lang="en-US" dirty="0"/>
              <a:t> qui </a:t>
            </a:r>
            <a:r>
              <a:rPr lang="en-US" dirty="0" err="1"/>
              <a:t>blanditiis</a:t>
            </a:r>
            <a:r>
              <a:rPr lang="en-US" dirty="0"/>
              <a:t> </a:t>
            </a:r>
            <a:r>
              <a:rPr lang="en-US" dirty="0" err="1"/>
              <a:t>praesentium</a:t>
            </a:r>
            <a:r>
              <a:rPr lang="en-US" dirty="0"/>
              <a:t> </a:t>
            </a:r>
            <a:r>
              <a:rPr lang="en-US" dirty="0" err="1"/>
              <a:t>voluptatum</a:t>
            </a:r>
            <a:r>
              <a:rPr lang="en-US" dirty="0"/>
              <a:t> </a:t>
            </a:r>
            <a:r>
              <a:rPr lang="en-US" dirty="0" err="1"/>
              <a:t>deleniti</a:t>
            </a:r>
            <a:r>
              <a:rPr lang="en-US" dirty="0"/>
              <a:t> </a:t>
            </a:r>
            <a:r>
              <a:rPr lang="en-US" dirty="0" err="1"/>
              <a:t>atque</a:t>
            </a:r>
            <a:r>
              <a:rPr lang="en-US" dirty="0"/>
              <a:t> </a:t>
            </a:r>
            <a:r>
              <a:rPr lang="en-US" dirty="0" err="1"/>
              <a:t>corrupti</a:t>
            </a:r>
            <a:r>
              <a:rPr lang="en-US" dirty="0"/>
              <a:t> quos </a:t>
            </a:r>
            <a:r>
              <a:rPr lang="en-US" dirty="0" err="1"/>
              <a:t>delores</a:t>
            </a:r>
            <a:r>
              <a:rPr lang="en-US" dirty="0"/>
              <a:t> et </a:t>
            </a:r>
            <a:r>
              <a:rPr lang="en-US" dirty="0" err="1"/>
              <a:t>quas</a:t>
            </a:r>
            <a:r>
              <a:rPr lang="en-US" dirty="0"/>
              <a:t>.</a:t>
            </a:r>
          </a:p>
        </p:txBody>
      </p:sp>
    </p:spTree>
    <p:extLst>
      <p:ext uri="{BB962C8B-B14F-4D97-AF65-F5344CB8AC3E}">
        <p14:creationId xmlns:p14="http://schemas.microsoft.com/office/powerpoint/2010/main" val="2607768759"/>
      </p:ext>
    </p:extLst>
  </p:cSld>
  <p:clrMapOvr>
    <a:masterClrMapping/>
  </p:clrMapOvr>
  <p:transition>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2 - Timeline - standard,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0" name="TextBox 9">
            <a:extLst>
              <a:ext uri="{FF2B5EF4-FFF2-40B4-BE49-F238E27FC236}">
                <a16:creationId xmlns:a16="http://schemas.microsoft.com/office/drawing/2014/main" id="{AF4EB9D7-71DD-FCA4-7C02-1BA97745F3C8}"/>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4" name="Title 1">
            <a:extLst>
              <a:ext uri="{FF2B5EF4-FFF2-40B4-BE49-F238E27FC236}">
                <a16:creationId xmlns:a16="http://schemas.microsoft.com/office/drawing/2014/main" id="{EBA0A43E-FAF2-36A7-AE5E-B21BA3703D97}"/>
              </a:ext>
            </a:extLst>
          </p:cNvPr>
          <p:cNvSpPr>
            <a:spLocks noGrp="1"/>
          </p:cNvSpPr>
          <p:nvPr>
            <p:ph type="title" hasCustomPrompt="1"/>
          </p:nvPr>
        </p:nvSpPr>
        <p:spPr>
          <a:xfrm>
            <a:off x="576026" y="339048"/>
            <a:ext cx="2623244" cy="436231"/>
          </a:xfrm>
        </p:spPr>
        <p:txBody>
          <a:bodyPr tIns="0" rIns="0" anchor="ctr" anchorCtr="0"/>
          <a:lstStyle>
            <a:lvl1pPr>
              <a:lnSpc>
                <a:spcPct val="100000"/>
              </a:lnSpc>
              <a:defRPr sz="4158" b="0">
                <a:solidFill>
                  <a:schemeClr val="bg1"/>
                </a:solidFill>
                <a:latin typeface="Avenir Next LT Pro" panose="020B0504020202020204" pitchFamily="34" charset="77"/>
              </a:defRPr>
            </a:lvl1pPr>
          </a:lstStyle>
          <a:p>
            <a:r>
              <a:rPr lang="en-US" dirty="0"/>
              <a:t>TIMELINE</a:t>
            </a:r>
          </a:p>
        </p:txBody>
      </p:sp>
      <p:sp>
        <p:nvSpPr>
          <p:cNvPr id="16" name="Text Placeholder 15">
            <a:extLst>
              <a:ext uri="{FF2B5EF4-FFF2-40B4-BE49-F238E27FC236}">
                <a16:creationId xmlns:a16="http://schemas.microsoft.com/office/drawing/2014/main" id="{30CD37A3-5CC1-E97B-B439-692382BEE75A}"/>
              </a:ext>
            </a:extLst>
          </p:cNvPr>
          <p:cNvSpPr>
            <a:spLocks noGrp="1"/>
          </p:cNvSpPr>
          <p:nvPr>
            <p:ph type="body" sz="quarter" idx="10" hasCustomPrompt="1"/>
          </p:nvPr>
        </p:nvSpPr>
        <p:spPr>
          <a:xfrm>
            <a:off x="3199270" y="339048"/>
            <a:ext cx="7745192" cy="436512"/>
          </a:xfrm>
          <a:prstGeom prst="rect">
            <a:avLst/>
          </a:prstGeom>
        </p:spPr>
        <p:txBody>
          <a:bodyPr anchor="ctr" anchorCtr="0"/>
          <a:lstStyle>
            <a:lvl1pPr marL="0" indent="0">
              <a:lnSpc>
                <a:spcPts val="1890"/>
              </a:lnSpc>
              <a:buNone/>
              <a:defRPr sz="1701">
                <a:solidFill>
                  <a:schemeClr val="accent6">
                    <a:lumMod val="60000"/>
                    <a:lumOff val="40000"/>
                  </a:schemeClr>
                </a:solidFill>
                <a:latin typeface="Avenir Next LT Pro" panose="020B0504020202020204" pitchFamily="34" charset="77"/>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Avenir Next LT Pro 18pt gray</a:t>
            </a:r>
            <a:br>
              <a:rPr lang="en-US" dirty="0"/>
            </a:br>
            <a:r>
              <a:rPr lang="en-US" dirty="0"/>
              <a:t>Long subhead here on 1-2 lines Avenir Next LT Pro 18pt gray</a:t>
            </a:r>
          </a:p>
        </p:txBody>
      </p:sp>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430092"/>
            <a:ext cx="10944462" cy="0"/>
          </a:xfrm>
          <a:prstGeom prst="straightConnector1">
            <a:avLst/>
          </a:prstGeom>
          <a:ln>
            <a:solidFill>
              <a:schemeClr val="accent6">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756725" y="3430093"/>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4838905" y="3430093"/>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8921322" y="3430093"/>
            <a:ext cx="0" cy="38115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783628" y="3049683"/>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6894182" y="3049683"/>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71D45600-684D-757E-E5D2-CF8C8A715837}"/>
              </a:ext>
            </a:extLst>
          </p:cNvPr>
          <p:cNvGrpSpPr/>
          <p:nvPr userDrawn="1"/>
        </p:nvGrpSpPr>
        <p:grpSpPr>
          <a:xfrm>
            <a:off x="630434" y="3306022"/>
            <a:ext cx="252113" cy="252109"/>
            <a:chOff x="3407315" y="3683685"/>
            <a:chExt cx="266808" cy="266808"/>
          </a:xfrm>
        </p:grpSpPr>
        <p:sp>
          <p:nvSpPr>
            <p:cNvPr id="24" name="Oval 23">
              <a:extLst>
                <a:ext uri="{FF2B5EF4-FFF2-40B4-BE49-F238E27FC236}">
                  <a16:creationId xmlns:a16="http://schemas.microsoft.com/office/drawing/2014/main" id="{F6DEA580-AF8B-D483-AC94-D12A8DADF30F}"/>
                </a:ext>
              </a:extLst>
            </p:cNvPr>
            <p:cNvSpPr/>
            <p:nvPr/>
          </p:nvSpPr>
          <p:spPr>
            <a:xfrm>
              <a:off x="3407315" y="3683685"/>
              <a:ext cx="266808" cy="266808"/>
            </a:xfrm>
            <a:prstGeom prst="ellipse">
              <a:avLst/>
            </a:prstGeom>
            <a:solidFill>
              <a:srgbClr val="00243D"/>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3486931" y="3763301"/>
              <a:ext cx="107577" cy="107577"/>
            </a:xfrm>
            <a:prstGeom prst="ellipse">
              <a:avLst/>
            </a:prstGeom>
            <a:solidFill>
              <a:srgbClr val="A7A8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26" name="Group 25">
            <a:extLst>
              <a:ext uri="{FF2B5EF4-FFF2-40B4-BE49-F238E27FC236}">
                <a16:creationId xmlns:a16="http://schemas.microsoft.com/office/drawing/2014/main" id="{2ED4A908-17B3-80AC-E5A4-158ABA9071FB}"/>
              </a:ext>
            </a:extLst>
          </p:cNvPr>
          <p:cNvGrpSpPr/>
          <p:nvPr userDrawn="1"/>
        </p:nvGrpSpPr>
        <p:grpSpPr>
          <a:xfrm>
            <a:off x="2655573" y="3306022"/>
            <a:ext cx="252113" cy="252109"/>
            <a:chOff x="3407315" y="3683685"/>
            <a:chExt cx="266808" cy="266808"/>
          </a:xfrm>
        </p:grpSpPr>
        <p:sp>
          <p:nvSpPr>
            <p:cNvPr id="27" name="Oval 26">
              <a:extLst>
                <a:ext uri="{FF2B5EF4-FFF2-40B4-BE49-F238E27FC236}">
                  <a16:creationId xmlns:a16="http://schemas.microsoft.com/office/drawing/2014/main" id="{B8CD4124-22BB-212D-1A09-2D0B568A6045}"/>
                </a:ext>
              </a:extLst>
            </p:cNvPr>
            <p:cNvSpPr/>
            <p:nvPr/>
          </p:nvSpPr>
          <p:spPr>
            <a:xfrm>
              <a:off x="3407315" y="3683685"/>
              <a:ext cx="266808" cy="266808"/>
            </a:xfrm>
            <a:prstGeom prst="ellipse">
              <a:avLst/>
            </a:prstGeom>
            <a:solidFill>
              <a:srgbClr val="00243D"/>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3486931" y="3763301"/>
              <a:ext cx="107577" cy="107577"/>
            </a:xfrm>
            <a:prstGeom prst="ellipse">
              <a:avLst/>
            </a:prstGeom>
            <a:solidFill>
              <a:srgbClr val="A7A8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29" name="Group 28">
            <a:extLst>
              <a:ext uri="{FF2B5EF4-FFF2-40B4-BE49-F238E27FC236}">
                <a16:creationId xmlns:a16="http://schemas.microsoft.com/office/drawing/2014/main" id="{B5838903-1125-66AA-FF10-15F4E7FB867B}"/>
              </a:ext>
            </a:extLst>
          </p:cNvPr>
          <p:cNvGrpSpPr/>
          <p:nvPr userDrawn="1"/>
        </p:nvGrpSpPr>
        <p:grpSpPr>
          <a:xfrm>
            <a:off x="4712849" y="3306022"/>
            <a:ext cx="252113" cy="252109"/>
            <a:chOff x="3407315" y="3683685"/>
            <a:chExt cx="266808" cy="266808"/>
          </a:xfrm>
        </p:grpSpPr>
        <p:sp>
          <p:nvSpPr>
            <p:cNvPr id="30" name="Oval 29">
              <a:extLst>
                <a:ext uri="{FF2B5EF4-FFF2-40B4-BE49-F238E27FC236}">
                  <a16:creationId xmlns:a16="http://schemas.microsoft.com/office/drawing/2014/main" id="{9448871D-B441-D299-691A-0CE2BF313387}"/>
                </a:ext>
              </a:extLst>
            </p:cNvPr>
            <p:cNvSpPr/>
            <p:nvPr/>
          </p:nvSpPr>
          <p:spPr>
            <a:xfrm>
              <a:off x="3407315" y="3683685"/>
              <a:ext cx="266808" cy="266808"/>
            </a:xfrm>
            <a:prstGeom prst="ellipse">
              <a:avLst/>
            </a:prstGeom>
            <a:solidFill>
              <a:srgbClr val="00243D"/>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3486931" y="3763301"/>
              <a:ext cx="107577" cy="107577"/>
            </a:xfrm>
            <a:prstGeom prst="ellipse">
              <a:avLst/>
            </a:prstGeom>
            <a:solidFill>
              <a:srgbClr val="A7A8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32" name="Group 31">
            <a:extLst>
              <a:ext uri="{FF2B5EF4-FFF2-40B4-BE49-F238E27FC236}">
                <a16:creationId xmlns:a16="http://schemas.microsoft.com/office/drawing/2014/main" id="{B866D0F7-BBE8-6C3F-4AB8-B4E505F24B83}"/>
              </a:ext>
            </a:extLst>
          </p:cNvPr>
          <p:cNvGrpSpPr/>
          <p:nvPr userDrawn="1"/>
        </p:nvGrpSpPr>
        <p:grpSpPr>
          <a:xfrm>
            <a:off x="6768126" y="3306022"/>
            <a:ext cx="252113" cy="252109"/>
            <a:chOff x="3407315" y="3683685"/>
            <a:chExt cx="266808" cy="266808"/>
          </a:xfrm>
        </p:grpSpPr>
        <p:sp>
          <p:nvSpPr>
            <p:cNvPr id="33" name="Oval 32">
              <a:extLst>
                <a:ext uri="{FF2B5EF4-FFF2-40B4-BE49-F238E27FC236}">
                  <a16:creationId xmlns:a16="http://schemas.microsoft.com/office/drawing/2014/main" id="{3193325B-CA89-31CE-EB0F-9623A0CADE4F}"/>
                </a:ext>
              </a:extLst>
            </p:cNvPr>
            <p:cNvSpPr/>
            <p:nvPr/>
          </p:nvSpPr>
          <p:spPr>
            <a:xfrm>
              <a:off x="3407315" y="3683685"/>
              <a:ext cx="266808" cy="266808"/>
            </a:xfrm>
            <a:prstGeom prst="ellipse">
              <a:avLst/>
            </a:prstGeom>
            <a:solidFill>
              <a:srgbClr val="00243D"/>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3486931" y="3763301"/>
              <a:ext cx="107577" cy="107577"/>
            </a:xfrm>
            <a:prstGeom prst="ellipse">
              <a:avLst/>
            </a:prstGeom>
            <a:solidFill>
              <a:srgbClr val="A7A8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sp>
        <p:nvSpPr>
          <p:cNvPr id="36" name="Oval 35">
            <a:extLst>
              <a:ext uri="{FF2B5EF4-FFF2-40B4-BE49-F238E27FC236}">
                <a16:creationId xmlns:a16="http://schemas.microsoft.com/office/drawing/2014/main" id="{A21B6CAA-20ED-12F7-F1E6-856B011206F0}"/>
              </a:ext>
            </a:extLst>
          </p:cNvPr>
          <p:cNvSpPr/>
          <p:nvPr/>
        </p:nvSpPr>
        <p:spPr>
          <a:xfrm>
            <a:off x="8795030" y="3306022"/>
            <a:ext cx="252113" cy="252109"/>
          </a:xfrm>
          <a:prstGeom prst="ellipse">
            <a:avLst/>
          </a:prstGeom>
          <a:solidFill>
            <a:srgbClr val="00243D"/>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p:nvSpPr>
        <p:spPr>
          <a:xfrm>
            <a:off x="8870261" y="3381253"/>
            <a:ext cx="101652" cy="101650"/>
          </a:xfrm>
          <a:prstGeom prst="ellipse">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p:ph type="body" sz="quarter" idx="11" hasCustomPrompt="1"/>
          </p:nvPr>
        </p:nvSpPr>
        <p:spPr>
          <a:xfrm>
            <a:off x="756725" y="3889606"/>
            <a:ext cx="1966584" cy="331508"/>
          </a:xfrm>
          <a:prstGeom prst="rect">
            <a:avLst/>
          </a:prstGeom>
        </p:spPr>
        <p:txBody>
          <a:bodyPr lIns="0"/>
          <a:lstStyle>
            <a:lvl1pPr marL="0" indent="0">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p:ph type="body" sz="quarter" idx="12" hasCustomPrompt="1"/>
          </p:nvPr>
        </p:nvSpPr>
        <p:spPr>
          <a:xfrm>
            <a:off x="750862" y="4206114"/>
            <a:ext cx="1995004" cy="1306536"/>
          </a:xfrm>
          <a:prstGeom prst="rect">
            <a:avLst/>
          </a:prstGeom>
        </p:spPr>
        <p:txBody>
          <a:bodyPr lIns="0"/>
          <a:lstStyle>
            <a:lvl1pPr marL="0" indent="0">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p:ph type="body" sz="quarter" idx="13" hasCustomPrompt="1"/>
          </p:nvPr>
        </p:nvSpPr>
        <p:spPr>
          <a:xfrm>
            <a:off x="4838906" y="3889606"/>
            <a:ext cx="1966584" cy="331508"/>
          </a:xfrm>
          <a:prstGeom prst="rect">
            <a:avLst/>
          </a:prstGeom>
        </p:spPr>
        <p:txBody>
          <a:bodyPr lIns="0"/>
          <a:lstStyle>
            <a:lvl1pPr marL="0" indent="0">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p:ph type="body" sz="quarter" idx="14" hasCustomPrompt="1"/>
          </p:nvPr>
        </p:nvSpPr>
        <p:spPr>
          <a:xfrm>
            <a:off x="4833042" y="4206114"/>
            <a:ext cx="1995004" cy="1306536"/>
          </a:xfrm>
          <a:prstGeom prst="rect">
            <a:avLst/>
          </a:prstGeom>
        </p:spPr>
        <p:txBody>
          <a:bodyPr lIns="0"/>
          <a:lstStyle>
            <a:lvl1pPr marL="0" indent="0">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p:ph type="body" sz="quarter" idx="15" hasCustomPrompt="1"/>
          </p:nvPr>
        </p:nvSpPr>
        <p:spPr>
          <a:xfrm>
            <a:off x="8927185" y="3889606"/>
            <a:ext cx="1966584" cy="331508"/>
          </a:xfrm>
          <a:prstGeom prst="rect">
            <a:avLst/>
          </a:prstGeom>
        </p:spPr>
        <p:txBody>
          <a:bodyPr lIns="0"/>
          <a:lstStyle>
            <a:lvl1pPr marL="0" indent="0">
              <a:buNone/>
              <a:defRPr sz="1701"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p:ph type="body" sz="quarter" idx="16" hasCustomPrompt="1"/>
          </p:nvPr>
        </p:nvSpPr>
        <p:spPr>
          <a:xfrm>
            <a:off x="8921322" y="4206114"/>
            <a:ext cx="1995004" cy="1306536"/>
          </a:xfrm>
          <a:prstGeom prst="rect">
            <a:avLst/>
          </a:prstGeom>
        </p:spPr>
        <p:txBody>
          <a:bodyPr lIns="0"/>
          <a:lstStyle>
            <a:lvl1pPr marL="0" indent="0">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p:ph type="body" sz="quarter" idx="17" hasCustomPrompt="1"/>
          </p:nvPr>
        </p:nvSpPr>
        <p:spPr>
          <a:xfrm>
            <a:off x="2798939" y="1374095"/>
            <a:ext cx="1966584" cy="331508"/>
          </a:xfrm>
          <a:prstGeom prst="rect">
            <a:avLst/>
          </a:prstGeom>
        </p:spPr>
        <p:txBody>
          <a:bodyPr lIns="0"/>
          <a:lstStyle>
            <a:lvl1pPr marL="0" indent="0">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p:ph type="body" sz="quarter" idx="18" hasCustomPrompt="1"/>
          </p:nvPr>
        </p:nvSpPr>
        <p:spPr>
          <a:xfrm>
            <a:off x="2793076" y="1690603"/>
            <a:ext cx="1995004" cy="1306536"/>
          </a:xfrm>
          <a:prstGeom prst="rect">
            <a:avLst/>
          </a:prstGeom>
        </p:spPr>
        <p:txBody>
          <a:bodyPr lIns="0"/>
          <a:lstStyle>
            <a:lvl1pPr marL="0" indent="0">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p:ph type="body" sz="quarter" idx="19" hasCustomPrompt="1"/>
          </p:nvPr>
        </p:nvSpPr>
        <p:spPr>
          <a:xfrm>
            <a:off x="6903677" y="1374095"/>
            <a:ext cx="1966584" cy="331508"/>
          </a:xfrm>
          <a:prstGeom prst="rect">
            <a:avLst/>
          </a:prstGeom>
        </p:spPr>
        <p:txBody>
          <a:bodyPr lIns="0"/>
          <a:lstStyle>
            <a:lvl1pPr marL="0" indent="0">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p:ph type="body" sz="quarter" idx="20" hasCustomPrompt="1"/>
          </p:nvPr>
        </p:nvSpPr>
        <p:spPr>
          <a:xfrm>
            <a:off x="6897814" y="1690603"/>
            <a:ext cx="1995004" cy="1306536"/>
          </a:xfrm>
          <a:prstGeom prst="rect">
            <a:avLst/>
          </a:prstGeom>
        </p:spPr>
        <p:txBody>
          <a:bodyPr lIns="0"/>
          <a:lstStyle>
            <a:lvl1pPr marL="0" indent="0">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 name="Text Placeholder 12">
            <a:extLst>
              <a:ext uri="{FF2B5EF4-FFF2-40B4-BE49-F238E27FC236}">
                <a16:creationId xmlns:a16="http://schemas.microsoft.com/office/drawing/2014/main" id="{12808F99-1732-032E-6844-A5E6ED9D28E5}"/>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bg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2" name="Picture 1">
            <a:extLst>
              <a:ext uri="{FF2B5EF4-FFF2-40B4-BE49-F238E27FC236}">
                <a16:creationId xmlns:a16="http://schemas.microsoft.com/office/drawing/2014/main" id="{59B8D05A-2AD6-7AC9-9B6E-72AE87301F37}"/>
              </a:ext>
            </a:extLst>
          </p:cNvPr>
          <p:cNvPicPr>
            <a:picLocks noChangeAspect="1"/>
          </p:cNvPicPr>
          <p:nvPr userDrawn="1"/>
        </p:nvPicPr>
        <p:blipFill>
          <a:blip r:embed="rId2"/>
          <a:stretch>
            <a:fillRect/>
          </a:stretch>
        </p:blipFill>
        <p:spPr>
          <a:xfrm>
            <a:off x="9354396" y="6142501"/>
            <a:ext cx="1893795" cy="152200"/>
          </a:xfrm>
          <a:prstGeom prst="rect">
            <a:avLst/>
          </a:prstGeom>
        </p:spPr>
      </p:pic>
      <p:sp>
        <p:nvSpPr>
          <p:cNvPr id="5" name="Rectangle 50">
            <a:extLst>
              <a:ext uri="{FF2B5EF4-FFF2-40B4-BE49-F238E27FC236}">
                <a16:creationId xmlns:a16="http://schemas.microsoft.com/office/drawing/2014/main" id="{9D2EF8B5-EFDB-D539-9007-32E8AACA3D41}"/>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3342045492"/>
      </p:ext>
    </p:extLst>
  </p:cSld>
  <p:clrMapOvr>
    <a:masterClrMapping/>
  </p:clrMapOvr>
  <p:transition>
    <p:wip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9 - Timeline with steps">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462904"/>
            <a:ext cx="10944462" cy="0"/>
          </a:xfrm>
          <a:prstGeom prst="straightConnector1">
            <a:avLst/>
          </a:prstGeom>
          <a:ln>
            <a:solidFill>
              <a:schemeClr val="accent6">
                <a:lumMod val="60000"/>
                <a:lumOff val="4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756725" y="3462905"/>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4838905" y="3462905"/>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8921322" y="3462905"/>
            <a:ext cx="0" cy="38115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783628" y="3082495"/>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6894182" y="3082495"/>
            <a:ext cx="0" cy="381156"/>
          </a:xfrm>
          <a:prstGeom prst="line">
            <a:avLst/>
          </a:prstGeom>
          <a:ln>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30434" y="3338834"/>
            <a:ext cx="252113" cy="252109"/>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05665" y="3414064"/>
            <a:ext cx="101652" cy="101650"/>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655573" y="3338834"/>
            <a:ext cx="252113" cy="252109"/>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730804" y="3414064"/>
            <a:ext cx="101652" cy="101650"/>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712849" y="3338834"/>
            <a:ext cx="252113" cy="252109"/>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4788080" y="3414064"/>
            <a:ext cx="101652" cy="101650"/>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6768126" y="3338834"/>
            <a:ext cx="252113" cy="252109"/>
          </a:xfrm>
          <a:prstGeom prst="ellipse">
            <a:avLst/>
          </a:prstGeom>
          <a:solidFill>
            <a:schemeClr val="bg1"/>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6843357" y="3414064"/>
            <a:ext cx="101652" cy="101650"/>
          </a:xfrm>
          <a:prstGeom prst="ellipse">
            <a:avLst/>
          </a:prstGeom>
          <a:solidFill>
            <a:srgbClr val="A7A8A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8795030" y="3338834"/>
            <a:ext cx="252113" cy="252109"/>
          </a:xfrm>
          <a:prstGeom prst="ellipse">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8870261" y="3414064"/>
            <a:ext cx="101652" cy="10165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756725" y="3922418"/>
            <a:ext cx="1966584" cy="331508"/>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50862" y="4238926"/>
            <a:ext cx="1995004" cy="1306536"/>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4838906" y="3922418"/>
            <a:ext cx="1966584" cy="331508"/>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4833042" y="4238926"/>
            <a:ext cx="1995004" cy="1306536"/>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8927185" y="3922418"/>
            <a:ext cx="1966584" cy="331508"/>
          </a:xfrm>
          <a:prstGeom prst="rect">
            <a:avLst/>
          </a:prstGeom>
        </p:spPr>
        <p:txBody>
          <a:bodyPr lIns="0"/>
          <a:lstStyle>
            <a:lvl1pPr marL="0" indent="0">
              <a:buNone/>
              <a:defRPr sz="1323"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8921322" y="4238926"/>
            <a:ext cx="1995004" cy="1306536"/>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798939" y="1406907"/>
            <a:ext cx="1966584" cy="331508"/>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793076" y="1723415"/>
            <a:ext cx="1995004" cy="1306536"/>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6903677" y="1406907"/>
            <a:ext cx="1966584" cy="331508"/>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6897814" y="1723415"/>
            <a:ext cx="1995004" cy="1306536"/>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576026" y="432013"/>
            <a:ext cx="10368438" cy="436231"/>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5" name="Text Placeholder 12">
            <a:extLst>
              <a:ext uri="{FF2B5EF4-FFF2-40B4-BE49-F238E27FC236}">
                <a16:creationId xmlns:a16="http://schemas.microsoft.com/office/drawing/2014/main" id="{0E118C6A-661B-F48A-47A7-94A3D29D54C0}"/>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E3E7ED72-4EF8-598D-F829-A7F354257189}"/>
              </a:ext>
            </a:extLst>
          </p:cNvPr>
          <p:cNvSpPr>
            <a:spLocks noGrp="1"/>
          </p:cNvSpPr>
          <p:nvPr>
            <p:ph type="body" sz="quarter" idx="24"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378828913"/>
      </p:ext>
    </p:extLst>
  </p:cSld>
  <p:clrMapOvr>
    <a:masterClrMapping/>
  </p:clrMapOvr>
  <p:transition>
    <p:wip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4 - Timeline with icons -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0" name="TextBox 9">
            <a:extLst>
              <a:ext uri="{FF2B5EF4-FFF2-40B4-BE49-F238E27FC236}">
                <a16:creationId xmlns:a16="http://schemas.microsoft.com/office/drawing/2014/main" id="{AF4EB9D7-71DD-FCA4-7C02-1BA97745F3C8}"/>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Rounded Rectangle 5">
            <a:extLst>
              <a:ext uri="{FF2B5EF4-FFF2-40B4-BE49-F238E27FC236}">
                <a16:creationId xmlns:a16="http://schemas.microsoft.com/office/drawing/2014/main" id="{B3FD44E3-0F1F-FA60-78E7-F90768292482}"/>
              </a:ext>
            </a:extLst>
          </p:cNvPr>
          <p:cNvSpPr/>
          <p:nvPr userDrawn="1"/>
        </p:nvSpPr>
        <p:spPr>
          <a:xfrm>
            <a:off x="648184" y="2991432"/>
            <a:ext cx="1839291" cy="32010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615836" y="2991432"/>
            <a:ext cx="1839291" cy="32010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583487" y="2991432"/>
            <a:ext cx="1839291" cy="320108"/>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551139" y="2991432"/>
            <a:ext cx="1839291" cy="32010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8518790" y="2823147"/>
            <a:ext cx="2177765" cy="65555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214026" y="1501894"/>
            <a:ext cx="710916" cy="710905"/>
          </a:xfrm>
          <a:prstGeom prst="ellipse">
            <a:avLst/>
          </a:prstGeom>
          <a:solidFill>
            <a:srgbClr val="00243D"/>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180022" y="1501894"/>
            <a:ext cx="710916" cy="710905"/>
          </a:xfrm>
          <a:prstGeom prst="ellipse">
            <a:avLst/>
          </a:prstGeom>
          <a:solidFill>
            <a:srgbClr val="00243D"/>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145913" y="1501894"/>
            <a:ext cx="710916" cy="710905"/>
          </a:xfrm>
          <a:prstGeom prst="ellipse">
            <a:avLst/>
          </a:prstGeom>
          <a:solidFill>
            <a:srgbClr val="00243D"/>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111804" y="1501894"/>
            <a:ext cx="710916" cy="710905"/>
          </a:xfrm>
          <a:prstGeom prst="ellipse">
            <a:avLst/>
          </a:prstGeom>
          <a:solidFill>
            <a:srgbClr val="00243D"/>
          </a:solid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128009" y="1501894"/>
            <a:ext cx="710916" cy="710905"/>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6" idx="0"/>
          </p:cNvCxnSpPr>
          <p:nvPr userDrawn="1"/>
        </p:nvCxnSpPr>
        <p:spPr>
          <a:xfrm flipH="1">
            <a:off x="1567830" y="2212800"/>
            <a:ext cx="1655" cy="7786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p:cNvCxnSpPr>
          <p:nvPr userDrawn="1"/>
        </p:nvCxnSpPr>
        <p:spPr>
          <a:xfrm flipH="1">
            <a:off x="3534654" y="2212800"/>
            <a:ext cx="827" cy="77863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a:stCxn id="41" idx="4"/>
          </p:cNvCxnSpPr>
          <p:nvPr userDrawn="1"/>
        </p:nvCxnSpPr>
        <p:spPr>
          <a:xfrm>
            <a:off x="5501371" y="2212800"/>
            <a:ext cx="0" cy="77863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a:stCxn id="51" idx="4"/>
          </p:cNvCxnSpPr>
          <p:nvPr userDrawn="1"/>
        </p:nvCxnSpPr>
        <p:spPr>
          <a:xfrm flipH="1">
            <a:off x="7467236" y="2212800"/>
            <a:ext cx="26" cy="778633"/>
          </a:xfrm>
          <a:prstGeom prst="line">
            <a:avLst/>
          </a:prstGeom>
          <a:ln>
            <a:solidFill>
              <a:schemeClr val="accent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a:stCxn id="52" idx="4"/>
          </p:cNvCxnSpPr>
          <p:nvPr userDrawn="1"/>
        </p:nvCxnSpPr>
        <p:spPr>
          <a:xfrm flipH="1">
            <a:off x="9483441" y="2212800"/>
            <a:ext cx="26" cy="77863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39">
            <a:extLst>
              <a:ext uri="{FF2B5EF4-FFF2-40B4-BE49-F238E27FC236}">
                <a16:creationId xmlns:a16="http://schemas.microsoft.com/office/drawing/2014/main" id="{B592791D-7F96-52E5-0611-71684F02A5BC}"/>
              </a:ext>
            </a:extLst>
          </p:cNvPr>
          <p:cNvSpPr>
            <a:spLocks noGrp="1"/>
          </p:cNvSpPr>
          <p:nvPr>
            <p:ph type="body" sz="quarter" idx="11" hasCustomPrompt="1"/>
          </p:nvPr>
        </p:nvSpPr>
        <p:spPr>
          <a:xfrm>
            <a:off x="654048" y="3516030"/>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1</a:t>
            </a:r>
          </a:p>
        </p:txBody>
      </p:sp>
      <p:sp>
        <p:nvSpPr>
          <p:cNvPr id="64" name="Text Placeholder 41">
            <a:extLst>
              <a:ext uri="{FF2B5EF4-FFF2-40B4-BE49-F238E27FC236}">
                <a16:creationId xmlns:a16="http://schemas.microsoft.com/office/drawing/2014/main" id="{33D078AD-1E0A-E703-685E-3487089141BA}"/>
              </a:ext>
            </a:extLst>
          </p:cNvPr>
          <p:cNvSpPr>
            <a:spLocks noGrp="1"/>
          </p:cNvSpPr>
          <p:nvPr>
            <p:ph type="body" sz="quarter" idx="12" hasCustomPrompt="1"/>
          </p:nvPr>
        </p:nvSpPr>
        <p:spPr>
          <a:xfrm>
            <a:off x="648183" y="3857906"/>
            <a:ext cx="1845157" cy="1306536"/>
          </a:xfrm>
          <a:prstGeom prst="rect">
            <a:avLst/>
          </a:prstGeom>
        </p:spPr>
        <p:txBody>
          <a:bodyPr lIns="91440" rIns="182880"/>
          <a:lstStyle>
            <a:lvl1pPr marL="0" indent="0" algn="ctr">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5" name="Text Placeholder 39">
            <a:extLst>
              <a:ext uri="{FF2B5EF4-FFF2-40B4-BE49-F238E27FC236}">
                <a16:creationId xmlns:a16="http://schemas.microsoft.com/office/drawing/2014/main" id="{C81F72A3-1637-7955-36A0-53269E53C7D4}"/>
              </a:ext>
            </a:extLst>
          </p:cNvPr>
          <p:cNvSpPr>
            <a:spLocks noGrp="1"/>
          </p:cNvSpPr>
          <p:nvPr>
            <p:ph type="body" sz="quarter" idx="13" hasCustomPrompt="1"/>
          </p:nvPr>
        </p:nvSpPr>
        <p:spPr>
          <a:xfrm>
            <a:off x="2621699" y="3516030"/>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2</a:t>
            </a:r>
          </a:p>
        </p:txBody>
      </p:sp>
      <p:sp>
        <p:nvSpPr>
          <p:cNvPr id="66" name="Text Placeholder 41">
            <a:extLst>
              <a:ext uri="{FF2B5EF4-FFF2-40B4-BE49-F238E27FC236}">
                <a16:creationId xmlns:a16="http://schemas.microsoft.com/office/drawing/2014/main" id="{E364A5F2-45D2-A3AE-25BF-11BDB5AF40DB}"/>
              </a:ext>
            </a:extLst>
          </p:cNvPr>
          <p:cNvSpPr>
            <a:spLocks noGrp="1"/>
          </p:cNvSpPr>
          <p:nvPr>
            <p:ph type="body" sz="quarter" idx="14" hasCustomPrompt="1"/>
          </p:nvPr>
        </p:nvSpPr>
        <p:spPr>
          <a:xfrm>
            <a:off x="2615835" y="3857906"/>
            <a:ext cx="1845157" cy="1306536"/>
          </a:xfrm>
          <a:prstGeom prst="rect">
            <a:avLst/>
          </a:prstGeom>
        </p:spPr>
        <p:txBody>
          <a:bodyPr lIns="91440" rIns="182880"/>
          <a:lstStyle>
            <a:lvl1pPr marL="0" indent="0" algn="ctr">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7" name="Text Placeholder 39">
            <a:extLst>
              <a:ext uri="{FF2B5EF4-FFF2-40B4-BE49-F238E27FC236}">
                <a16:creationId xmlns:a16="http://schemas.microsoft.com/office/drawing/2014/main" id="{C8A54824-0831-C13E-62A4-BBD0BAB5E33F}"/>
              </a:ext>
            </a:extLst>
          </p:cNvPr>
          <p:cNvSpPr>
            <a:spLocks noGrp="1"/>
          </p:cNvSpPr>
          <p:nvPr>
            <p:ph type="body" sz="quarter" idx="15" hasCustomPrompt="1"/>
          </p:nvPr>
        </p:nvSpPr>
        <p:spPr>
          <a:xfrm>
            <a:off x="4580555" y="3516030"/>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3</a:t>
            </a:r>
          </a:p>
        </p:txBody>
      </p:sp>
      <p:sp>
        <p:nvSpPr>
          <p:cNvPr id="68" name="Text Placeholder 41">
            <a:extLst>
              <a:ext uri="{FF2B5EF4-FFF2-40B4-BE49-F238E27FC236}">
                <a16:creationId xmlns:a16="http://schemas.microsoft.com/office/drawing/2014/main" id="{C4A7D437-7891-6604-CEB9-D01B0DC2094D}"/>
              </a:ext>
            </a:extLst>
          </p:cNvPr>
          <p:cNvSpPr>
            <a:spLocks noGrp="1"/>
          </p:cNvSpPr>
          <p:nvPr>
            <p:ph type="body" sz="quarter" idx="16" hasCustomPrompt="1"/>
          </p:nvPr>
        </p:nvSpPr>
        <p:spPr>
          <a:xfrm>
            <a:off x="4574690" y="3857906"/>
            <a:ext cx="1845157" cy="1306536"/>
          </a:xfrm>
          <a:prstGeom prst="rect">
            <a:avLst/>
          </a:prstGeom>
        </p:spPr>
        <p:txBody>
          <a:bodyPr lIns="91440" rIns="182880"/>
          <a:lstStyle>
            <a:lvl1pPr marL="0" indent="0" algn="ctr">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9" name="Text Placeholder 39">
            <a:extLst>
              <a:ext uri="{FF2B5EF4-FFF2-40B4-BE49-F238E27FC236}">
                <a16:creationId xmlns:a16="http://schemas.microsoft.com/office/drawing/2014/main" id="{D319E021-0AA1-90DA-36B1-CA8E36BF2AAC}"/>
              </a:ext>
            </a:extLst>
          </p:cNvPr>
          <p:cNvSpPr>
            <a:spLocks noGrp="1"/>
          </p:cNvSpPr>
          <p:nvPr>
            <p:ph type="body" sz="quarter" idx="17" hasCustomPrompt="1"/>
          </p:nvPr>
        </p:nvSpPr>
        <p:spPr>
          <a:xfrm>
            <a:off x="6557002" y="3516030"/>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4</a:t>
            </a:r>
          </a:p>
        </p:txBody>
      </p:sp>
      <p:sp>
        <p:nvSpPr>
          <p:cNvPr id="70" name="Text Placeholder 41">
            <a:extLst>
              <a:ext uri="{FF2B5EF4-FFF2-40B4-BE49-F238E27FC236}">
                <a16:creationId xmlns:a16="http://schemas.microsoft.com/office/drawing/2014/main" id="{9028A013-4F14-0F58-144C-23F27D83C573}"/>
              </a:ext>
            </a:extLst>
          </p:cNvPr>
          <p:cNvSpPr>
            <a:spLocks noGrp="1"/>
          </p:cNvSpPr>
          <p:nvPr>
            <p:ph type="body" sz="quarter" idx="18" hasCustomPrompt="1"/>
          </p:nvPr>
        </p:nvSpPr>
        <p:spPr>
          <a:xfrm>
            <a:off x="6551138" y="3857906"/>
            <a:ext cx="1845157" cy="1306536"/>
          </a:xfrm>
          <a:prstGeom prst="rect">
            <a:avLst/>
          </a:prstGeom>
        </p:spPr>
        <p:txBody>
          <a:bodyPr lIns="91440" rIns="182880"/>
          <a:lstStyle>
            <a:lvl1pPr marL="0" indent="0" algn="ctr">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75" name="Text Placeholder 39">
            <a:extLst>
              <a:ext uri="{FF2B5EF4-FFF2-40B4-BE49-F238E27FC236}">
                <a16:creationId xmlns:a16="http://schemas.microsoft.com/office/drawing/2014/main" id="{E2569B5D-C5AC-3A12-0D59-4606A19A5B33}"/>
              </a:ext>
            </a:extLst>
          </p:cNvPr>
          <p:cNvSpPr>
            <a:spLocks noGrp="1"/>
          </p:cNvSpPr>
          <p:nvPr>
            <p:ph type="body" sz="quarter" idx="19" hasCustomPrompt="1"/>
          </p:nvPr>
        </p:nvSpPr>
        <p:spPr>
          <a:xfrm>
            <a:off x="8524654" y="3516030"/>
            <a:ext cx="1839292" cy="331508"/>
          </a:xfrm>
          <a:prstGeom prst="rect">
            <a:avLst/>
          </a:prstGeom>
        </p:spPr>
        <p:txBody>
          <a:bodyPr lIns="91440" rIns="182880"/>
          <a:lstStyle>
            <a:lvl1pPr marL="0" indent="0" algn="ctr">
              <a:buNone/>
              <a:defRPr sz="1701"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5</a:t>
            </a:r>
          </a:p>
        </p:txBody>
      </p:sp>
      <p:sp>
        <p:nvSpPr>
          <p:cNvPr id="76" name="Text Placeholder 41">
            <a:extLst>
              <a:ext uri="{FF2B5EF4-FFF2-40B4-BE49-F238E27FC236}">
                <a16:creationId xmlns:a16="http://schemas.microsoft.com/office/drawing/2014/main" id="{BA1203E4-6F3B-C426-B434-75B2CBE1DECC}"/>
              </a:ext>
            </a:extLst>
          </p:cNvPr>
          <p:cNvSpPr>
            <a:spLocks noGrp="1"/>
          </p:cNvSpPr>
          <p:nvPr>
            <p:ph type="body" sz="quarter" idx="20" hasCustomPrompt="1"/>
          </p:nvPr>
        </p:nvSpPr>
        <p:spPr>
          <a:xfrm>
            <a:off x="8518789" y="3857906"/>
            <a:ext cx="1845157" cy="1306536"/>
          </a:xfrm>
          <a:prstGeom prst="rect">
            <a:avLst/>
          </a:prstGeom>
        </p:spPr>
        <p:txBody>
          <a:bodyPr lIns="91440" rIns="182880"/>
          <a:lstStyle>
            <a:lvl1pPr marL="0" indent="0" algn="ctr">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368781" y="1655212"/>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336686" y="1655212"/>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298220" y="1655212"/>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274668" y="1655212"/>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284392" y="1655212"/>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654048" y="2989517"/>
            <a:ext cx="1839292" cy="331508"/>
          </a:xfrm>
          <a:prstGeom prst="rect">
            <a:avLst/>
          </a:prstGeom>
        </p:spPr>
        <p:txBody>
          <a:bodyPr lIns="91440" rIns="182880"/>
          <a:lstStyle>
            <a:lvl1pPr marL="0" indent="0" algn="ctr">
              <a:buNone/>
              <a:defRPr sz="1512"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621699" y="2989517"/>
            <a:ext cx="1839292" cy="331508"/>
          </a:xfrm>
          <a:prstGeom prst="rect">
            <a:avLst/>
          </a:prstGeom>
        </p:spPr>
        <p:txBody>
          <a:bodyPr lIns="91440" rIns="182880"/>
          <a:lstStyle>
            <a:lvl1pPr marL="0" indent="0" algn="ctr">
              <a:buNone/>
              <a:defRPr sz="1512"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580555" y="2989517"/>
            <a:ext cx="1839292" cy="331508"/>
          </a:xfrm>
          <a:prstGeom prst="rect">
            <a:avLst/>
          </a:prstGeom>
        </p:spPr>
        <p:txBody>
          <a:bodyPr lIns="91440" rIns="182880"/>
          <a:lstStyle>
            <a:lvl1pPr marL="0" indent="0" algn="ctr">
              <a:buNone/>
              <a:defRPr sz="1512"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557002" y="2989517"/>
            <a:ext cx="1839292" cy="331508"/>
          </a:xfrm>
          <a:prstGeom prst="rect">
            <a:avLst/>
          </a:prstGeom>
        </p:spPr>
        <p:txBody>
          <a:bodyPr lIns="91440" rIns="182880"/>
          <a:lstStyle>
            <a:lvl1pPr marL="0" indent="0" algn="ctr">
              <a:buNone/>
              <a:defRPr sz="1512"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8524654" y="2989517"/>
            <a:ext cx="1839292" cy="331508"/>
          </a:xfrm>
          <a:prstGeom prst="rect">
            <a:avLst/>
          </a:prstGeom>
        </p:spPr>
        <p:txBody>
          <a:bodyPr lIns="91440" rIns="182880"/>
          <a:lstStyle>
            <a:lvl1pPr marL="0" indent="0" algn="ctr">
              <a:buNone/>
              <a:defRPr sz="1512"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LAUNCH</a:t>
            </a:r>
          </a:p>
        </p:txBody>
      </p:sp>
      <p:sp>
        <p:nvSpPr>
          <p:cNvPr id="5" name="Title 1">
            <a:extLst>
              <a:ext uri="{FF2B5EF4-FFF2-40B4-BE49-F238E27FC236}">
                <a16:creationId xmlns:a16="http://schemas.microsoft.com/office/drawing/2014/main" id="{995DE2D2-4E3F-9B11-4ED6-29206039FCD4}"/>
              </a:ext>
            </a:extLst>
          </p:cNvPr>
          <p:cNvSpPr>
            <a:spLocks noGrp="1"/>
          </p:cNvSpPr>
          <p:nvPr>
            <p:ph type="title" hasCustomPrompt="1"/>
          </p:nvPr>
        </p:nvSpPr>
        <p:spPr>
          <a:xfrm>
            <a:off x="576026" y="339048"/>
            <a:ext cx="2623244" cy="436231"/>
          </a:xfrm>
        </p:spPr>
        <p:txBody>
          <a:bodyPr tIns="0" rIns="0" anchor="ctr" anchorCtr="0"/>
          <a:lstStyle>
            <a:lvl1pPr>
              <a:lnSpc>
                <a:spcPct val="100000"/>
              </a:lnSpc>
              <a:defRPr sz="4158" b="0">
                <a:solidFill>
                  <a:schemeClr val="bg1"/>
                </a:solidFill>
                <a:latin typeface="Avenir Next LT Pro" panose="020B0504020202020204" pitchFamily="34" charset="77"/>
              </a:defRPr>
            </a:lvl1pPr>
          </a:lstStyle>
          <a:p>
            <a:r>
              <a:rPr lang="en-US" dirty="0"/>
              <a:t>TIMELINE</a:t>
            </a:r>
          </a:p>
        </p:txBody>
      </p:sp>
      <p:sp>
        <p:nvSpPr>
          <p:cNvPr id="13" name="Text Placeholder 15">
            <a:extLst>
              <a:ext uri="{FF2B5EF4-FFF2-40B4-BE49-F238E27FC236}">
                <a16:creationId xmlns:a16="http://schemas.microsoft.com/office/drawing/2014/main" id="{E6F63984-593B-B2A8-DAE5-F81A354BD06E}"/>
              </a:ext>
            </a:extLst>
          </p:cNvPr>
          <p:cNvSpPr>
            <a:spLocks noGrp="1"/>
          </p:cNvSpPr>
          <p:nvPr>
            <p:ph type="body" sz="quarter" idx="10" hasCustomPrompt="1"/>
          </p:nvPr>
        </p:nvSpPr>
        <p:spPr>
          <a:xfrm>
            <a:off x="3199270" y="339048"/>
            <a:ext cx="7745192" cy="436512"/>
          </a:xfrm>
          <a:prstGeom prst="rect">
            <a:avLst/>
          </a:prstGeom>
        </p:spPr>
        <p:txBody>
          <a:bodyPr anchor="ctr" anchorCtr="0"/>
          <a:lstStyle>
            <a:lvl1pPr marL="0" indent="0">
              <a:lnSpc>
                <a:spcPts val="1890"/>
              </a:lnSpc>
              <a:buNone/>
              <a:defRPr sz="1701">
                <a:solidFill>
                  <a:schemeClr val="accent6">
                    <a:lumMod val="60000"/>
                    <a:lumOff val="40000"/>
                  </a:schemeClr>
                </a:solidFill>
                <a:latin typeface="Avenir Next LT Pro" panose="020B0504020202020204" pitchFamily="34" charset="77"/>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Avenir Next LT Pro 18pt gray</a:t>
            </a:r>
            <a:br>
              <a:rPr lang="en-US" dirty="0"/>
            </a:br>
            <a:r>
              <a:rPr lang="en-US" dirty="0"/>
              <a:t>Long subhead here on 1-2 lines Avenir Next LT Pro 18pt gray</a:t>
            </a:r>
          </a:p>
        </p:txBody>
      </p:sp>
      <p:sp>
        <p:nvSpPr>
          <p:cNvPr id="14" name="Text Placeholder 12">
            <a:extLst>
              <a:ext uri="{FF2B5EF4-FFF2-40B4-BE49-F238E27FC236}">
                <a16:creationId xmlns:a16="http://schemas.microsoft.com/office/drawing/2014/main" id="{8DC760DE-AD00-3C1C-F3C8-A3E8C6193CCA}"/>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bg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2" name="Picture 1">
            <a:extLst>
              <a:ext uri="{FF2B5EF4-FFF2-40B4-BE49-F238E27FC236}">
                <a16:creationId xmlns:a16="http://schemas.microsoft.com/office/drawing/2014/main" id="{A7CAA649-57F2-3C1A-2DB2-66E4B9AACEE5}"/>
              </a:ext>
            </a:extLst>
          </p:cNvPr>
          <p:cNvPicPr>
            <a:picLocks noChangeAspect="1"/>
          </p:cNvPicPr>
          <p:nvPr userDrawn="1"/>
        </p:nvPicPr>
        <p:blipFill>
          <a:blip r:embed="rId2"/>
          <a:stretch>
            <a:fillRect/>
          </a:stretch>
        </p:blipFill>
        <p:spPr>
          <a:xfrm>
            <a:off x="9354396" y="6142501"/>
            <a:ext cx="1893795" cy="152200"/>
          </a:xfrm>
          <a:prstGeom prst="rect">
            <a:avLst/>
          </a:prstGeom>
        </p:spPr>
      </p:pic>
      <p:sp>
        <p:nvSpPr>
          <p:cNvPr id="4" name="Rectangle 50">
            <a:extLst>
              <a:ext uri="{FF2B5EF4-FFF2-40B4-BE49-F238E27FC236}">
                <a16:creationId xmlns:a16="http://schemas.microsoft.com/office/drawing/2014/main" id="{D7E20420-41E9-4ED9-7492-ACC818EB18AA}"/>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2027947715"/>
      </p:ext>
    </p:extLst>
  </p:cSld>
  <p:clrMapOvr>
    <a:masterClrMapping/>
  </p:clrMapOvr>
  <p:transition>
    <p:wip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0 - Timeline with dates &amp; icons">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B3FD44E3-0F1F-FA60-78E7-F90768292482}"/>
              </a:ext>
            </a:extLst>
          </p:cNvPr>
          <p:cNvSpPr/>
          <p:nvPr userDrawn="1"/>
        </p:nvSpPr>
        <p:spPr>
          <a:xfrm>
            <a:off x="648184" y="3100805"/>
            <a:ext cx="1839291" cy="32010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039" b="1" dirty="0">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615836" y="3100805"/>
            <a:ext cx="1839291" cy="32010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583487" y="3100805"/>
            <a:ext cx="1839291" cy="320108"/>
          </a:xfrm>
          <a:prstGeom prst="round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039" b="1" dirty="0">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551139" y="3100805"/>
            <a:ext cx="1839291" cy="320108"/>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8518790" y="2932520"/>
            <a:ext cx="2177765" cy="65555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214026" y="1611267"/>
            <a:ext cx="710916" cy="710905"/>
          </a:xfrm>
          <a:prstGeom prst="ellipse">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180022" y="1611267"/>
            <a:ext cx="710916" cy="710905"/>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145913" y="1611267"/>
            <a:ext cx="710916" cy="710905"/>
          </a:xfrm>
          <a:prstGeom prst="ellipse">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111804" y="1611267"/>
            <a:ext cx="710916" cy="710905"/>
          </a:xfrm>
          <a:prstGeom prst="ellipse">
            <a:avLst/>
          </a:prstGeom>
          <a:noFill/>
          <a:ln w="9525">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128009" y="1611267"/>
            <a:ext cx="710916" cy="710905"/>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6" idx="0"/>
          </p:cNvCxnSpPr>
          <p:nvPr userDrawn="1"/>
        </p:nvCxnSpPr>
        <p:spPr>
          <a:xfrm flipH="1">
            <a:off x="1567830" y="2322173"/>
            <a:ext cx="1655" cy="7786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p:cNvCxnSpPr>
          <p:nvPr userDrawn="1"/>
        </p:nvCxnSpPr>
        <p:spPr>
          <a:xfrm flipH="1">
            <a:off x="3534654" y="2322173"/>
            <a:ext cx="827" cy="77863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a:stCxn id="41" idx="4"/>
          </p:cNvCxnSpPr>
          <p:nvPr userDrawn="1"/>
        </p:nvCxnSpPr>
        <p:spPr>
          <a:xfrm>
            <a:off x="5501371" y="2322173"/>
            <a:ext cx="0" cy="77863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a:stCxn id="51" idx="4"/>
          </p:cNvCxnSpPr>
          <p:nvPr userDrawn="1"/>
        </p:nvCxnSpPr>
        <p:spPr>
          <a:xfrm flipH="1">
            <a:off x="7467236" y="2322173"/>
            <a:ext cx="26" cy="778633"/>
          </a:xfrm>
          <a:prstGeom prst="line">
            <a:avLst/>
          </a:prstGeom>
          <a:ln>
            <a:solidFill>
              <a:schemeClr val="accent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a:stCxn id="52" idx="4"/>
          </p:cNvCxnSpPr>
          <p:nvPr userDrawn="1"/>
        </p:nvCxnSpPr>
        <p:spPr>
          <a:xfrm flipH="1">
            <a:off x="9483441" y="2322173"/>
            <a:ext cx="26" cy="77863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3" name="Text Placeholder 39">
            <a:extLst>
              <a:ext uri="{FF2B5EF4-FFF2-40B4-BE49-F238E27FC236}">
                <a16:creationId xmlns:a16="http://schemas.microsoft.com/office/drawing/2014/main" id="{B592791D-7F96-52E5-0611-71684F02A5BC}"/>
              </a:ext>
            </a:extLst>
          </p:cNvPr>
          <p:cNvSpPr>
            <a:spLocks noGrp="1"/>
          </p:cNvSpPr>
          <p:nvPr>
            <p:ph type="body" sz="quarter" idx="11" hasCustomPrompt="1"/>
          </p:nvPr>
        </p:nvSpPr>
        <p:spPr>
          <a:xfrm>
            <a:off x="654048" y="3625404"/>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1</a:t>
            </a:r>
          </a:p>
        </p:txBody>
      </p:sp>
      <p:sp>
        <p:nvSpPr>
          <p:cNvPr id="64" name="Text Placeholder 41">
            <a:extLst>
              <a:ext uri="{FF2B5EF4-FFF2-40B4-BE49-F238E27FC236}">
                <a16:creationId xmlns:a16="http://schemas.microsoft.com/office/drawing/2014/main" id="{33D078AD-1E0A-E703-685E-3487089141BA}"/>
              </a:ext>
            </a:extLst>
          </p:cNvPr>
          <p:cNvSpPr>
            <a:spLocks noGrp="1"/>
          </p:cNvSpPr>
          <p:nvPr>
            <p:ph type="body" sz="quarter" idx="12" hasCustomPrompt="1"/>
          </p:nvPr>
        </p:nvSpPr>
        <p:spPr>
          <a:xfrm>
            <a:off x="648183" y="3967279"/>
            <a:ext cx="1845157" cy="1306536"/>
          </a:xfrm>
          <a:prstGeom prst="rect">
            <a:avLst/>
          </a:prstGeom>
        </p:spPr>
        <p:txBody>
          <a:bodyPr lIns="91440" rIns="182880"/>
          <a:lstStyle>
            <a:lvl1pPr marL="0" indent="0" algn="ctr">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5" name="Text Placeholder 39">
            <a:extLst>
              <a:ext uri="{FF2B5EF4-FFF2-40B4-BE49-F238E27FC236}">
                <a16:creationId xmlns:a16="http://schemas.microsoft.com/office/drawing/2014/main" id="{C81F72A3-1637-7955-36A0-53269E53C7D4}"/>
              </a:ext>
            </a:extLst>
          </p:cNvPr>
          <p:cNvSpPr>
            <a:spLocks noGrp="1"/>
          </p:cNvSpPr>
          <p:nvPr>
            <p:ph type="body" sz="quarter" idx="13" hasCustomPrompt="1"/>
          </p:nvPr>
        </p:nvSpPr>
        <p:spPr>
          <a:xfrm>
            <a:off x="2621699" y="3625404"/>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2</a:t>
            </a:r>
          </a:p>
        </p:txBody>
      </p:sp>
      <p:sp>
        <p:nvSpPr>
          <p:cNvPr id="66" name="Text Placeholder 41">
            <a:extLst>
              <a:ext uri="{FF2B5EF4-FFF2-40B4-BE49-F238E27FC236}">
                <a16:creationId xmlns:a16="http://schemas.microsoft.com/office/drawing/2014/main" id="{E364A5F2-45D2-A3AE-25BF-11BDB5AF40DB}"/>
              </a:ext>
            </a:extLst>
          </p:cNvPr>
          <p:cNvSpPr>
            <a:spLocks noGrp="1"/>
          </p:cNvSpPr>
          <p:nvPr>
            <p:ph type="body" sz="quarter" idx="14" hasCustomPrompt="1"/>
          </p:nvPr>
        </p:nvSpPr>
        <p:spPr>
          <a:xfrm>
            <a:off x="2615835" y="3967279"/>
            <a:ext cx="1845157" cy="1306536"/>
          </a:xfrm>
          <a:prstGeom prst="rect">
            <a:avLst/>
          </a:prstGeom>
        </p:spPr>
        <p:txBody>
          <a:bodyPr lIns="91440" rIns="182880"/>
          <a:lstStyle>
            <a:lvl1pPr marL="0" indent="0" algn="ctr">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7" name="Text Placeholder 39">
            <a:extLst>
              <a:ext uri="{FF2B5EF4-FFF2-40B4-BE49-F238E27FC236}">
                <a16:creationId xmlns:a16="http://schemas.microsoft.com/office/drawing/2014/main" id="{C8A54824-0831-C13E-62A4-BBD0BAB5E33F}"/>
              </a:ext>
            </a:extLst>
          </p:cNvPr>
          <p:cNvSpPr>
            <a:spLocks noGrp="1"/>
          </p:cNvSpPr>
          <p:nvPr>
            <p:ph type="body" sz="quarter" idx="15" hasCustomPrompt="1"/>
          </p:nvPr>
        </p:nvSpPr>
        <p:spPr>
          <a:xfrm>
            <a:off x="4580555" y="3625404"/>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3</a:t>
            </a:r>
          </a:p>
        </p:txBody>
      </p:sp>
      <p:sp>
        <p:nvSpPr>
          <p:cNvPr id="68" name="Text Placeholder 41">
            <a:extLst>
              <a:ext uri="{FF2B5EF4-FFF2-40B4-BE49-F238E27FC236}">
                <a16:creationId xmlns:a16="http://schemas.microsoft.com/office/drawing/2014/main" id="{C4A7D437-7891-6604-CEB9-D01B0DC2094D}"/>
              </a:ext>
            </a:extLst>
          </p:cNvPr>
          <p:cNvSpPr>
            <a:spLocks noGrp="1"/>
          </p:cNvSpPr>
          <p:nvPr>
            <p:ph type="body" sz="quarter" idx="16" hasCustomPrompt="1"/>
          </p:nvPr>
        </p:nvSpPr>
        <p:spPr>
          <a:xfrm>
            <a:off x="4574690" y="3967279"/>
            <a:ext cx="1845157" cy="1306536"/>
          </a:xfrm>
          <a:prstGeom prst="rect">
            <a:avLst/>
          </a:prstGeom>
        </p:spPr>
        <p:txBody>
          <a:bodyPr lIns="91440" rIns="182880"/>
          <a:lstStyle>
            <a:lvl1pPr marL="0" indent="0" algn="ctr">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69" name="Text Placeholder 39">
            <a:extLst>
              <a:ext uri="{FF2B5EF4-FFF2-40B4-BE49-F238E27FC236}">
                <a16:creationId xmlns:a16="http://schemas.microsoft.com/office/drawing/2014/main" id="{D319E021-0AA1-90DA-36B1-CA8E36BF2AAC}"/>
              </a:ext>
            </a:extLst>
          </p:cNvPr>
          <p:cNvSpPr>
            <a:spLocks noGrp="1"/>
          </p:cNvSpPr>
          <p:nvPr>
            <p:ph type="body" sz="quarter" idx="17" hasCustomPrompt="1"/>
          </p:nvPr>
        </p:nvSpPr>
        <p:spPr>
          <a:xfrm>
            <a:off x="6557002" y="3625404"/>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4</a:t>
            </a:r>
          </a:p>
        </p:txBody>
      </p:sp>
      <p:sp>
        <p:nvSpPr>
          <p:cNvPr id="70" name="Text Placeholder 41">
            <a:extLst>
              <a:ext uri="{FF2B5EF4-FFF2-40B4-BE49-F238E27FC236}">
                <a16:creationId xmlns:a16="http://schemas.microsoft.com/office/drawing/2014/main" id="{9028A013-4F14-0F58-144C-23F27D83C573}"/>
              </a:ext>
            </a:extLst>
          </p:cNvPr>
          <p:cNvSpPr>
            <a:spLocks noGrp="1"/>
          </p:cNvSpPr>
          <p:nvPr>
            <p:ph type="body" sz="quarter" idx="18" hasCustomPrompt="1"/>
          </p:nvPr>
        </p:nvSpPr>
        <p:spPr>
          <a:xfrm>
            <a:off x="6551138" y="3967279"/>
            <a:ext cx="1845157" cy="1306536"/>
          </a:xfrm>
          <a:prstGeom prst="rect">
            <a:avLst/>
          </a:prstGeom>
        </p:spPr>
        <p:txBody>
          <a:bodyPr lIns="91440" rIns="182880"/>
          <a:lstStyle>
            <a:lvl1pPr marL="0" indent="0" algn="ctr">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75" name="Text Placeholder 39">
            <a:extLst>
              <a:ext uri="{FF2B5EF4-FFF2-40B4-BE49-F238E27FC236}">
                <a16:creationId xmlns:a16="http://schemas.microsoft.com/office/drawing/2014/main" id="{E2569B5D-C5AC-3A12-0D59-4606A19A5B33}"/>
              </a:ext>
            </a:extLst>
          </p:cNvPr>
          <p:cNvSpPr>
            <a:spLocks noGrp="1"/>
          </p:cNvSpPr>
          <p:nvPr>
            <p:ph type="body" sz="quarter" idx="19" hasCustomPrompt="1"/>
          </p:nvPr>
        </p:nvSpPr>
        <p:spPr>
          <a:xfrm>
            <a:off x="8524654" y="3625404"/>
            <a:ext cx="1839292" cy="331508"/>
          </a:xfrm>
          <a:prstGeom prst="rect">
            <a:avLst/>
          </a:prstGeom>
        </p:spPr>
        <p:txBody>
          <a:bodyPr lIns="91440" rIns="182880"/>
          <a:lstStyle>
            <a:lvl1pPr marL="0" indent="0" algn="ctr">
              <a:buNone/>
              <a:defRPr sz="1323"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5</a:t>
            </a:r>
          </a:p>
        </p:txBody>
      </p:sp>
      <p:sp>
        <p:nvSpPr>
          <p:cNvPr id="76" name="Text Placeholder 41">
            <a:extLst>
              <a:ext uri="{FF2B5EF4-FFF2-40B4-BE49-F238E27FC236}">
                <a16:creationId xmlns:a16="http://schemas.microsoft.com/office/drawing/2014/main" id="{BA1203E4-6F3B-C426-B434-75B2CBE1DECC}"/>
              </a:ext>
            </a:extLst>
          </p:cNvPr>
          <p:cNvSpPr>
            <a:spLocks noGrp="1"/>
          </p:cNvSpPr>
          <p:nvPr>
            <p:ph type="body" sz="quarter" idx="20" hasCustomPrompt="1"/>
          </p:nvPr>
        </p:nvSpPr>
        <p:spPr>
          <a:xfrm>
            <a:off x="8518789" y="3967279"/>
            <a:ext cx="1845157" cy="1306536"/>
          </a:xfrm>
          <a:prstGeom prst="rect">
            <a:avLst/>
          </a:prstGeom>
        </p:spPr>
        <p:txBody>
          <a:bodyPr lIns="91440" rIns="182880"/>
          <a:lstStyle>
            <a:lvl1pPr marL="0" indent="0" algn="ctr">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368781" y="1764585"/>
            <a:ext cx="398097" cy="397131"/>
          </a:xfrm>
          <a:prstGeom prst="rect">
            <a:avLst/>
          </a:prstGeom>
        </p:spPr>
        <p:txBody>
          <a:bodyPr lIns="0" rIns="0" anchor="ctr" anchorCtr="0"/>
          <a:lstStyle>
            <a:lvl1pPr marL="0" indent="0" algn="ctr">
              <a:buNone/>
              <a:defRPr sz="945">
                <a:solidFill>
                  <a:schemeClr val="tx2"/>
                </a:solidFill>
                <a:latin typeface="Avenir Next LT Pro" panose="020B0504020202020204" pitchFamily="34" charset="77"/>
              </a:defRPr>
            </a:lvl1pPr>
          </a:lstStyle>
          <a:p>
            <a:r>
              <a:rPr lang="en-US" dirty="0"/>
              <a:t>BLACK 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336686" y="1764585"/>
            <a:ext cx="398097" cy="397131"/>
          </a:xfrm>
          <a:prstGeom prst="rect">
            <a:avLst/>
          </a:prstGeom>
        </p:spPr>
        <p:txBody>
          <a:bodyPr lIns="0" rIns="0" anchor="ctr" anchorCtr="0"/>
          <a:lstStyle>
            <a:lvl1pPr marL="0" indent="0" algn="ctr">
              <a:buNone/>
              <a:defRPr sz="945">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298220" y="1764585"/>
            <a:ext cx="398097" cy="397131"/>
          </a:xfrm>
          <a:prstGeom prst="rect">
            <a:avLst/>
          </a:prstGeom>
        </p:spPr>
        <p:txBody>
          <a:bodyPr lIns="0" rIns="0" anchor="ctr" anchorCtr="0"/>
          <a:lstStyle>
            <a:lvl1pPr marL="0" indent="0" algn="ctr">
              <a:buNone/>
              <a:defRPr sz="945">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274668" y="1764585"/>
            <a:ext cx="398097" cy="397131"/>
          </a:xfrm>
          <a:prstGeom prst="rect">
            <a:avLst/>
          </a:prstGeom>
        </p:spPr>
        <p:txBody>
          <a:bodyPr lIns="0" rIns="0" anchor="ctr" anchorCtr="0"/>
          <a:lstStyle>
            <a:lvl1pPr marL="0" indent="0" algn="ctr">
              <a:buNone/>
              <a:defRPr sz="945">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284392" y="1764585"/>
            <a:ext cx="398097" cy="397131"/>
          </a:xfrm>
          <a:prstGeom prst="rect">
            <a:avLst/>
          </a:prstGeom>
        </p:spPr>
        <p:txBody>
          <a:bodyPr lIns="0" rIns="0" anchor="ctr" anchorCtr="0"/>
          <a:lstStyle>
            <a:lvl1pPr marL="0" indent="0" algn="ctr">
              <a:buNone/>
              <a:defRPr sz="945">
                <a:solidFill>
                  <a:schemeClr val="tx2"/>
                </a:solidFill>
                <a:latin typeface="Avenir Next LT Pro" panose="020B0504020202020204" pitchFamily="34" charset="77"/>
              </a:defRPr>
            </a:lvl1pPr>
          </a:lstStyle>
          <a:p>
            <a:r>
              <a:rPr lang="en-US" dirty="0"/>
              <a:t>BLACK</a:t>
            </a:r>
            <a:br>
              <a:rPr lang="en-US" dirty="0"/>
            </a:br>
            <a:r>
              <a:rPr lang="en-US" dirty="0"/>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654048" y="3098890"/>
            <a:ext cx="1839292" cy="331508"/>
          </a:xfrm>
          <a:prstGeom prst="rect">
            <a:avLst/>
          </a:prstGeom>
        </p:spPr>
        <p:txBody>
          <a:bodyPr lIns="91440" rIns="182880" anchor="ctr" anchorCtr="0"/>
          <a:lstStyle>
            <a:lvl1pPr marL="0" indent="0" algn="ctr">
              <a:buNone/>
              <a:defRPr sz="1323"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621699" y="3098890"/>
            <a:ext cx="1839292" cy="331508"/>
          </a:xfrm>
          <a:prstGeom prst="rect">
            <a:avLst/>
          </a:prstGeom>
        </p:spPr>
        <p:txBody>
          <a:bodyPr lIns="91440" rIns="182880" anchor="ctr" anchorCtr="0"/>
          <a:lstStyle>
            <a:lvl1pPr marL="0" indent="0" algn="ctr">
              <a:buNone/>
              <a:defRPr sz="1323"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580555" y="3098890"/>
            <a:ext cx="1839292" cy="331508"/>
          </a:xfrm>
          <a:prstGeom prst="rect">
            <a:avLst/>
          </a:prstGeom>
        </p:spPr>
        <p:txBody>
          <a:bodyPr lIns="91440" rIns="182880" anchor="ctr" anchorCtr="0"/>
          <a:lstStyle>
            <a:lvl1pPr marL="0" indent="0" algn="ctr">
              <a:buNone/>
              <a:defRPr sz="1323"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557002" y="3098890"/>
            <a:ext cx="1839292" cy="331508"/>
          </a:xfrm>
          <a:prstGeom prst="rect">
            <a:avLst/>
          </a:prstGeom>
        </p:spPr>
        <p:txBody>
          <a:bodyPr lIns="91440" rIns="182880" anchor="ctr" anchorCtr="0"/>
          <a:lstStyle>
            <a:lvl1pPr marL="0" indent="0" algn="ctr">
              <a:buNone/>
              <a:defRPr sz="1323"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8524654" y="3098890"/>
            <a:ext cx="1839292" cy="331508"/>
          </a:xfrm>
          <a:prstGeom prst="rect">
            <a:avLst/>
          </a:prstGeom>
        </p:spPr>
        <p:txBody>
          <a:bodyPr lIns="91440" rIns="182880" anchor="ctr" anchorCtr="0"/>
          <a:lstStyle>
            <a:lvl1pPr marL="0" indent="0" algn="ctr">
              <a:buNone/>
              <a:defRPr sz="1323"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LAUNCH</a:t>
            </a:r>
          </a:p>
        </p:txBody>
      </p:sp>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576026" y="432013"/>
            <a:ext cx="10368438" cy="436231"/>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1" name="Text Placeholder 7">
            <a:extLst>
              <a:ext uri="{FF2B5EF4-FFF2-40B4-BE49-F238E27FC236}">
                <a16:creationId xmlns:a16="http://schemas.microsoft.com/office/drawing/2014/main" id="{247D37E2-9915-42C3-E706-FC8AFB647BDD}"/>
              </a:ext>
            </a:extLst>
          </p:cNvPr>
          <p:cNvSpPr>
            <a:spLocks noGrp="1"/>
          </p:cNvSpPr>
          <p:nvPr>
            <p:ph type="body" sz="quarter" idx="37"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DFF19612-3175-AD47-6B16-495D1D57B669}"/>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642050595"/>
      </p:ext>
    </p:extLst>
  </p:cSld>
  <p:clrMapOvr>
    <a:masterClrMapping/>
  </p:clrMapOvr>
  <p:transition>
    <p:wip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6 - Timeline with dates - dar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10" name="TextBox 9">
            <a:extLst>
              <a:ext uri="{FF2B5EF4-FFF2-40B4-BE49-F238E27FC236}">
                <a16:creationId xmlns:a16="http://schemas.microsoft.com/office/drawing/2014/main" id="{AF4EB9D7-71DD-FCA4-7C02-1BA97745F3C8}"/>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54048" y="2783099"/>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621699" y="2783099"/>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580555" y="2783099"/>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557002" y="2783099"/>
            <a:ext cx="1839292" cy="331508"/>
          </a:xfrm>
          <a:prstGeom prst="rect">
            <a:avLst/>
          </a:prstGeom>
        </p:spPr>
        <p:txBody>
          <a:bodyPr lIns="91440" rIns="182880"/>
          <a:lstStyle>
            <a:lvl1pPr marL="0" indent="0" algn="ctr">
              <a:buNone/>
              <a:defRPr sz="1701" b="1"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8524654" y="2783099"/>
            <a:ext cx="1839292" cy="331508"/>
          </a:xfrm>
          <a:prstGeom prst="rect">
            <a:avLst/>
          </a:prstGeom>
        </p:spPr>
        <p:txBody>
          <a:bodyPr lIns="91440" rIns="182880"/>
          <a:lstStyle>
            <a:lvl1pPr marL="0" indent="0" algn="ctr">
              <a:buNone/>
              <a:defRPr sz="1701"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54048" y="2171810"/>
            <a:ext cx="1839292" cy="331508"/>
          </a:xfrm>
          <a:prstGeom prst="rect">
            <a:avLst/>
          </a:prstGeom>
        </p:spPr>
        <p:txBody>
          <a:bodyPr lIns="91440" rIns="182880" anchor="b" anchorCtr="0"/>
          <a:lstStyle>
            <a:lvl1pPr marL="0" indent="0" algn="ctr">
              <a:buNone/>
              <a:defRPr sz="3024" b="1" i="0">
                <a:solidFill>
                  <a:schemeClr val="accent4"/>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621699" y="2171810"/>
            <a:ext cx="1839292" cy="331508"/>
          </a:xfrm>
          <a:prstGeom prst="rect">
            <a:avLst/>
          </a:prstGeom>
        </p:spPr>
        <p:txBody>
          <a:bodyPr lIns="91440" rIns="182880" anchor="b" anchorCtr="0"/>
          <a:lstStyle>
            <a:lvl1pPr marL="0" indent="0" algn="ctr">
              <a:buNone/>
              <a:defRPr sz="3024" b="1" i="0">
                <a:solidFill>
                  <a:schemeClr val="accent4"/>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580555" y="2171810"/>
            <a:ext cx="1839292" cy="331508"/>
          </a:xfrm>
          <a:prstGeom prst="rect">
            <a:avLst/>
          </a:prstGeom>
        </p:spPr>
        <p:txBody>
          <a:bodyPr lIns="91440" rIns="182880" anchor="b" anchorCtr="0"/>
          <a:lstStyle>
            <a:lvl1pPr marL="0" indent="0" algn="ctr">
              <a:buNone/>
              <a:defRPr sz="3024" b="1" i="0">
                <a:solidFill>
                  <a:schemeClr val="accent4"/>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557002" y="2171810"/>
            <a:ext cx="1839292" cy="331508"/>
          </a:xfrm>
          <a:prstGeom prst="rect">
            <a:avLst/>
          </a:prstGeom>
        </p:spPr>
        <p:txBody>
          <a:bodyPr lIns="91440" rIns="182880" anchor="b" anchorCtr="0"/>
          <a:lstStyle>
            <a:lvl1pPr marL="0" indent="0" algn="ctr">
              <a:buNone/>
              <a:defRPr sz="3024" b="1" i="0">
                <a:solidFill>
                  <a:schemeClr val="accent4"/>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8524654" y="2171810"/>
            <a:ext cx="1839292" cy="331508"/>
          </a:xfrm>
          <a:prstGeom prst="rect">
            <a:avLst/>
          </a:prstGeom>
        </p:spPr>
        <p:txBody>
          <a:bodyPr lIns="91440" rIns="182880" anchor="b" anchorCtr="0"/>
          <a:lstStyle>
            <a:lvl1pPr marL="0" indent="0" algn="ctr">
              <a:buNone/>
              <a:defRPr sz="3024"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53422" y="2616206"/>
            <a:ext cx="10391040" cy="0"/>
          </a:xfrm>
          <a:prstGeom prst="straightConnector1">
            <a:avLst/>
          </a:prstGeom>
          <a:ln>
            <a:gradFill>
              <a:gsLst>
                <a:gs pos="0">
                  <a:schemeClr val="accent2"/>
                </a:gs>
                <a:gs pos="100000">
                  <a:schemeClr val="accent4"/>
                </a:gs>
              </a:gsLst>
              <a:lin ang="10800000" scaled="0"/>
            </a:gra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54028" y="3176984"/>
            <a:ext cx="1828578" cy="2371565"/>
          </a:xfrm>
          <a:prstGeom prst="rect">
            <a:avLst/>
          </a:prstGeom>
        </p:spPr>
        <p:txBody>
          <a:bodyPr lIns="0"/>
          <a:lstStyle>
            <a:lvl1pPr>
              <a:buClr>
                <a:schemeClr val="bg1"/>
              </a:buClr>
              <a:defRPr sz="1039">
                <a:solidFill>
                  <a:schemeClr val="bg1"/>
                </a:solidFill>
                <a:latin typeface="Avenir Next LT Pro" panose="020B0504020202020204" pitchFamily="34" charset="77"/>
              </a:defRPr>
            </a:lvl1pPr>
            <a:lvl2pPr>
              <a:buClr>
                <a:schemeClr val="bg1"/>
              </a:buClr>
              <a:defRPr sz="1039">
                <a:solidFill>
                  <a:schemeClr val="bg1"/>
                </a:solidFill>
                <a:latin typeface="Avenir Next LT Pro" panose="020B0504020202020204" pitchFamily="34" charset="77"/>
              </a:defRPr>
            </a:lvl2pPr>
            <a:lvl3pPr>
              <a:buClr>
                <a:schemeClr val="bg1"/>
              </a:buClr>
              <a:defRPr sz="1039">
                <a:solidFill>
                  <a:schemeClr val="bg1"/>
                </a:solidFill>
                <a:latin typeface="Avenir Next LT Pro" panose="020B0504020202020204" pitchFamily="34" charset="77"/>
              </a:defRPr>
            </a:lvl3pPr>
            <a:lvl4pPr>
              <a:buClr>
                <a:schemeClr val="bg1"/>
              </a:buClr>
              <a:defRPr sz="1039">
                <a:solidFill>
                  <a:schemeClr val="bg1"/>
                </a:solidFill>
                <a:latin typeface="Avenir Next LT Pro" panose="020B0504020202020204" pitchFamily="34" charset="77"/>
              </a:defRPr>
            </a:lvl4pPr>
            <a:lvl5pPr>
              <a:buClr>
                <a:schemeClr val="bg1"/>
              </a:buClr>
              <a:defRPr sz="1039">
                <a:solidFill>
                  <a:schemeClr val="bg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632414" y="3176984"/>
            <a:ext cx="1828578" cy="2371565"/>
          </a:xfrm>
          <a:prstGeom prst="rect">
            <a:avLst/>
          </a:prstGeom>
        </p:spPr>
        <p:txBody>
          <a:bodyPr lIns="0"/>
          <a:lstStyle>
            <a:lvl1pPr>
              <a:buClr>
                <a:schemeClr val="bg1"/>
              </a:buClr>
              <a:defRPr sz="1039">
                <a:solidFill>
                  <a:schemeClr val="bg1"/>
                </a:solidFill>
                <a:latin typeface="Avenir Next LT Pro" panose="020B0504020202020204" pitchFamily="34" charset="77"/>
              </a:defRPr>
            </a:lvl1pPr>
            <a:lvl2pPr>
              <a:buClr>
                <a:schemeClr val="bg1"/>
              </a:buClr>
              <a:defRPr sz="1039">
                <a:solidFill>
                  <a:schemeClr val="bg1"/>
                </a:solidFill>
                <a:latin typeface="Avenir Next LT Pro" panose="020B0504020202020204" pitchFamily="34" charset="77"/>
              </a:defRPr>
            </a:lvl2pPr>
            <a:lvl3pPr>
              <a:buClr>
                <a:schemeClr val="bg1"/>
              </a:buClr>
              <a:defRPr sz="1039">
                <a:solidFill>
                  <a:schemeClr val="bg1"/>
                </a:solidFill>
                <a:latin typeface="Avenir Next LT Pro" panose="020B0504020202020204" pitchFamily="34" charset="77"/>
              </a:defRPr>
            </a:lvl3pPr>
            <a:lvl4pPr>
              <a:buClr>
                <a:schemeClr val="bg1"/>
              </a:buClr>
              <a:defRPr sz="1039">
                <a:solidFill>
                  <a:schemeClr val="bg1"/>
                </a:solidFill>
                <a:latin typeface="Avenir Next LT Pro" panose="020B0504020202020204" pitchFamily="34" charset="77"/>
              </a:defRPr>
            </a:lvl4pPr>
            <a:lvl5pPr>
              <a:buClr>
                <a:schemeClr val="bg1"/>
              </a:buClr>
              <a:defRPr sz="1039">
                <a:solidFill>
                  <a:schemeClr val="bg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591269" y="3176984"/>
            <a:ext cx="1828578" cy="2371565"/>
          </a:xfrm>
          <a:prstGeom prst="rect">
            <a:avLst/>
          </a:prstGeom>
        </p:spPr>
        <p:txBody>
          <a:bodyPr lIns="0"/>
          <a:lstStyle>
            <a:lvl1pPr>
              <a:buClr>
                <a:schemeClr val="bg1"/>
              </a:buClr>
              <a:defRPr sz="1039">
                <a:solidFill>
                  <a:schemeClr val="bg1"/>
                </a:solidFill>
                <a:latin typeface="Avenir Next LT Pro" panose="020B0504020202020204" pitchFamily="34" charset="77"/>
              </a:defRPr>
            </a:lvl1pPr>
            <a:lvl2pPr>
              <a:buClr>
                <a:schemeClr val="bg1"/>
              </a:buClr>
              <a:defRPr sz="1039">
                <a:solidFill>
                  <a:schemeClr val="bg1"/>
                </a:solidFill>
                <a:latin typeface="Avenir Next LT Pro" panose="020B0504020202020204" pitchFamily="34" charset="77"/>
              </a:defRPr>
            </a:lvl2pPr>
            <a:lvl3pPr>
              <a:buClr>
                <a:schemeClr val="bg1"/>
              </a:buClr>
              <a:defRPr sz="1039">
                <a:solidFill>
                  <a:schemeClr val="bg1"/>
                </a:solidFill>
                <a:latin typeface="Avenir Next LT Pro" panose="020B0504020202020204" pitchFamily="34" charset="77"/>
              </a:defRPr>
            </a:lvl3pPr>
            <a:lvl4pPr>
              <a:buClr>
                <a:schemeClr val="bg1"/>
              </a:buClr>
              <a:defRPr sz="1039">
                <a:solidFill>
                  <a:schemeClr val="bg1"/>
                </a:solidFill>
                <a:latin typeface="Avenir Next LT Pro" panose="020B0504020202020204" pitchFamily="34" charset="77"/>
              </a:defRPr>
            </a:lvl4pPr>
            <a:lvl5pPr>
              <a:buClr>
                <a:schemeClr val="bg1"/>
              </a:buClr>
              <a:defRPr sz="1039">
                <a:solidFill>
                  <a:schemeClr val="bg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567717" y="3176984"/>
            <a:ext cx="1828578" cy="2371565"/>
          </a:xfrm>
          <a:prstGeom prst="rect">
            <a:avLst/>
          </a:prstGeom>
        </p:spPr>
        <p:txBody>
          <a:bodyPr lIns="0"/>
          <a:lstStyle>
            <a:lvl1pPr>
              <a:buClr>
                <a:schemeClr val="bg1"/>
              </a:buClr>
              <a:defRPr sz="1039">
                <a:solidFill>
                  <a:schemeClr val="bg1"/>
                </a:solidFill>
                <a:latin typeface="Avenir Next LT Pro" panose="020B0504020202020204" pitchFamily="34" charset="77"/>
              </a:defRPr>
            </a:lvl1pPr>
            <a:lvl2pPr>
              <a:buClr>
                <a:schemeClr val="bg1"/>
              </a:buClr>
              <a:defRPr sz="1039">
                <a:solidFill>
                  <a:schemeClr val="bg1"/>
                </a:solidFill>
                <a:latin typeface="Avenir Next LT Pro" panose="020B0504020202020204" pitchFamily="34" charset="77"/>
              </a:defRPr>
            </a:lvl2pPr>
            <a:lvl3pPr>
              <a:buClr>
                <a:schemeClr val="bg1"/>
              </a:buClr>
              <a:defRPr sz="1039">
                <a:solidFill>
                  <a:schemeClr val="bg1"/>
                </a:solidFill>
                <a:latin typeface="Avenir Next LT Pro" panose="020B0504020202020204" pitchFamily="34" charset="77"/>
              </a:defRPr>
            </a:lvl3pPr>
            <a:lvl4pPr>
              <a:buClr>
                <a:schemeClr val="bg1"/>
              </a:buClr>
              <a:defRPr sz="1039">
                <a:solidFill>
                  <a:schemeClr val="bg1"/>
                </a:solidFill>
                <a:latin typeface="Avenir Next LT Pro" panose="020B0504020202020204" pitchFamily="34" charset="77"/>
              </a:defRPr>
            </a:lvl4pPr>
            <a:lvl5pPr>
              <a:buClr>
                <a:schemeClr val="bg1"/>
              </a:buClr>
              <a:defRPr sz="1039">
                <a:solidFill>
                  <a:schemeClr val="bg1"/>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8535369" y="3176984"/>
            <a:ext cx="1828578" cy="2371565"/>
          </a:xfrm>
          <a:prstGeom prst="rect">
            <a:avLst/>
          </a:prstGeom>
        </p:spPr>
        <p:txBody>
          <a:bodyPr lIns="0"/>
          <a:lstStyle>
            <a:lvl1pPr>
              <a:buClr>
                <a:schemeClr val="bg1"/>
              </a:buClr>
              <a:defRPr sz="1039">
                <a:solidFill>
                  <a:schemeClr val="bg1"/>
                </a:solidFill>
                <a:latin typeface="Avenir Next LT Pro" panose="020B0504020202020204" pitchFamily="34" charset="77"/>
              </a:defRPr>
            </a:lvl1pPr>
            <a:lvl2pPr>
              <a:buClr>
                <a:schemeClr val="bg1"/>
              </a:buClr>
              <a:defRPr sz="1039">
                <a:solidFill>
                  <a:schemeClr val="bg1"/>
                </a:solidFill>
                <a:latin typeface="Avenir Next LT Pro" panose="020B0504020202020204" pitchFamily="34" charset="77"/>
              </a:defRPr>
            </a:lvl2pPr>
            <a:lvl3pPr>
              <a:buClr>
                <a:schemeClr val="bg1"/>
              </a:buClr>
              <a:defRPr sz="1039">
                <a:solidFill>
                  <a:schemeClr val="bg1"/>
                </a:solidFill>
                <a:latin typeface="Avenir Next LT Pro" panose="020B0504020202020204" pitchFamily="34" charset="77"/>
              </a:defRPr>
            </a:lvl3pPr>
            <a:lvl4pPr>
              <a:buClr>
                <a:schemeClr val="bg1"/>
              </a:buClr>
              <a:defRPr sz="1039">
                <a:solidFill>
                  <a:schemeClr val="bg1"/>
                </a:solidFill>
                <a:latin typeface="Avenir Next LT Pro" panose="020B0504020202020204" pitchFamily="34" charset="77"/>
              </a:defRPr>
            </a:lvl4pPr>
            <a:lvl5pPr>
              <a:buClr>
                <a:schemeClr val="bg1"/>
              </a:buClr>
              <a:defRPr sz="1039">
                <a:solidFill>
                  <a:schemeClr val="bg1"/>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a:extLst>
              <a:ext uri="{FF2B5EF4-FFF2-40B4-BE49-F238E27FC236}">
                <a16:creationId xmlns:a16="http://schemas.microsoft.com/office/drawing/2014/main" id="{FC9871D5-1266-CEDF-0350-FF3557E5A488}"/>
              </a:ext>
            </a:extLst>
          </p:cNvPr>
          <p:cNvSpPr>
            <a:spLocks noGrp="1"/>
          </p:cNvSpPr>
          <p:nvPr>
            <p:ph type="title" hasCustomPrompt="1"/>
          </p:nvPr>
        </p:nvSpPr>
        <p:spPr>
          <a:xfrm>
            <a:off x="576026" y="339048"/>
            <a:ext cx="2623244" cy="436231"/>
          </a:xfrm>
        </p:spPr>
        <p:txBody>
          <a:bodyPr tIns="0" rIns="0" anchor="ctr" anchorCtr="0"/>
          <a:lstStyle>
            <a:lvl1pPr>
              <a:lnSpc>
                <a:spcPct val="100000"/>
              </a:lnSpc>
              <a:defRPr sz="4158" b="0">
                <a:solidFill>
                  <a:schemeClr val="bg1"/>
                </a:solidFill>
                <a:latin typeface="Avenir Next LT Pro" panose="020B0504020202020204" pitchFamily="34" charset="77"/>
              </a:defRPr>
            </a:lvl1pPr>
          </a:lstStyle>
          <a:p>
            <a:r>
              <a:rPr lang="en-US" dirty="0"/>
              <a:t>TIMELINE</a:t>
            </a:r>
          </a:p>
        </p:txBody>
      </p:sp>
      <p:sp>
        <p:nvSpPr>
          <p:cNvPr id="8" name="Text Placeholder 15">
            <a:extLst>
              <a:ext uri="{FF2B5EF4-FFF2-40B4-BE49-F238E27FC236}">
                <a16:creationId xmlns:a16="http://schemas.microsoft.com/office/drawing/2014/main" id="{2506CB30-39F7-09CC-3BF2-3D1B648F6A35}"/>
              </a:ext>
            </a:extLst>
          </p:cNvPr>
          <p:cNvSpPr>
            <a:spLocks noGrp="1"/>
          </p:cNvSpPr>
          <p:nvPr>
            <p:ph type="body" sz="quarter" idx="10" hasCustomPrompt="1"/>
          </p:nvPr>
        </p:nvSpPr>
        <p:spPr>
          <a:xfrm>
            <a:off x="3199270" y="339048"/>
            <a:ext cx="7745192" cy="436512"/>
          </a:xfrm>
          <a:prstGeom prst="rect">
            <a:avLst/>
          </a:prstGeom>
        </p:spPr>
        <p:txBody>
          <a:bodyPr anchor="ctr" anchorCtr="0"/>
          <a:lstStyle>
            <a:lvl1pPr marL="0" indent="0">
              <a:lnSpc>
                <a:spcPts val="1890"/>
              </a:lnSpc>
              <a:buNone/>
              <a:defRPr sz="1701">
                <a:solidFill>
                  <a:schemeClr val="accent6">
                    <a:lumMod val="60000"/>
                    <a:lumOff val="40000"/>
                  </a:schemeClr>
                </a:solidFill>
                <a:latin typeface="Avenir Next LT Pro" panose="020B0504020202020204" pitchFamily="34" charset="77"/>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Avenir Next LT Pro 18pt gray</a:t>
            </a:r>
            <a:br>
              <a:rPr lang="en-US" dirty="0"/>
            </a:br>
            <a:r>
              <a:rPr lang="en-US" dirty="0"/>
              <a:t>Long subhead here on 1-2 lines Avenir Next LT Pro 18pt gray</a:t>
            </a:r>
          </a:p>
        </p:txBody>
      </p:sp>
      <p:sp>
        <p:nvSpPr>
          <p:cNvPr id="12" name="Text Placeholder 12">
            <a:extLst>
              <a:ext uri="{FF2B5EF4-FFF2-40B4-BE49-F238E27FC236}">
                <a16:creationId xmlns:a16="http://schemas.microsoft.com/office/drawing/2014/main" id="{5E6D3927-01CA-F50D-0432-8FF81A4F574F}"/>
              </a:ext>
            </a:extLst>
          </p:cNvPr>
          <p:cNvSpPr>
            <a:spLocks noGrp="1"/>
          </p:cNvSpPr>
          <p:nvPr>
            <p:ph type="body" sz="quarter" idx="31"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bg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2" name="Picture 1">
            <a:extLst>
              <a:ext uri="{FF2B5EF4-FFF2-40B4-BE49-F238E27FC236}">
                <a16:creationId xmlns:a16="http://schemas.microsoft.com/office/drawing/2014/main" id="{B0A7CDA4-5DB6-F79F-168C-9B94A86FDFA3}"/>
              </a:ext>
            </a:extLst>
          </p:cNvPr>
          <p:cNvPicPr>
            <a:picLocks noChangeAspect="1"/>
          </p:cNvPicPr>
          <p:nvPr userDrawn="1"/>
        </p:nvPicPr>
        <p:blipFill>
          <a:blip r:embed="rId2"/>
          <a:stretch>
            <a:fillRect/>
          </a:stretch>
        </p:blipFill>
        <p:spPr>
          <a:xfrm>
            <a:off x="9354396" y="6142501"/>
            <a:ext cx="1893795" cy="152200"/>
          </a:xfrm>
          <a:prstGeom prst="rect">
            <a:avLst/>
          </a:prstGeom>
        </p:spPr>
      </p:pic>
      <p:sp>
        <p:nvSpPr>
          <p:cNvPr id="4" name="Rectangle 50">
            <a:extLst>
              <a:ext uri="{FF2B5EF4-FFF2-40B4-BE49-F238E27FC236}">
                <a16:creationId xmlns:a16="http://schemas.microsoft.com/office/drawing/2014/main" id="{E9120721-BDB6-9002-CCAD-FA8AA37EF87A}"/>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3696430591"/>
      </p:ext>
    </p:extLst>
  </p:cSld>
  <p:clrMapOvr>
    <a:masterClrMapping/>
  </p:clrMapOvr>
  <p:transition>
    <p:wip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1 - Timeline with dates">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54048" y="2444052"/>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621699" y="2444052"/>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580555" y="2444052"/>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557002" y="2444052"/>
            <a:ext cx="1839292" cy="331508"/>
          </a:xfrm>
          <a:prstGeom prst="rect">
            <a:avLst/>
          </a:prstGeom>
        </p:spPr>
        <p:txBody>
          <a:bodyPr lIns="91440" rIns="182880"/>
          <a:lstStyle>
            <a:lvl1pPr marL="0" indent="0" algn="ctr">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8524654" y="2444052"/>
            <a:ext cx="1839292" cy="331508"/>
          </a:xfrm>
          <a:prstGeom prst="rect">
            <a:avLst/>
          </a:prstGeom>
        </p:spPr>
        <p:txBody>
          <a:bodyPr lIns="91440" rIns="182880"/>
          <a:lstStyle>
            <a:lvl1pPr marL="0" indent="0" algn="ctr">
              <a:buNone/>
              <a:defRPr sz="1323" b="1" i="0">
                <a:solidFill>
                  <a:schemeClr val="accent2"/>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54048" y="1936446"/>
            <a:ext cx="1839292" cy="331508"/>
          </a:xfrm>
          <a:prstGeom prst="rect">
            <a:avLst/>
          </a:prstGeom>
        </p:spPr>
        <p:txBody>
          <a:bodyPr lIns="91440" rIns="182880" anchor="b" anchorCtr="0"/>
          <a:lstStyle>
            <a:lvl1pPr marL="0" indent="0" algn="ctr">
              <a:buNone/>
              <a:defRPr sz="3402" b="0" i="0">
                <a:solidFill>
                  <a:schemeClr val="accent1"/>
                </a:solidFill>
                <a:latin typeface="+mj-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621699" y="1936446"/>
            <a:ext cx="1839292" cy="331508"/>
          </a:xfrm>
          <a:prstGeom prst="rect">
            <a:avLst/>
          </a:prstGeom>
        </p:spPr>
        <p:txBody>
          <a:bodyPr lIns="91440" rIns="182880" anchor="b" anchorCtr="0"/>
          <a:lstStyle>
            <a:lvl1pPr marL="0" indent="0" algn="ctr">
              <a:buNone/>
              <a:defRPr sz="3402" b="0" i="0">
                <a:solidFill>
                  <a:schemeClr val="accent1"/>
                </a:solidFill>
                <a:latin typeface="+mj-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580555" y="1936446"/>
            <a:ext cx="1839292" cy="331508"/>
          </a:xfrm>
          <a:prstGeom prst="rect">
            <a:avLst/>
          </a:prstGeom>
        </p:spPr>
        <p:txBody>
          <a:bodyPr lIns="91440" rIns="182880" anchor="b" anchorCtr="0"/>
          <a:lstStyle>
            <a:lvl1pPr marL="0" indent="0" algn="ctr">
              <a:buNone/>
              <a:defRPr sz="3402" b="0" i="0">
                <a:solidFill>
                  <a:schemeClr val="accent1"/>
                </a:solidFill>
                <a:latin typeface="+mj-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557002" y="1936446"/>
            <a:ext cx="1839292" cy="331508"/>
          </a:xfrm>
          <a:prstGeom prst="rect">
            <a:avLst/>
          </a:prstGeom>
        </p:spPr>
        <p:txBody>
          <a:bodyPr lIns="91440" rIns="182880" anchor="b" anchorCtr="0"/>
          <a:lstStyle>
            <a:lvl1pPr marL="0" indent="0" algn="ctr">
              <a:buNone/>
              <a:defRPr sz="3402" b="0" i="0">
                <a:solidFill>
                  <a:schemeClr val="accent1"/>
                </a:solidFill>
                <a:latin typeface="+mj-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8524654" y="1936446"/>
            <a:ext cx="1839292" cy="331508"/>
          </a:xfrm>
          <a:prstGeom prst="rect">
            <a:avLst/>
          </a:prstGeom>
        </p:spPr>
        <p:txBody>
          <a:bodyPr lIns="91440" rIns="182880" anchor="b" anchorCtr="0"/>
          <a:lstStyle>
            <a:lvl1pPr marL="0" indent="0" algn="ctr">
              <a:buNone/>
              <a:defRPr sz="3402" b="0" i="0">
                <a:solidFill>
                  <a:schemeClr val="accent2"/>
                </a:solidFill>
                <a:latin typeface="+mj-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53422" y="2277159"/>
            <a:ext cx="10391040" cy="0"/>
          </a:xfrm>
          <a:prstGeom prst="straightConnector1">
            <a:avLst/>
          </a:prstGeom>
          <a:ln>
            <a:gradFill>
              <a:gsLst>
                <a:gs pos="0">
                  <a:schemeClr val="accent2"/>
                </a:gs>
                <a:gs pos="63000">
                  <a:schemeClr val="accent1"/>
                </a:gs>
              </a:gsLst>
              <a:lin ang="10800000" scaled="0"/>
            </a:gra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54028" y="2837937"/>
            <a:ext cx="1828578" cy="2371565"/>
          </a:xfrm>
          <a:prstGeom prst="rect">
            <a:avLst/>
          </a:prstGeom>
        </p:spPr>
        <p:txBody>
          <a:bodyPr lIns="0"/>
          <a:lstStyle>
            <a:lvl1pPr>
              <a:spcBef>
                <a:spcPts val="0"/>
              </a:spcBef>
              <a:spcAft>
                <a:spcPts val="567"/>
              </a:spcAft>
              <a:buClr>
                <a:schemeClr val="tx2"/>
              </a:buClr>
              <a:defRPr sz="1039">
                <a:solidFill>
                  <a:schemeClr val="tx2"/>
                </a:solidFill>
                <a:latin typeface="Avenir Next LT Pro" panose="020B0504020202020204" pitchFamily="34" charset="77"/>
              </a:defRPr>
            </a:lvl1pPr>
            <a:lvl2pPr>
              <a:spcBef>
                <a:spcPts val="0"/>
              </a:spcBef>
              <a:spcAft>
                <a:spcPts val="567"/>
              </a:spcAft>
              <a:buClr>
                <a:schemeClr val="tx2"/>
              </a:buClr>
              <a:defRPr sz="1039">
                <a:solidFill>
                  <a:schemeClr val="tx2"/>
                </a:solidFill>
                <a:latin typeface="Avenir Next LT Pro" panose="020B0504020202020204" pitchFamily="34" charset="77"/>
              </a:defRPr>
            </a:lvl2pPr>
            <a:lvl3pPr>
              <a:spcBef>
                <a:spcPts val="0"/>
              </a:spcBef>
              <a:spcAft>
                <a:spcPts val="567"/>
              </a:spcAft>
              <a:buClr>
                <a:schemeClr val="tx2"/>
              </a:buClr>
              <a:defRPr sz="1039">
                <a:solidFill>
                  <a:schemeClr val="tx2"/>
                </a:solidFill>
                <a:latin typeface="Avenir Next LT Pro" panose="020B0504020202020204" pitchFamily="34" charset="77"/>
              </a:defRPr>
            </a:lvl3pPr>
            <a:lvl4pPr>
              <a:spcBef>
                <a:spcPts val="0"/>
              </a:spcBef>
              <a:spcAft>
                <a:spcPts val="567"/>
              </a:spcAft>
              <a:buClr>
                <a:schemeClr val="tx2"/>
              </a:buClr>
              <a:defRPr sz="1039">
                <a:solidFill>
                  <a:schemeClr val="tx2"/>
                </a:solidFill>
                <a:latin typeface="Avenir Next LT Pro" panose="020B0504020202020204" pitchFamily="34" charset="77"/>
              </a:defRPr>
            </a:lvl4pPr>
            <a:lvl5pPr>
              <a:spcBef>
                <a:spcPts val="0"/>
              </a:spcBef>
              <a:spcAft>
                <a:spcPts val="567"/>
              </a:spcAft>
              <a:buClr>
                <a:schemeClr val="tx2"/>
              </a:buClr>
              <a:defRPr sz="1039">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632414" y="2837937"/>
            <a:ext cx="1828578" cy="2371565"/>
          </a:xfrm>
          <a:prstGeom prst="rect">
            <a:avLst/>
          </a:prstGeom>
        </p:spPr>
        <p:txBody>
          <a:bodyPr lIns="0"/>
          <a:lstStyle>
            <a:lvl1pPr>
              <a:spcBef>
                <a:spcPts val="0"/>
              </a:spcBef>
              <a:spcAft>
                <a:spcPts val="567"/>
              </a:spcAft>
              <a:buClr>
                <a:schemeClr val="tx2"/>
              </a:buClr>
              <a:defRPr sz="1039">
                <a:solidFill>
                  <a:schemeClr val="tx2"/>
                </a:solidFill>
                <a:latin typeface="Avenir Next LT Pro" panose="020B0504020202020204" pitchFamily="34" charset="77"/>
              </a:defRPr>
            </a:lvl1pPr>
            <a:lvl2pPr>
              <a:spcBef>
                <a:spcPts val="0"/>
              </a:spcBef>
              <a:spcAft>
                <a:spcPts val="567"/>
              </a:spcAft>
              <a:buClr>
                <a:schemeClr val="tx2"/>
              </a:buClr>
              <a:defRPr sz="1039">
                <a:solidFill>
                  <a:schemeClr val="tx2"/>
                </a:solidFill>
                <a:latin typeface="Avenir Next LT Pro" panose="020B0504020202020204" pitchFamily="34" charset="77"/>
              </a:defRPr>
            </a:lvl2pPr>
            <a:lvl3pPr>
              <a:spcBef>
                <a:spcPts val="0"/>
              </a:spcBef>
              <a:spcAft>
                <a:spcPts val="567"/>
              </a:spcAft>
              <a:buClr>
                <a:schemeClr val="tx2"/>
              </a:buClr>
              <a:defRPr sz="1039">
                <a:solidFill>
                  <a:schemeClr val="tx2"/>
                </a:solidFill>
                <a:latin typeface="Avenir Next LT Pro" panose="020B0504020202020204" pitchFamily="34" charset="77"/>
              </a:defRPr>
            </a:lvl3pPr>
            <a:lvl4pPr>
              <a:spcBef>
                <a:spcPts val="0"/>
              </a:spcBef>
              <a:spcAft>
                <a:spcPts val="567"/>
              </a:spcAft>
              <a:buClr>
                <a:schemeClr val="tx2"/>
              </a:buClr>
              <a:defRPr sz="1039">
                <a:solidFill>
                  <a:schemeClr val="tx2"/>
                </a:solidFill>
                <a:latin typeface="Avenir Next LT Pro" panose="020B0504020202020204" pitchFamily="34" charset="77"/>
              </a:defRPr>
            </a:lvl4pPr>
            <a:lvl5pPr>
              <a:spcBef>
                <a:spcPts val="0"/>
              </a:spcBef>
              <a:spcAft>
                <a:spcPts val="567"/>
              </a:spcAft>
              <a:buClr>
                <a:schemeClr val="tx2"/>
              </a:buClr>
              <a:defRPr sz="1039">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591269" y="2837937"/>
            <a:ext cx="1828578" cy="2371565"/>
          </a:xfrm>
          <a:prstGeom prst="rect">
            <a:avLst/>
          </a:prstGeom>
        </p:spPr>
        <p:txBody>
          <a:bodyPr lIns="0"/>
          <a:lstStyle>
            <a:lvl1pPr>
              <a:spcBef>
                <a:spcPts val="0"/>
              </a:spcBef>
              <a:spcAft>
                <a:spcPts val="567"/>
              </a:spcAft>
              <a:buClr>
                <a:schemeClr val="tx2"/>
              </a:buClr>
              <a:defRPr sz="1039">
                <a:solidFill>
                  <a:schemeClr val="tx2"/>
                </a:solidFill>
                <a:latin typeface="Avenir Next LT Pro" panose="020B0504020202020204" pitchFamily="34" charset="77"/>
              </a:defRPr>
            </a:lvl1pPr>
            <a:lvl2pPr>
              <a:spcBef>
                <a:spcPts val="0"/>
              </a:spcBef>
              <a:spcAft>
                <a:spcPts val="567"/>
              </a:spcAft>
              <a:buClr>
                <a:schemeClr val="tx2"/>
              </a:buClr>
              <a:defRPr sz="1039">
                <a:solidFill>
                  <a:schemeClr val="tx2"/>
                </a:solidFill>
                <a:latin typeface="Avenir Next LT Pro" panose="020B0504020202020204" pitchFamily="34" charset="77"/>
              </a:defRPr>
            </a:lvl2pPr>
            <a:lvl3pPr>
              <a:spcBef>
                <a:spcPts val="0"/>
              </a:spcBef>
              <a:spcAft>
                <a:spcPts val="567"/>
              </a:spcAft>
              <a:buClr>
                <a:schemeClr val="tx2"/>
              </a:buClr>
              <a:defRPr sz="1039">
                <a:solidFill>
                  <a:schemeClr val="tx2"/>
                </a:solidFill>
                <a:latin typeface="Avenir Next LT Pro" panose="020B0504020202020204" pitchFamily="34" charset="77"/>
              </a:defRPr>
            </a:lvl3pPr>
            <a:lvl4pPr>
              <a:spcBef>
                <a:spcPts val="0"/>
              </a:spcBef>
              <a:spcAft>
                <a:spcPts val="567"/>
              </a:spcAft>
              <a:buClr>
                <a:schemeClr val="tx2"/>
              </a:buClr>
              <a:defRPr sz="1039">
                <a:solidFill>
                  <a:schemeClr val="tx2"/>
                </a:solidFill>
                <a:latin typeface="Avenir Next LT Pro" panose="020B0504020202020204" pitchFamily="34" charset="77"/>
              </a:defRPr>
            </a:lvl4pPr>
            <a:lvl5pPr>
              <a:spcBef>
                <a:spcPts val="0"/>
              </a:spcBef>
              <a:spcAft>
                <a:spcPts val="567"/>
              </a:spcAft>
              <a:buClr>
                <a:schemeClr val="tx2"/>
              </a:buClr>
              <a:defRPr sz="1039">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567717" y="2837937"/>
            <a:ext cx="1828578" cy="2371565"/>
          </a:xfrm>
          <a:prstGeom prst="rect">
            <a:avLst/>
          </a:prstGeom>
        </p:spPr>
        <p:txBody>
          <a:bodyPr lIns="0"/>
          <a:lstStyle>
            <a:lvl1pPr>
              <a:spcBef>
                <a:spcPts val="0"/>
              </a:spcBef>
              <a:spcAft>
                <a:spcPts val="567"/>
              </a:spcAft>
              <a:buClr>
                <a:schemeClr val="tx2"/>
              </a:buClr>
              <a:defRPr sz="1039">
                <a:solidFill>
                  <a:schemeClr val="tx2"/>
                </a:solidFill>
                <a:latin typeface="Avenir Next LT Pro" panose="020B0504020202020204" pitchFamily="34" charset="77"/>
              </a:defRPr>
            </a:lvl1pPr>
            <a:lvl2pPr>
              <a:spcBef>
                <a:spcPts val="0"/>
              </a:spcBef>
              <a:spcAft>
                <a:spcPts val="567"/>
              </a:spcAft>
              <a:buClr>
                <a:schemeClr val="tx2"/>
              </a:buClr>
              <a:defRPr sz="1039">
                <a:solidFill>
                  <a:schemeClr val="tx2"/>
                </a:solidFill>
                <a:latin typeface="Avenir Next LT Pro" panose="020B0504020202020204" pitchFamily="34" charset="77"/>
              </a:defRPr>
            </a:lvl2pPr>
            <a:lvl3pPr>
              <a:spcBef>
                <a:spcPts val="0"/>
              </a:spcBef>
              <a:spcAft>
                <a:spcPts val="567"/>
              </a:spcAft>
              <a:buClr>
                <a:schemeClr val="tx2"/>
              </a:buClr>
              <a:defRPr sz="1039">
                <a:solidFill>
                  <a:schemeClr val="tx2"/>
                </a:solidFill>
                <a:latin typeface="Avenir Next LT Pro" panose="020B0504020202020204" pitchFamily="34" charset="77"/>
              </a:defRPr>
            </a:lvl3pPr>
            <a:lvl4pPr>
              <a:spcBef>
                <a:spcPts val="0"/>
              </a:spcBef>
              <a:spcAft>
                <a:spcPts val="567"/>
              </a:spcAft>
              <a:buClr>
                <a:schemeClr val="tx2"/>
              </a:buClr>
              <a:defRPr sz="1039">
                <a:solidFill>
                  <a:schemeClr val="tx2"/>
                </a:solidFill>
                <a:latin typeface="Avenir Next LT Pro" panose="020B0504020202020204" pitchFamily="34" charset="77"/>
              </a:defRPr>
            </a:lvl4pPr>
            <a:lvl5pPr>
              <a:spcBef>
                <a:spcPts val="0"/>
              </a:spcBef>
              <a:spcAft>
                <a:spcPts val="567"/>
              </a:spcAft>
              <a:buClr>
                <a:schemeClr val="tx2"/>
              </a:buClr>
              <a:defRPr sz="1039">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8535369" y="2837937"/>
            <a:ext cx="1828578" cy="2371565"/>
          </a:xfrm>
          <a:prstGeom prst="rect">
            <a:avLst/>
          </a:prstGeom>
        </p:spPr>
        <p:txBody>
          <a:bodyPr lIns="0"/>
          <a:lstStyle>
            <a:lvl1pPr>
              <a:spcBef>
                <a:spcPts val="0"/>
              </a:spcBef>
              <a:spcAft>
                <a:spcPts val="567"/>
              </a:spcAft>
              <a:buClr>
                <a:schemeClr val="tx2"/>
              </a:buClr>
              <a:defRPr sz="1039">
                <a:solidFill>
                  <a:schemeClr val="tx2"/>
                </a:solidFill>
                <a:latin typeface="Avenir Next LT Pro" panose="020B0504020202020204" pitchFamily="34" charset="77"/>
              </a:defRPr>
            </a:lvl1pPr>
            <a:lvl2pPr>
              <a:spcBef>
                <a:spcPts val="0"/>
              </a:spcBef>
              <a:spcAft>
                <a:spcPts val="567"/>
              </a:spcAft>
              <a:buClr>
                <a:schemeClr val="tx2"/>
              </a:buClr>
              <a:defRPr sz="1039">
                <a:solidFill>
                  <a:schemeClr val="tx2"/>
                </a:solidFill>
                <a:latin typeface="Avenir Next LT Pro" panose="020B0504020202020204" pitchFamily="34" charset="77"/>
              </a:defRPr>
            </a:lvl2pPr>
            <a:lvl3pPr>
              <a:spcBef>
                <a:spcPts val="0"/>
              </a:spcBef>
              <a:spcAft>
                <a:spcPts val="567"/>
              </a:spcAft>
              <a:buClr>
                <a:schemeClr val="tx2"/>
              </a:buClr>
              <a:defRPr sz="1039">
                <a:solidFill>
                  <a:schemeClr val="tx2"/>
                </a:solidFill>
                <a:latin typeface="Avenir Next LT Pro" panose="020B0504020202020204" pitchFamily="34" charset="77"/>
              </a:defRPr>
            </a:lvl3pPr>
            <a:lvl4pPr>
              <a:spcBef>
                <a:spcPts val="0"/>
              </a:spcBef>
              <a:spcAft>
                <a:spcPts val="567"/>
              </a:spcAft>
              <a:buClr>
                <a:schemeClr val="tx2"/>
              </a:buClr>
              <a:defRPr sz="1039">
                <a:solidFill>
                  <a:schemeClr val="tx2"/>
                </a:solidFill>
                <a:latin typeface="Avenir Next LT Pro" panose="020B0504020202020204" pitchFamily="34" charset="77"/>
              </a:defRPr>
            </a:lvl4pPr>
            <a:lvl5pPr>
              <a:spcBef>
                <a:spcPts val="0"/>
              </a:spcBef>
              <a:spcAft>
                <a:spcPts val="567"/>
              </a:spcAft>
              <a:buClr>
                <a:schemeClr val="tx2"/>
              </a:buClr>
              <a:defRPr sz="1039">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576026" y="432013"/>
            <a:ext cx="10368438" cy="436231"/>
          </a:xfrm>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D7C1873F-6AB1-BCAD-70B4-6E368C644F74}"/>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0248A96A-A904-695E-65ED-87817814BA5A}"/>
              </a:ext>
            </a:extLst>
          </p:cNvPr>
          <p:cNvSpPr>
            <a:spLocks noGrp="1"/>
          </p:cNvSpPr>
          <p:nvPr>
            <p:ph type="body" sz="quarter" idx="3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385625357"/>
      </p:ext>
    </p:extLst>
  </p:cSld>
  <p:clrMapOvr>
    <a:masterClrMapping/>
  </p:clrMapOvr>
  <p:transition>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ormal_Back Cover">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0720F4-371A-74B6-217A-9F369AADB449}"/>
              </a:ext>
            </a:extLst>
          </p:cNvPr>
          <p:cNvSpPr/>
          <p:nvPr userDrawn="1"/>
        </p:nvSpPr>
        <p:spPr>
          <a:xfrm>
            <a:off x="10944225" y="0"/>
            <a:ext cx="576263" cy="6480175"/>
          </a:xfrm>
          <a:prstGeom prst="rect">
            <a:avLst/>
          </a:prstGeom>
          <a:pattFill prst="wdUpDiag">
            <a:fgClr>
              <a:srgbClr val="FF6120"/>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p>
        </p:txBody>
      </p:sp>
      <p:pic>
        <p:nvPicPr>
          <p:cNvPr id="4" name="Picture 3">
            <a:extLst>
              <a:ext uri="{FF2B5EF4-FFF2-40B4-BE49-F238E27FC236}">
                <a16:creationId xmlns:a16="http://schemas.microsoft.com/office/drawing/2014/main" id="{19CD9230-1868-A0B8-7E5E-F435DC0B76F6}"/>
              </a:ext>
            </a:extLst>
          </p:cNvPr>
          <p:cNvPicPr>
            <a:picLocks noChangeAspect="1"/>
          </p:cNvPicPr>
          <p:nvPr userDrawn="1"/>
        </p:nvPicPr>
        <p:blipFill>
          <a:blip r:embed="rId2"/>
          <a:stretch>
            <a:fillRect/>
          </a:stretch>
        </p:blipFill>
        <p:spPr>
          <a:xfrm>
            <a:off x="7779399" y="5910233"/>
            <a:ext cx="2606936" cy="209513"/>
          </a:xfrm>
          <a:prstGeom prst="rect">
            <a:avLst/>
          </a:prstGeom>
        </p:spPr>
      </p:pic>
    </p:spTree>
    <p:extLst>
      <p:ext uri="{BB962C8B-B14F-4D97-AF65-F5344CB8AC3E}">
        <p14:creationId xmlns:p14="http://schemas.microsoft.com/office/powerpoint/2010/main" val="2695868852"/>
      </p:ext>
    </p:extLst>
  </p:cSld>
  <p:clrMapOvr>
    <a:masterClrMapping/>
  </p:clrMapOvr>
  <p:extLst>
    <p:ext uri="{DCECCB84-F9BA-43D5-87BE-67443E8EF086}">
      <p15:sldGuideLst xmlns:p15="http://schemas.microsoft.com/office/powerpoint/2012/main">
        <p15:guide id="1" pos="544">
          <p15:clr>
            <a:srgbClr val="FBAE40"/>
          </p15:clr>
        </p15:guide>
        <p15:guide id="2" pos="6713">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8 - Project Slide with imag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360D73-93C8-D17E-D3BF-35EDF13DED8A}"/>
              </a:ext>
            </a:extLst>
          </p:cNvPr>
          <p:cNvSpPr/>
          <p:nvPr userDrawn="1"/>
        </p:nvSpPr>
        <p:spPr>
          <a:xfrm>
            <a:off x="0" y="3619900"/>
            <a:ext cx="11520488" cy="226626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28">
              <a:latin typeface="Avenir Next LT Pro" panose="020B0504020202020204" pitchFamily="34" charset="77"/>
            </a:endParaRPr>
          </a:p>
        </p:txBody>
      </p:sp>
      <p:sp>
        <p:nvSpPr>
          <p:cNvPr id="3" name="Rectangle 2">
            <a:extLst>
              <a:ext uri="{FF2B5EF4-FFF2-40B4-BE49-F238E27FC236}">
                <a16:creationId xmlns:a16="http://schemas.microsoft.com/office/drawing/2014/main" id="{CFF122CE-69BC-7983-945D-00AA10511197}"/>
              </a:ext>
            </a:extLst>
          </p:cNvPr>
          <p:cNvSpPr/>
          <p:nvPr userDrawn="1"/>
        </p:nvSpPr>
        <p:spPr>
          <a:xfrm>
            <a:off x="10506685" y="3619900"/>
            <a:ext cx="1013803" cy="2266260"/>
          </a:xfrm>
          <a:prstGeom prst="rect">
            <a:avLst/>
          </a:prstGeom>
          <a:pattFill prst="wdUpDiag">
            <a:fgClr>
              <a:schemeClr val="accent3"/>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8" name="Picture Placeholder 7">
            <a:extLst>
              <a:ext uri="{FF2B5EF4-FFF2-40B4-BE49-F238E27FC236}">
                <a16:creationId xmlns:a16="http://schemas.microsoft.com/office/drawing/2014/main" id="{FD751CF8-3DAF-B08B-6EA6-96403C9295EE}"/>
              </a:ext>
            </a:extLst>
          </p:cNvPr>
          <p:cNvSpPr>
            <a:spLocks noGrp="1"/>
          </p:cNvSpPr>
          <p:nvPr>
            <p:ph type="pic" sz="quarter" idx="10"/>
          </p:nvPr>
        </p:nvSpPr>
        <p:spPr>
          <a:xfrm>
            <a:off x="576025" y="2569571"/>
            <a:ext cx="1981524" cy="2556969"/>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12" name="Picture Placeholder 7">
            <a:extLst>
              <a:ext uri="{FF2B5EF4-FFF2-40B4-BE49-F238E27FC236}">
                <a16:creationId xmlns:a16="http://schemas.microsoft.com/office/drawing/2014/main" id="{BAF380C7-8A5A-49B2-CD1F-393FBE739E3B}"/>
              </a:ext>
            </a:extLst>
          </p:cNvPr>
          <p:cNvSpPr>
            <a:spLocks noGrp="1"/>
          </p:cNvSpPr>
          <p:nvPr>
            <p:ph type="pic" sz="quarter" idx="11"/>
          </p:nvPr>
        </p:nvSpPr>
        <p:spPr>
          <a:xfrm>
            <a:off x="2764918" y="2373725"/>
            <a:ext cx="2281596" cy="2937079"/>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14" name="Picture Placeholder 7">
            <a:extLst>
              <a:ext uri="{FF2B5EF4-FFF2-40B4-BE49-F238E27FC236}">
                <a16:creationId xmlns:a16="http://schemas.microsoft.com/office/drawing/2014/main" id="{F47128B2-6FF5-1407-CF92-BDBE467324B8}"/>
              </a:ext>
            </a:extLst>
          </p:cNvPr>
          <p:cNvSpPr>
            <a:spLocks noGrp="1"/>
          </p:cNvSpPr>
          <p:nvPr>
            <p:ph type="pic" sz="quarter" idx="12"/>
          </p:nvPr>
        </p:nvSpPr>
        <p:spPr>
          <a:xfrm>
            <a:off x="5253881" y="2569571"/>
            <a:ext cx="1981524" cy="2556969"/>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19" name="Text Placeholder 18">
            <a:extLst>
              <a:ext uri="{FF2B5EF4-FFF2-40B4-BE49-F238E27FC236}">
                <a16:creationId xmlns:a16="http://schemas.microsoft.com/office/drawing/2014/main" id="{A911F8D7-441A-646D-A345-258BABF330F0}"/>
              </a:ext>
            </a:extLst>
          </p:cNvPr>
          <p:cNvSpPr>
            <a:spLocks noGrp="1"/>
          </p:cNvSpPr>
          <p:nvPr>
            <p:ph type="body" sz="quarter" idx="13" hasCustomPrompt="1"/>
          </p:nvPr>
        </p:nvSpPr>
        <p:spPr>
          <a:xfrm>
            <a:off x="576025" y="489283"/>
            <a:ext cx="6658783" cy="1728706"/>
          </a:xfrm>
          <a:prstGeom prst="rect">
            <a:avLst/>
          </a:prstGeom>
        </p:spPr>
        <p:txBody>
          <a:bodyPr lIns="0"/>
          <a:lstStyle>
            <a:lvl1pPr marL="0" indent="0">
              <a:lnSpc>
                <a:spcPts val="4536"/>
              </a:lnSpc>
              <a:buNone/>
              <a:defRPr sz="4536">
                <a:solidFill>
                  <a:schemeClr val="accent1"/>
                </a:solidFill>
                <a:latin typeface="Avenir Next LT Pro" panose="020B0504020202020204" pitchFamily="34" charset="77"/>
              </a:defRPr>
            </a:lvl1pPr>
            <a:lvl2pPr marL="160504" indent="0">
              <a:buNone/>
              <a:defRPr>
                <a:latin typeface="Impact" panose="020B0806030902050204" pitchFamily="34" charset="0"/>
              </a:defRPr>
            </a:lvl2pPr>
            <a:lvl3pPr marL="325506" indent="0">
              <a:buNone/>
              <a:defRPr>
                <a:latin typeface="Impact" panose="020B0806030902050204" pitchFamily="34" charset="0"/>
              </a:defRPr>
            </a:lvl3pPr>
            <a:lvl4pPr marL="486009" indent="0">
              <a:buNone/>
              <a:defRPr>
                <a:latin typeface="Impact" panose="020B0806030902050204" pitchFamily="34" charset="0"/>
              </a:defRPr>
            </a:lvl4pPr>
            <a:lvl5pPr marL="651012" indent="0">
              <a:buNone/>
              <a:defRPr>
                <a:latin typeface="Impact" panose="020B0806030902050204" pitchFamily="34" charset="0"/>
              </a:defRPr>
            </a:lvl5pPr>
          </a:lstStyle>
          <a:p>
            <a:pPr lvl="0"/>
            <a:r>
              <a:rPr lang="en-US" dirty="0"/>
              <a:t>PROJECT</a:t>
            </a:r>
            <a:br>
              <a:rPr lang="en-US" dirty="0"/>
            </a:br>
            <a:r>
              <a:rPr lang="en-US" dirty="0"/>
              <a:t>     SLIDE HERE</a:t>
            </a:r>
          </a:p>
        </p:txBody>
      </p:sp>
      <p:sp>
        <p:nvSpPr>
          <p:cNvPr id="21" name="Text Placeholder 20">
            <a:extLst>
              <a:ext uri="{FF2B5EF4-FFF2-40B4-BE49-F238E27FC236}">
                <a16:creationId xmlns:a16="http://schemas.microsoft.com/office/drawing/2014/main" id="{4D499C65-3D61-4B4F-B4DA-2D272DEAD548}"/>
              </a:ext>
            </a:extLst>
          </p:cNvPr>
          <p:cNvSpPr>
            <a:spLocks noGrp="1"/>
          </p:cNvSpPr>
          <p:nvPr>
            <p:ph type="body" sz="quarter" idx="14"/>
          </p:nvPr>
        </p:nvSpPr>
        <p:spPr>
          <a:xfrm>
            <a:off x="7419314" y="2569570"/>
            <a:ext cx="3594152" cy="840023"/>
          </a:xfrm>
          <a:prstGeom prst="rect">
            <a:avLst/>
          </a:prstGeom>
        </p:spPr>
        <p:txBody>
          <a:bodyPr/>
          <a:lstStyle>
            <a:lvl1pPr marL="0" indent="0" algn="r">
              <a:buNone/>
              <a:defRPr>
                <a:solidFill>
                  <a:schemeClr val="tx2"/>
                </a:solidFill>
                <a:latin typeface="Avenir Next LT Pro" panose="020B0504020202020204" pitchFamily="34" charset="77"/>
              </a:defRPr>
            </a:lvl1pPr>
            <a:lvl2pPr marL="160504" indent="0" algn="r">
              <a:buNone/>
              <a:defRPr/>
            </a:lvl2pPr>
            <a:lvl3pPr marL="325506" indent="0" algn="r">
              <a:buNone/>
              <a:defRPr/>
            </a:lvl3pPr>
            <a:lvl4pPr marL="486009" indent="0" algn="r">
              <a:buNone/>
              <a:defRPr/>
            </a:lvl4pPr>
            <a:lvl5pPr marL="651012" indent="0" algn="r">
              <a:buNone/>
              <a:defRPr/>
            </a:lvl5pPr>
          </a:lstStyle>
          <a:p>
            <a:pPr lvl="0"/>
            <a:r>
              <a:rPr lang="en-US" dirty="0"/>
              <a:t>Click to edit Master text styles</a:t>
            </a:r>
          </a:p>
        </p:txBody>
      </p:sp>
    </p:spTree>
    <p:extLst>
      <p:ext uri="{BB962C8B-B14F-4D97-AF65-F5344CB8AC3E}">
        <p14:creationId xmlns:p14="http://schemas.microsoft.com/office/powerpoint/2010/main" val="2957178421"/>
      </p:ext>
    </p:extLst>
  </p:cSld>
  <p:clrMapOvr>
    <a:masterClrMapping/>
  </p:clrMapOvr>
  <p:transition>
    <p:wip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9 - Creative Charting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483CCA-E081-4835-AEFC-E125EDA179EB}"/>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 name="TextBox 4">
            <a:extLst>
              <a:ext uri="{FF2B5EF4-FFF2-40B4-BE49-F238E27FC236}">
                <a16:creationId xmlns:a16="http://schemas.microsoft.com/office/drawing/2014/main" id="{46927009-C497-14A9-D121-34ED5B83AA2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9" name="Title 1">
            <a:extLst>
              <a:ext uri="{FF2B5EF4-FFF2-40B4-BE49-F238E27FC236}">
                <a16:creationId xmlns:a16="http://schemas.microsoft.com/office/drawing/2014/main" id="{4E96AAB6-8DD2-DAE1-EF41-D2967DBBFF71}"/>
              </a:ext>
            </a:extLst>
          </p:cNvPr>
          <p:cNvSpPr>
            <a:spLocks noGrp="1"/>
          </p:cNvSpPr>
          <p:nvPr>
            <p:ph type="title" hasCustomPrompt="1"/>
          </p:nvPr>
        </p:nvSpPr>
        <p:spPr>
          <a:xfrm>
            <a:off x="576026" y="339048"/>
            <a:ext cx="10276273" cy="436231"/>
          </a:xfrm>
        </p:spPr>
        <p:txBody>
          <a:bodyPr tIns="0" rIns="0" anchor="ctr" anchorCtr="0"/>
          <a:lstStyle>
            <a:lvl1pPr algn="ctr">
              <a:lnSpc>
                <a:spcPct val="100000"/>
              </a:lnSpc>
              <a:defRPr sz="3780" b="0">
                <a:solidFill>
                  <a:schemeClr val="bg1"/>
                </a:solidFill>
                <a:latin typeface="Avenir Next LT Pro" panose="020B0504020202020204" pitchFamily="34" charset="77"/>
              </a:defRPr>
            </a:lvl1pPr>
          </a:lstStyle>
          <a:p>
            <a:r>
              <a:rPr lang="en-US" dirty="0"/>
              <a:t>CREATIVE CHARTING</a:t>
            </a:r>
          </a:p>
        </p:txBody>
      </p:sp>
      <p:sp>
        <p:nvSpPr>
          <p:cNvPr id="11" name="Text Placeholder 10">
            <a:extLst>
              <a:ext uri="{FF2B5EF4-FFF2-40B4-BE49-F238E27FC236}">
                <a16:creationId xmlns:a16="http://schemas.microsoft.com/office/drawing/2014/main" id="{0BE92E6E-00C3-96AC-4428-A7C1896F30B7}"/>
              </a:ext>
            </a:extLst>
          </p:cNvPr>
          <p:cNvSpPr>
            <a:spLocks noGrp="1"/>
          </p:cNvSpPr>
          <p:nvPr>
            <p:ph type="body" sz="quarter" idx="10"/>
          </p:nvPr>
        </p:nvSpPr>
        <p:spPr>
          <a:xfrm>
            <a:off x="2874032" y="991357"/>
            <a:ext cx="5772425" cy="1366536"/>
          </a:xfrm>
          <a:prstGeom prst="rect">
            <a:avLst/>
          </a:prstGeom>
        </p:spPr>
        <p:txBody>
          <a:bodyPr/>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Click to edit Master text styles</a:t>
            </a:r>
          </a:p>
        </p:txBody>
      </p:sp>
      <p:sp>
        <p:nvSpPr>
          <p:cNvPr id="15" name="Chart Placeholder 14">
            <a:extLst>
              <a:ext uri="{FF2B5EF4-FFF2-40B4-BE49-F238E27FC236}">
                <a16:creationId xmlns:a16="http://schemas.microsoft.com/office/drawing/2014/main" id="{9660ADA1-2F0D-B39A-7DAF-C18C2C69BA4F}"/>
              </a:ext>
            </a:extLst>
          </p:cNvPr>
          <p:cNvSpPr>
            <a:spLocks noGrp="1"/>
          </p:cNvSpPr>
          <p:nvPr>
            <p:ph type="chart" sz="quarter" idx="11" hasCustomPrompt="1"/>
          </p:nvPr>
        </p:nvSpPr>
        <p:spPr>
          <a:xfrm>
            <a:off x="576025" y="2599485"/>
            <a:ext cx="10276936" cy="2889333"/>
          </a:xfrm>
          <a:prstGeom prst="rect">
            <a:avLst/>
          </a:prstGeom>
        </p:spPr>
        <p:txBody>
          <a:bodyPr anchor="ctr" anchorCtr="0"/>
          <a:lstStyle>
            <a:lvl1pPr marL="0" indent="0" algn="ctr">
              <a:buNone/>
              <a:defRPr>
                <a:solidFill>
                  <a:schemeClr val="bg1"/>
                </a:solidFill>
                <a:latin typeface="Avenir Next LT Pro" panose="020B0504020202020204" pitchFamily="34" charset="77"/>
              </a:defRPr>
            </a:lvl1pPr>
          </a:lstStyle>
          <a:p>
            <a:r>
              <a:rPr lang="en-US" dirty="0"/>
              <a:t>Insert chart</a:t>
            </a:r>
          </a:p>
        </p:txBody>
      </p:sp>
      <p:sp>
        <p:nvSpPr>
          <p:cNvPr id="3" name="Text Placeholder 12">
            <a:extLst>
              <a:ext uri="{FF2B5EF4-FFF2-40B4-BE49-F238E27FC236}">
                <a16:creationId xmlns:a16="http://schemas.microsoft.com/office/drawing/2014/main" id="{2A0C7AD2-4FFA-3C5D-688D-E298A0CACDA3}"/>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bg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6" name="Picture 5">
            <a:extLst>
              <a:ext uri="{FF2B5EF4-FFF2-40B4-BE49-F238E27FC236}">
                <a16:creationId xmlns:a16="http://schemas.microsoft.com/office/drawing/2014/main" id="{0BF39BF8-CFAB-C189-2091-C200386C17DC}"/>
              </a:ext>
            </a:extLst>
          </p:cNvPr>
          <p:cNvPicPr>
            <a:picLocks noChangeAspect="1"/>
          </p:cNvPicPr>
          <p:nvPr userDrawn="1"/>
        </p:nvPicPr>
        <p:blipFill>
          <a:blip r:embed="rId2"/>
          <a:stretch>
            <a:fillRect/>
          </a:stretch>
        </p:blipFill>
        <p:spPr>
          <a:xfrm>
            <a:off x="9354396" y="6142501"/>
            <a:ext cx="1893795" cy="152200"/>
          </a:xfrm>
          <a:prstGeom prst="rect">
            <a:avLst/>
          </a:prstGeom>
        </p:spPr>
      </p:pic>
      <p:sp>
        <p:nvSpPr>
          <p:cNvPr id="2" name="Rectangle 50">
            <a:extLst>
              <a:ext uri="{FF2B5EF4-FFF2-40B4-BE49-F238E27FC236}">
                <a16:creationId xmlns:a16="http://schemas.microsoft.com/office/drawing/2014/main" id="{2F10CC3D-05BB-8F92-8C32-B48782F03027}"/>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1247186988"/>
      </p:ext>
    </p:extLst>
  </p:cSld>
  <p:clrMapOvr>
    <a:masterClrMapping/>
  </p:clrMapOvr>
  <p:transition>
    <p:wip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0 - Creative Chartin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E96AAB6-8DD2-DAE1-EF41-D2967DBBFF71}"/>
              </a:ext>
            </a:extLst>
          </p:cNvPr>
          <p:cNvSpPr>
            <a:spLocks noGrp="1"/>
          </p:cNvSpPr>
          <p:nvPr>
            <p:ph type="title" hasCustomPrompt="1"/>
          </p:nvPr>
        </p:nvSpPr>
        <p:spPr>
          <a:xfrm>
            <a:off x="576026" y="339048"/>
            <a:ext cx="10276273" cy="436231"/>
          </a:xfrm>
        </p:spPr>
        <p:txBody>
          <a:bodyPr tIns="0" rIns="0" anchor="ctr" anchorCtr="0"/>
          <a:lstStyle>
            <a:lvl1pPr algn="ctr">
              <a:lnSpc>
                <a:spcPct val="100000"/>
              </a:lnSpc>
              <a:defRPr sz="3780" b="0">
                <a:solidFill>
                  <a:schemeClr val="accent1"/>
                </a:solidFill>
                <a:latin typeface="Avenir Next LT Pro" panose="020B0504020202020204" pitchFamily="34" charset="77"/>
              </a:defRPr>
            </a:lvl1pPr>
          </a:lstStyle>
          <a:p>
            <a:r>
              <a:rPr lang="en-US" dirty="0"/>
              <a:t>CREATIVE CHARTING</a:t>
            </a:r>
          </a:p>
        </p:txBody>
      </p:sp>
      <p:sp>
        <p:nvSpPr>
          <p:cNvPr id="11" name="Text Placeholder 10">
            <a:extLst>
              <a:ext uri="{FF2B5EF4-FFF2-40B4-BE49-F238E27FC236}">
                <a16:creationId xmlns:a16="http://schemas.microsoft.com/office/drawing/2014/main" id="{0BE92E6E-00C3-96AC-4428-A7C1896F30B7}"/>
              </a:ext>
            </a:extLst>
          </p:cNvPr>
          <p:cNvSpPr>
            <a:spLocks noGrp="1"/>
          </p:cNvSpPr>
          <p:nvPr>
            <p:ph type="body" sz="quarter" idx="10"/>
          </p:nvPr>
        </p:nvSpPr>
        <p:spPr>
          <a:xfrm>
            <a:off x="2874032" y="991357"/>
            <a:ext cx="5772425" cy="1366536"/>
          </a:xfrm>
          <a:prstGeom prst="rect">
            <a:avLst/>
          </a:prstGeom>
        </p:spPr>
        <p:txBody>
          <a:bodyPr/>
          <a:lstStyle>
            <a:lvl1pPr marL="0" indent="0" algn="ctr">
              <a:buNone/>
              <a:defRPr sz="1134">
                <a:solidFill>
                  <a:schemeClr val="tx2"/>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Click to edit Master text styles</a:t>
            </a:r>
          </a:p>
        </p:txBody>
      </p:sp>
      <p:sp>
        <p:nvSpPr>
          <p:cNvPr id="15" name="Chart Placeholder 14">
            <a:extLst>
              <a:ext uri="{FF2B5EF4-FFF2-40B4-BE49-F238E27FC236}">
                <a16:creationId xmlns:a16="http://schemas.microsoft.com/office/drawing/2014/main" id="{9660ADA1-2F0D-B39A-7DAF-C18C2C69BA4F}"/>
              </a:ext>
            </a:extLst>
          </p:cNvPr>
          <p:cNvSpPr>
            <a:spLocks noGrp="1"/>
          </p:cNvSpPr>
          <p:nvPr>
            <p:ph type="chart" sz="quarter" idx="11" hasCustomPrompt="1"/>
          </p:nvPr>
        </p:nvSpPr>
        <p:spPr>
          <a:xfrm>
            <a:off x="576025" y="2599485"/>
            <a:ext cx="10276936" cy="2889330"/>
          </a:xfrm>
          <a:prstGeom prst="rect">
            <a:avLst/>
          </a:prstGeom>
          <a:solidFill>
            <a:schemeClr val="bg1">
              <a:lumMod val="95000"/>
            </a:schemeClr>
          </a:solidFill>
        </p:spPr>
        <p:txBody>
          <a:bodyPr anchor="ctr" anchorCtr="0"/>
          <a:lstStyle>
            <a:lvl1pPr marL="0" indent="0" algn="ctr">
              <a:buNone/>
              <a:defRPr>
                <a:solidFill>
                  <a:schemeClr val="bg1"/>
                </a:solidFill>
                <a:latin typeface="Avenir Next LT Pro" panose="020B0504020202020204" pitchFamily="34" charset="77"/>
              </a:defRPr>
            </a:lvl1pPr>
          </a:lstStyle>
          <a:p>
            <a:r>
              <a:rPr lang="en-US" dirty="0"/>
              <a:t>Insert chart</a:t>
            </a:r>
          </a:p>
        </p:txBody>
      </p:sp>
      <p:sp>
        <p:nvSpPr>
          <p:cNvPr id="2" name="Text Placeholder 12">
            <a:extLst>
              <a:ext uri="{FF2B5EF4-FFF2-40B4-BE49-F238E27FC236}">
                <a16:creationId xmlns:a16="http://schemas.microsoft.com/office/drawing/2014/main" id="{E45A304A-9DBA-1EC8-1A49-17A68DAC3C95}"/>
              </a:ext>
            </a:extLst>
          </p:cNvPr>
          <p:cNvSpPr>
            <a:spLocks noGrp="1"/>
          </p:cNvSpPr>
          <p:nvPr>
            <p:ph type="body" sz="quarter" idx="3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807512457"/>
      </p:ext>
    </p:extLst>
  </p:cSld>
  <p:clrMapOvr>
    <a:masterClrMapping/>
  </p:clrMapOvr>
  <p:transition>
    <p:wip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2 - 3 col content with images &amp; button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49240C70-61AC-78D7-2586-1C1FD501A7E8}"/>
              </a:ext>
            </a:extLst>
          </p:cNvPr>
          <p:cNvSpPr>
            <a:spLocks noGrp="1"/>
          </p:cNvSpPr>
          <p:nvPr>
            <p:ph type="body" sz="quarter" idx="22"/>
          </p:nvPr>
        </p:nvSpPr>
        <p:spPr>
          <a:xfrm>
            <a:off x="576025" y="2877077"/>
            <a:ext cx="3264138" cy="2738348"/>
          </a:xfrm>
          <a:prstGeom prst="rect">
            <a:avLst/>
          </a:prstGeom>
          <a:solidFill>
            <a:schemeClr val="bg1">
              <a:lumMod val="95000"/>
            </a:schemeClr>
          </a:solidFill>
        </p:spPr>
        <p:txBody>
          <a:bodyPr lIns="182880" tIns="182880" rIns="18288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12" name="Picture Placeholder 11">
            <a:extLst>
              <a:ext uri="{FF2B5EF4-FFF2-40B4-BE49-F238E27FC236}">
                <a16:creationId xmlns:a16="http://schemas.microsoft.com/office/drawing/2014/main" id="{AAAD3EB8-1CA9-449C-805A-F1271527434C}"/>
              </a:ext>
            </a:extLst>
          </p:cNvPr>
          <p:cNvSpPr>
            <a:spLocks noGrp="1"/>
          </p:cNvSpPr>
          <p:nvPr>
            <p:ph type="pic" sz="quarter" idx="19"/>
          </p:nvPr>
        </p:nvSpPr>
        <p:spPr>
          <a:xfrm>
            <a:off x="576025" y="1446094"/>
            <a:ext cx="3264138" cy="14310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13" name="Picture Placeholder 11">
            <a:extLst>
              <a:ext uri="{FF2B5EF4-FFF2-40B4-BE49-F238E27FC236}">
                <a16:creationId xmlns:a16="http://schemas.microsoft.com/office/drawing/2014/main" id="{16EC1120-AA19-101B-B46D-B8660AED0793}"/>
              </a:ext>
            </a:extLst>
          </p:cNvPr>
          <p:cNvSpPr>
            <a:spLocks noGrp="1"/>
          </p:cNvSpPr>
          <p:nvPr>
            <p:ph type="pic" sz="quarter" idx="20"/>
          </p:nvPr>
        </p:nvSpPr>
        <p:spPr>
          <a:xfrm>
            <a:off x="4128078" y="1446094"/>
            <a:ext cx="3264138" cy="1431022"/>
          </a:xfrm>
          <a:prstGeom prst="rect">
            <a:avLst/>
          </a:prstGeom>
          <a:solidFill>
            <a:schemeClr val="accent6"/>
          </a:solidFill>
        </p:spPr>
        <p:txBody>
          <a:bodyPr/>
          <a:lstStyle>
            <a:lvl1pPr>
              <a:defRPr>
                <a:latin typeface="Avenir Next LT Pro" panose="020B0504020202020204" pitchFamily="34" charset="77"/>
              </a:defRPr>
            </a:lvl1pPr>
          </a:lstStyle>
          <a:p>
            <a:endParaRPr lang="en-US" dirty="0"/>
          </a:p>
        </p:txBody>
      </p:sp>
      <p:sp>
        <p:nvSpPr>
          <p:cNvPr id="14" name="Picture Placeholder 11">
            <a:extLst>
              <a:ext uri="{FF2B5EF4-FFF2-40B4-BE49-F238E27FC236}">
                <a16:creationId xmlns:a16="http://schemas.microsoft.com/office/drawing/2014/main" id="{95C40ADD-15F4-6E2E-1FAE-AFEEAF603366}"/>
              </a:ext>
            </a:extLst>
          </p:cNvPr>
          <p:cNvSpPr>
            <a:spLocks noGrp="1"/>
          </p:cNvSpPr>
          <p:nvPr>
            <p:ph type="pic" sz="quarter" idx="21"/>
          </p:nvPr>
        </p:nvSpPr>
        <p:spPr>
          <a:xfrm>
            <a:off x="7680131" y="1446094"/>
            <a:ext cx="3264138" cy="1431022"/>
          </a:xfrm>
          <a:prstGeom prst="rect">
            <a:avLst/>
          </a:prstGeom>
          <a:solidFill>
            <a:schemeClr val="accent6"/>
          </a:solidFill>
        </p:spPr>
        <p:txBody>
          <a:bodyPr/>
          <a:lstStyle>
            <a:lvl1pPr>
              <a:defRPr>
                <a:latin typeface="Avenir Next LT Pro" panose="020B0504020202020204" pitchFamily="34" charset="77"/>
              </a:defRPr>
            </a:lvl1pPr>
          </a:lstStyle>
          <a:p>
            <a:endParaRPr lang="en-US"/>
          </a:p>
        </p:txBody>
      </p:sp>
      <p:sp>
        <p:nvSpPr>
          <p:cNvPr id="20" name="Text Placeholder 18">
            <a:extLst>
              <a:ext uri="{FF2B5EF4-FFF2-40B4-BE49-F238E27FC236}">
                <a16:creationId xmlns:a16="http://schemas.microsoft.com/office/drawing/2014/main" id="{48286939-3AE6-44E5-3F55-A4422239B681}"/>
              </a:ext>
            </a:extLst>
          </p:cNvPr>
          <p:cNvSpPr>
            <a:spLocks noGrp="1"/>
          </p:cNvSpPr>
          <p:nvPr>
            <p:ph type="body" sz="quarter" idx="23"/>
          </p:nvPr>
        </p:nvSpPr>
        <p:spPr>
          <a:xfrm>
            <a:off x="4128078" y="2877077"/>
            <a:ext cx="3264138" cy="2738348"/>
          </a:xfrm>
          <a:prstGeom prst="rect">
            <a:avLst/>
          </a:prstGeom>
          <a:solidFill>
            <a:schemeClr val="bg1">
              <a:lumMod val="95000"/>
            </a:schemeClr>
          </a:solidFill>
        </p:spPr>
        <p:txBody>
          <a:bodyPr lIns="182880" tIns="182880" rIns="18288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846A11D5-5D19-C0D0-FA48-AD2FD6AE8406}"/>
              </a:ext>
            </a:extLst>
          </p:cNvPr>
          <p:cNvSpPr>
            <a:spLocks noGrp="1"/>
          </p:cNvSpPr>
          <p:nvPr>
            <p:ph type="body" sz="quarter" idx="24"/>
          </p:nvPr>
        </p:nvSpPr>
        <p:spPr>
          <a:xfrm>
            <a:off x="7680131" y="2877077"/>
            <a:ext cx="3264138" cy="2738348"/>
          </a:xfrm>
          <a:prstGeom prst="rect">
            <a:avLst/>
          </a:prstGeom>
          <a:solidFill>
            <a:schemeClr val="bg1">
              <a:lumMod val="95000"/>
            </a:schemeClr>
          </a:solidFill>
        </p:spPr>
        <p:txBody>
          <a:bodyPr lIns="182880" tIns="182880" rIns="18288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2">
            <a:extLst>
              <a:ext uri="{FF2B5EF4-FFF2-40B4-BE49-F238E27FC236}">
                <a16:creationId xmlns:a16="http://schemas.microsoft.com/office/drawing/2014/main" id="{9FF3BDC5-D467-6C6F-1283-034363E165BA}"/>
              </a:ext>
            </a:extLst>
          </p:cNvPr>
          <p:cNvSpPr>
            <a:spLocks noGrp="1"/>
          </p:cNvSpPr>
          <p:nvPr>
            <p:ph type="body" sz="quarter" idx="25" hasCustomPrompt="1"/>
          </p:nvPr>
        </p:nvSpPr>
        <p:spPr>
          <a:xfrm>
            <a:off x="800235" y="5034082"/>
            <a:ext cx="1714420" cy="322509"/>
          </a:xfrm>
          <a:prstGeom prst="roundRect">
            <a:avLst/>
          </a:prstGeom>
          <a:solidFill>
            <a:schemeClr val="accent2"/>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1</a:t>
            </a:r>
          </a:p>
        </p:txBody>
      </p:sp>
      <p:sp>
        <p:nvSpPr>
          <p:cNvPr id="24" name="Text Placeholder 22">
            <a:extLst>
              <a:ext uri="{FF2B5EF4-FFF2-40B4-BE49-F238E27FC236}">
                <a16:creationId xmlns:a16="http://schemas.microsoft.com/office/drawing/2014/main" id="{6FDC4718-ED78-62C9-FFF6-1D617D489356}"/>
              </a:ext>
            </a:extLst>
          </p:cNvPr>
          <p:cNvSpPr>
            <a:spLocks noGrp="1"/>
          </p:cNvSpPr>
          <p:nvPr>
            <p:ph type="body" sz="quarter" idx="26" hasCustomPrompt="1"/>
          </p:nvPr>
        </p:nvSpPr>
        <p:spPr>
          <a:xfrm>
            <a:off x="4352288" y="5034082"/>
            <a:ext cx="1714420" cy="322509"/>
          </a:xfrm>
          <a:prstGeom prst="roundRect">
            <a:avLst/>
          </a:prstGeom>
          <a:solidFill>
            <a:schemeClr val="accent2"/>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2</a:t>
            </a:r>
          </a:p>
        </p:txBody>
      </p:sp>
      <p:sp>
        <p:nvSpPr>
          <p:cNvPr id="25" name="Text Placeholder 22">
            <a:extLst>
              <a:ext uri="{FF2B5EF4-FFF2-40B4-BE49-F238E27FC236}">
                <a16:creationId xmlns:a16="http://schemas.microsoft.com/office/drawing/2014/main" id="{89BEA157-BF96-4C48-9779-EBA8232526E2}"/>
              </a:ext>
            </a:extLst>
          </p:cNvPr>
          <p:cNvSpPr>
            <a:spLocks noGrp="1"/>
          </p:cNvSpPr>
          <p:nvPr>
            <p:ph type="body" sz="quarter" idx="27" hasCustomPrompt="1"/>
          </p:nvPr>
        </p:nvSpPr>
        <p:spPr>
          <a:xfrm>
            <a:off x="7904341" y="5034082"/>
            <a:ext cx="1714420" cy="322509"/>
          </a:xfrm>
          <a:prstGeom prst="roundRect">
            <a:avLst/>
          </a:prstGeom>
          <a:solidFill>
            <a:schemeClr val="accent2"/>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3</a:t>
            </a:r>
          </a:p>
        </p:txBody>
      </p:sp>
      <p:sp>
        <p:nvSpPr>
          <p:cNvPr id="4" name="Text Placeholder 11">
            <a:extLst>
              <a:ext uri="{FF2B5EF4-FFF2-40B4-BE49-F238E27FC236}">
                <a16:creationId xmlns:a16="http://schemas.microsoft.com/office/drawing/2014/main" id="{3B665467-607D-E440-9D72-9488DD6E7B99}"/>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6" name="Text Placeholder 7">
            <a:extLst>
              <a:ext uri="{FF2B5EF4-FFF2-40B4-BE49-F238E27FC236}">
                <a16:creationId xmlns:a16="http://schemas.microsoft.com/office/drawing/2014/main" id="{32EF6CFE-990D-D81C-02EC-0A464ACFDBE0}"/>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BAE2DEDE-A586-65CE-A248-4BC4D8563310}"/>
              </a:ext>
            </a:extLst>
          </p:cNvPr>
          <p:cNvSpPr>
            <a:spLocks noGrp="1"/>
          </p:cNvSpPr>
          <p:nvPr>
            <p:ph type="body" sz="quarter" idx="3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923070080"/>
      </p:ext>
    </p:extLst>
  </p:cSld>
  <p:clrMapOvr>
    <a:masterClrMapping/>
  </p:clrMapOvr>
  <p:transition>
    <p:wip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 - World Map -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1" y="0"/>
            <a:ext cx="11510517"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7349503" y="1756095"/>
            <a:ext cx="3515941" cy="436231"/>
          </a:xfrm>
        </p:spPr>
        <p:txBody>
          <a:bodyPr rIns="0" anchor="b" anchorCtr="0"/>
          <a:lstStyle>
            <a:lvl1pPr algn="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Box 9">
            <a:extLst>
              <a:ext uri="{FF2B5EF4-FFF2-40B4-BE49-F238E27FC236}">
                <a16:creationId xmlns:a16="http://schemas.microsoft.com/office/drawing/2014/main" id="{80AA914A-EB1B-16B0-36F8-D6180F97898C}"/>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bg2"/>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bg2"/>
              </a:solidFill>
              <a:latin typeface="Avenir Next LT Pro" panose="020B0504020202020204" pitchFamily="34" charset="77"/>
            </a:endParaRPr>
          </a:p>
        </p:txBody>
      </p:sp>
      <p:sp>
        <p:nvSpPr>
          <p:cNvPr id="6" name="Text Placeholder 5">
            <a:extLst>
              <a:ext uri="{FF2B5EF4-FFF2-40B4-BE49-F238E27FC236}">
                <a16:creationId xmlns:a16="http://schemas.microsoft.com/office/drawing/2014/main" id="{07B1D39D-89B3-ACB8-9F79-1B5FFD5FEC73}"/>
              </a:ext>
            </a:extLst>
          </p:cNvPr>
          <p:cNvSpPr>
            <a:spLocks noGrp="1"/>
          </p:cNvSpPr>
          <p:nvPr>
            <p:ph type="body" sz="quarter" idx="10"/>
          </p:nvPr>
        </p:nvSpPr>
        <p:spPr>
          <a:xfrm>
            <a:off x="7349502" y="2270936"/>
            <a:ext cx="3515942" cy="1169999"/>
          </a:xfrm>
          <a:prstGeom prst="rect">
            <a:avLst/>
          </a:prstGeom>
        </p:spPr>
        <p:txBody>
          <a:bodyPr lIns="0"/>
          <a:lstStyle>
            <a:lvl1pPr marL="0" indent="0" algn="r">
              <a:spcBef>
                <a:spcPts val="1134"/>
              </a:spcBef>
              <a:buNone/>
              <a:defRPr sz="1039">
                <a:solidFill>
                  <a:schemeClr val="bg1"/>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a:spcBef>
                <a:spcPts val="1200"/>
              </a:spcBef>
            </a:pPr>
            <a:endParaRPr lang="en-US" sz="1039" dirty="0">
              <a:solidFill>
                <a:schemeClr val="bg1"/>
              </a:solidFill>
            </a:endParaRPr>
          </a:p>
        </p:txBody>
      </p:sp>
      <p:grpSp>
        <p:nvGrpSpPr>
          <p:cNvPr id="27" name="Group 26">
            <a:extLst>
              <a:ext uri="{FF2B5EF4-FFF2-40B4-BE49-F238E27FC236}">
                <a16:creationId xmlns:a16="http://schemas.microsoft.com/office/drawing/2014/main" id="{B924F31D-0321-F63E-6DD4-3FE6E608696B}"/>
              </a:ext>
            </a:extLst>
          </p:cNvPr>
          <p:cNvGrpSpPr/>
          <p:nvPr userDrawn="1"/>
        </p:nvGrpSpPr>
        <p:grpSpPr>
          <a:xfrm>
            <a:off x="-59030" y="1069204"/>
            <a:ext cx="7971355" cy="4341768"/>
            <a:chOff x="405196" y="330205"/>
            <a:chExt cx="11378455" cy="6197686"/>
          </a:xfrm>
          <a:solidFill>
            <a:schemeClr val="accent6"/>
          </a:solidFill>
        </p:grpSpPr>
        <p:grpSp>
          <p:nvGrpSpPr>
            <p:cNvPr id="28" name="Group 205">
              <a:extLst>
                <a:ext uri="{FF2B5EF4-FFF2-40B4-BE49-F238E27FC236}">
                  <a16:creationId xmlns:a16="http://schemas.microsoft.com/office/drawing/2014/main" id="{C0DC6D76-DD35-20F3-D773-A8A899E99873}"/>
                </a:ext>
              </a:extLst>
            </p:cNvPr>
            <p:cNvGrpSpPr>
              <a:grpSpLocks/>
            </p:cNvGrpSpPr>
            <p:nvPr userDrawn="1"/>
          </p:nvGrpSpPr>
          <p:grpSpPr bwMode="auto">
            <a:xfrm>
              <a:off x="2176455" y="418231"/>
              <a:ext cx="9565878" cy="5728817"/>
              <a:chOff x="1003" y="129"/>
              <a:chExt cx="5325" cy="3189"/>
            </a:xfrm>
            <a:grpFill/>
          </p:grpSpPr>
          <p:sp>
            <p:nvSpPr>
              <p:cNvPr id="309" name="Freeform 5">
                <a:extLst>
                  <a:ext uri="{FF2B5EF4-FFF2-40B4-BE49-F238E27FC236}">
                    <a16:creationId xmlns:a16="http://schemas.microsoft.com/office/drawing/2014/main" id="{B00E919E-7933-17A9-53D4-8B0271938AFE}"/>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0" name="Freeform 6">
                <a:extLst>
                  <a:ext uri="{FF2B5EF4-FFF2-40B4-BE49-F238E27FC236}">
                    <a16:creationId xmlns:a16="http://schemas.microsoft.com/office/drawing/2014/main" id="{D2E032BE-1AAF-3889-728D-474B5D9B86D3}"/>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1" name="Freeform 7">
                <a:extLst>
                  <a:ext uri="{FF2B5EF4-FFF2-40B4-BE49-F238E27FC236}">
                    <a16:creationId xmlns:a16="http://schemas.microsoft.com/office/drawing/2014/main" id="{56919768-2EB2-EAD1-ECEA-071960ADF5AD}"/>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2" name="Freeform 8">
                <a:extLst>
                  <a:ext uri="{FF2B5EF4-FFF2-40B4-BE49-F238E27FC236}">
                    <a16:creationId xmlns:a16="http://schemas.microsoft.com/office/drawing/2014/main" id="{5E70FC7F-032C-29C1-3854-CF09BF831D2E}"/>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3" name="Freeform 9">
                <a:extLst>
                  <a:ext uri="{FF2B5EF4-FFF2-40B4-BE49-F238E27FC236}">
                    <a16:creationId xmlns:a16="http://schemas.microsoft.com/office/drawing/2014/main" id="{4C363620-B068-B437-E3A5-74160FBB3F08}"/>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4" name="Freeform 10">
                <a:extLst>
                  <a:ext uri="{FF2B5EF4-FFF2-40B4-BE49-F238E27FC236}">
                    <a16:creationId xmlns:a16="http://schemas.microsoft.com/office/drawing/2014/main" id="{191A5730-296E-B5C8-2BED-46578251B340}"/>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5" name="Freeform 11">
                <a:extLst>
                  <a:ext uri="{FF2B5EF4-FFF2-40B4-BE49-F238E27FC236}">
                    <a16:creationId xmlns:a16="http://schemas.microsoft.com/office/drawing/2014/main" id="{3C9EECF1-CA3B-DD59-AEBC-5F697F530C48}"/>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6" name="Freeform 12">
                <a:extLst>
                  <a:ext uri="{FF2B5EF4-FFF2-40B4-BE49-F238E27FC236}">
                    <a16:creationId xmlns:a16="http://schemas.microsoft.com/office/drawing/2014/main" id="{049EA29C-5928-51C3-F893-8A1C3D3B4C94}"/>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7" name="Freeform 13">
                <a:extLst>
                  <a:ext uri="{FF2B5EF4-FFF2-40B4-BE49-F238E27FC236}">
                    <a16:creationId xmlns:a16="http://schemas.microsoft.com/office/drawing/2014/main" id="{5E9E5C21-7D5B-CFF4-8F27-FE8463D55313}"/>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8" name="Freeform 14">
                <a:extLst>
                  <a:ext uri="{FF2B5EF4-FFF2-40B4-BE49-F238E27FC236}">
                    <a16:creationId xmlns:a16="http://schemas.microsoft.com/office/drawing/2014/main" id="{EA1F0A86-AE40-6681-88AA-5D9FDAFE9654}"/>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9" name="Freeform 15">
                <a:extLst>
                  <a:ext uri="{FF2B5EF4-FFF2-40B4-BE49-F238E27FC236}">
                    <a16:creationId xmlns:a16="http://schemas.microsoft.com/office/drawing/2014/main" id="{6A3A5DDF-9B23-1C11-1C3D-B57757556B44}"/>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0" name="Freeform 16">
                <a:extLst>
                  <a:ext uri="{FF2B5EF4-FFF2-40B4-BE49-F238E27FC236}">
                    <a16:creationId xmlns:a16="http://schemas.microsoft.com/office/drawing/2014/main" id="{2151B1D7-9B95-1885-73AF-09A8672CC162}"/>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1" name="Freeform 17">
                <a:extLst>
                  <a:ext uri="{FF2B5EF4-FFF2-40B4-BE49-F238E27FC236}">
                    <a16:creationId xmlns:a16="http://schemas.microsoft.com/office/drawing/2014/main" id="{343114D5-1EC1-4FBF-8B79-76B47351511A}"/>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2" name="Freeform 18">
                <a:extLst>
                  <a:ext uri="{FF2B5EF4-FFF2-40B4-BE49-F238E27FC236}">
                    <a16:creationId xmlns:a16="http://schemas.microsoft.com/office/drawing/2014/main" id="{51EB9FA3-9EED-AB80-38B4-FDECB1571D81}"/>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3" name="Freeform 19">
                <a:extLst>
                  <a:ext uri="{FF2B5EF4-FFF2-40B4-BE49-F238E27FC236}">
                    <a16:creationId xmlns:a16="http://schemas.microsoft.com/office/drawing/2014/main" id="{A94E728F-7973-3632-E057-441F42185D0F}"/>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4" name="Freeform 20">
                <a:extLst>
                  <a:ext uri="{FF2B5EF4-FFF2-40B4-BE49-F238E27FC236}">
                    <a16:creationId xmlns:a16="http://schemas.microsoft.com/office/drawing/2014/main" id="{8077E1AB-2B23-934B-386C-8F0F65FF4E37}"/>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5" name="Freeform 21">
                <a:extLst>
                  <a:ext uri="{FF2B5EF4-FFF2-40B4-BE49-F238E27FC236}">
                    <a16:creationId xmlns:a16="http://schemas.microsoft.com/office/drawing/2014/main" id="{3BA99BD9-D768-B9B1-5B2A-3D34E9857180}"/>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6" name="Freeform 22">
                <a:extLst>
                  <a:ext uri="{FF2B5EF4-FFF2-40B4-BE49-F238E27FC236}">
                    <a16:creationId xmlns:a16="http://schemas.microsoft.com/office/drawing/2014/main" id="{28B8F33A-1F39-56B4-B63E-4F97D0CECA4C}"/>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7" name="Freeform 23">
                <a:extLst>
                  <a:ext uri="{FF2B5EF4-FFF2-40B4-BE49-F238E27FC236}">
                    <a16:creationId xmlns:a16="http://schemas.microsoft.com/office/drawing/2014/main" id="{B5EE85D0-251E-107D-FAE9-3C9A13B915D8}"/>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8" name="Freeform 24">
                <a:extLst>
                  <a:ext uri="{FF2B5EF4-FFF2-40B4-BE49-F238E27FC236}">
                    <a16:creationId xmlns:a16="http://schemas.microsoft.com/office/drawing/2014/main" id="{0FF326C7-D338-1F82-5398-123C7C97E742}"/>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9" name="Freeform 25">
                <a:extLst>
                  <a:ext uri="{FF2B5EF4-FFF2-40B4-BE49-F238E27FC236}">
                    <a16:creationId xmlns:a16="http://schemas.microsoft.com/office/drawing/2014/main" id="{DB8FFB0C-6E35-C96A-F5A7-3A3B03B7F05D}"/>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0" name="Freeform 26">
                <a:extLst>
                  <a:ext uri="{FF2B5EF4-FFF2-40B4-BE49-F238E27FC236}">
                    <a16:creationId xmlns:a16="http://schemas.microsoft.com/office/drawing/2014/main" id="{95AA8446-79B6-6361-DADF-3CC26B2E7D9B}"/>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1" name="Freeform 27">
                <a:extLst>
                  <a:ext uri="{FF2B5EF4-FFF2-40B4-BE49-F238E27FC236}">
                    <a16:creationId xmlns:a16="http://schemas.microsoft.com/office/drawing/2014/main" id="{4A3C41AE-2F60-DA1A-914C-5F88DBB446EF}"/>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2" name="Freeform 28">
                <a:extLst>
                  <a:ext uri="{FF2B5EF4-FFF2-40B4-BE49-F238E27FC236}">
                    <a16:creationId xmlns:a16="http://schemas.microsoft.com/office/drawing/2014/main" id="{2EFD28FF-7D73-4BAB-93A2-C896D1051058}"/>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3" name="Freeform 29">
                <a:extLst>
                  <a:ext uri="{FF2B5EF4-FFF2-40B4-BE49-F238E27FC236}">
                    <a16:creationId xmlns:a16="http://schemas.microsoft.com/office/drawing/2014/main" id="{83EA89E4-3C0E-B2D9-7DA2-79487831A44A}"/>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4" name="Freeform 30">
                <a:extLst>
                  <a:ext uri="{FF2B5EF4-FFF2-40B4-BE49-F238E27FC236}">
                    <a16:creationId xmlns:a16="http://schemas.microsoft.com/office/drawing/2014/main" id="{3463A69A-A67F-B7ED-0CAB-FEF9FB752BD3}"/>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5" name="Freeform 31">
                <a:extLst>
                  <a:ext uri="{FF2B5EF4-FFF2-40B4-BE49-F238E27FC236}">
                    <a16:creationId xmlns:a16="http://schemas.microsoft.com/office/drawing/2014/main" id="{C9C56D8E-0990-ECAD-94AD-E234A2A2D54D}"/>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6" name="Freeform 32">
                <a:extLst>
                  <a:ext uri="{FF2B5EF4-FFF2-40B4-BE49-F238E27FC236}">
                    <a16:creationId xmlns:a16="http://schemas.microsoft.com/office/drawing/2014/main" id="{2FCDD8C8-536B-B998-D9CF-9B856AAE1DAD}"/>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7" name="Freeform 33">
                <a:extLst>
                  <a:ext uri="{FF2B5EF4-FFF2-40B4-BE49-F238E27FC236}">
                    <a16:creationId xmlns:a16="http://schemas.microsoft.com/office/drawing/2014/main" id="{5C279248-B8A2-CED0-0070-572569F3B921}"/>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8" name="Freeform 34">
                <a:extLst>
                  <a:ext uri="{FF2B5EF4-FFF2-40B4-BE49-F238E27FC236}">
                    <a16:creationId xmlns:a16="http://schemas.microsoft.com/office/drawing/2014/main" id="{41C6CD3F-EC77-574D-8EEA-96C226CDA867}"/>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9" name="Freeform 35">
                <a:extLst>
                  <a:ext uri="{FF2B5EF4-FFF2-40B4-BE49-F238E27FC236}">
                    <a16:creationId xmlns:a16="http://schemas.microsoft.com/office/drawing/2014/main" id="{A71F67E3-D8AB-298E-8832-6A76C44DE7F1}"/>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0" name="Freeform 36">
                <a:extLst>
                  <a:ext uri="{FF2B5EF4-FFF2-40B4-BE49-F238E27FC236}">
                    <a16:creationId xmlns:a16="http://schemas.microsoft.com/office/drawing/2014/main" id="{EE2C7F6A-1F05-E2FD-4F30-147CFF623B65}"/>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1" name="Freeform 37">
                <a:extLst>
                  <a:ext uri="{FF2B5EF4-FFF2-40B4-BE49-F238E27FC236}">
                    <a16:creationId xmlns:a16="http://schemas.microsoft.com/office/drawing/2014/main" id="{1E8DA1F7-6ACE-6D9B-C2E3-45D1A2FD0D04}"/>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2" name="Freeform 38">
                <a:extLst>
                  <a:ext uri="{FF2B5EF4-FFF2-40B4-BE49-F238E27FC236}">
                    <a16:creationId xmlns:a16="http://schemas.microsoft.com/office/drawing/2014/main" id="{8CDE3BE7-2E3D-3DF1-7BCB-70E70ED2F253}"/>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3" name="Freeform 39">
                <a:extLst>
                  <a:ext uri="{FF2B5EF4-FFF2-40B4-BE49-F238E27FC236}">
                    <a16:creationId xmlns:a16="http://schemas.microsoft.com/office/drawing/2014/main" id="{B2DFBEB4-0401-BE19-FF6E-3138ADD3E809}"/>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4" name="Freeform 40">
                <a:extLst>
                  <a:ext uri="{FF2B5EF4-FFF2-40B4-BE49-F238E27FC236}">
                    <a16:creationId xmlns:a16="http://schemas.microsoft.com/office/drawing/2014/main" id="{D68ACE44-4CBD-AEC1-11E2-6F0C98BB4BBA}"/>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5" name="Freeform 41">
                <a:extLst>
                  <a:ext uri="{FF2B5EF4-FFF2-40B4-BE49-F238E27FC236}">
                    <a16:creationId xmlns:a16="http://schemas.microsoft.com/office/drawing/2014/main" id="{1EF74410-20C9-859B-570F-9875DB5B906F}"/>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6" name="Freeform 42">
                <a:extLst>
                  <a:ext uri="{FF2B5EF4-FFF2-40B4-BE49-F238E27FC236}">
                    <a16:creationId xmlns:a16="http://schemas.microsoft.com/office/drawing/2014/main" id="{AABE775B-C54C-6806-7B76-662207A4349B}"/>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7" name="Freeform 43">
                <a:extLst>
                  <a:ext uri="{FF2B5EF4-FFF2-40B4-BE49-F238E27FC236}">
                    <a16:creationId xmlns:a16="http://schemas.microsoft.com/office/drawing/2014/main" id="{C7A37484-E0A1-4D2C-DEDB-D1D11C280D96}"/>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8" name="Freeform 44">
                <a:extLst>
                  <a:ext uri="{FF2B5EF4-FFF2-40B4-BE49-F238E27FC236}">
                    <a16:creationId xmlns:a16="http://schemas.microsoft.com/office/drawing/2014/main" id="{32445521-E38D-316B-2B6E-9C2BBFAAA1FF}"/>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9" name="Freeform 45">
                <a:extLst>
                  <a:ext uri="{FF2B5EF4-FFF2-40B4-BE49-F238E27FC236}">
                    <a16:creationId xmlns:a16="http://schemas.microsoft.com/office/drawing/2014/main" id="{404DE686-8ADB-B4CC-A861-65375F7053B1}"/>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0" name="Freeform 46">
                <a:extLst>
                  <a:ext uri="{FF2B5EF4-FFF2-40B4-BE49-F238E27FC236}">
                    <a16:creationId xmlns:a16="http://schemas.microsoft.com/office/drawing/2014/main" id="{0AD65E4B-80BB-5BFF-4FB6-F92A245EA0FE}"/>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1" name="Freeform 47">
                <a:extLst>
                  <a:ext uri="{FF2B5EF4-FFF2-40B4-BE49-F238E27FC236}">
                    <a16:creationId xmlns:a16="http://schemas.microsoft.com/office/drawing/2014/main" id="{794620A0-E88D-DEDF-2351-0578D5E463DC}"/>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2" name="Freeform 48">
                <a:extLst>
                  <a:ext uri="{FF2B5EF4-FFF2-40B4-BE49-F238E27FC236}">
                    <a16:creationId xmlns:a16="http://schemas.microsoft.com/office/drawing/2014/main" id="{99A6276E-6832-9E36-30E3-35DCCDC0BB9A}"/>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3" name="Freeform 49">
                <a:extLst>
                  <a:ext uri="{FF2B5EF4-FFF2-40B4-BE49-F238E27FC236}">
                    <a16:creationId xmlns:a16="http://schemas.microsoft.com/office/drawing/2014/main" id="{FFBC5B1C-A508-CFA4-4A18-9F3427572EF2}"/>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4" name="Freeform 50">
                <a:extLst>
                  <a:ext uri="{FF2B5EF4-FFF2-40B4-BE49-F238E27FC236}">
                    <a16:creationId xmlns:a16="http://schemas.microsoft.com/office/drawing/2014/main" id="{B2DD0CE9-74EA-5061-9A4D-164651B72A72}"/>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5" name="Freeform 51">
                <a:extLst>
                  <a:ext uri="{FF2B5EF4-FFF2-40B4-BE49-F238E27FC236}">
                    <a16:creationId xmlns:a16="http://schemas.microsoft.com/office/drawing/2014/main" id="{82F790CB-EE13-8D0C-68CC-BA3BFC3AD9A6}"/>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6" name="Freeform 52">
                <a:extLst>
                  <a:ext uri="{FF2B5EF4-FFF2-40B4-BE49-F238E27FC236}">
                    <a16:creationId xmlns:a16="http://schemas.microsoft.com/office/drawing/2014/main" id="{DDE50A38-ABFF-F26F-6420-746DDC7DE401}"/>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7" name="Freeform 53">
                <a:extLst>
                  <a:ext uri="{FF2B5EF4-FFF2-40B4-BE49-F238E27FC236}">
                    <a16:creationId xmlns:a16="http://schemas.microsoft.com/office/drawing/2014/main" id="{BD3F14F1-1475-A74E-7572-C39DC4E35DE9}"/>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8" name="Freeform 54">
                <a:extLst>
                  <a:ext uri="{FF2B5EF4-FFF2-40B4-BE49-F238E27FC236}">
                    <a16:creationId xmlns:a16="http://schemas.microsoft.com/office/drawing/2014/main" id="{39466997-57CB-8978-481C-6D50B8100690}"/>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9" name="Freeform 55">
                <a:extLst>
                  <a:ext uri="{FF2B5EF4-FFF2-40B4-BE49-F238E27FC236}">
                    <a16:creationId xmlns:a16="http://schemas.microsoft.com/office/drawing/2014/main" id="{05EEB3DD-7F9B-0523-1D8B-D44D5284272C}"/>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0" name="Freeform 56">
                <a:extLst>
                  <a:ext uri="{FF2B5EF4-FFF2-40B4-BE49-F238E27FC236}">
                    <a16:creationId xmlns:a16="http://schemas.microsoft.com/office/drawing/2014/main" id="{38FC9CB6-269A-3CA1-960B-EA0B402628C5}"/>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1" name="Freeform 57">
                <a:extLst>
                  <a:ext uri="{FF2B5EF4-FFF2-40B4-BE49-F238E27FC236}">
                    <a16:creationId xmlns:a16="http://schemas.microsoft.com/office/drawing/2014/main" id="{4E2966AC-E25D-22B2-3E98-426BC92C7051}"/>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2" name="Freeform 58">
                <a:extLst>
                  <a:ext uri="{FF2B5EF4-FFF2-40B4-BE49-F238E27FC236}">
                    <a16:creationId xmlns:a16="http://schemas.microsoft.com/office/drawing/2014/main" id="{3629AF20-C521-F392-9CBA-FD8D86196855}"/>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3" name="Freeform 59">
                <a:extLst>
                  <a:ext uri="{FF2B5EF4-FFF2-40B4-BE49-F238E27FC236}">
                    <a16:creationId xmlns:a16="http://schemas.microsoft.com/office/drawing/2014/main" id="{951FF190-DADE-55B7-6C6A-624F47712318}"/>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4" name="Freeform 60">
                <a:extLst>
                  <a:ext uri="{FF2B5EF4-FFF2-40B4-BE49-F238E27FC236}">
                    <a16:creationId xmlns:a16="http://schemas.microsoft.com/office/drawing/2014/main" id="{2E763744-6835-70A3-39C9-745300CC2D7F}"/>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5" name="Freeform 61">
                <a:extLst>
                  <a:ext uri="{FF2B5EF4-FFF2-40B4-BE49-F238E27FC236}">
                    <a16:creationId xmlns:a16="http://schemas.microsoft.com/office/drawing/2014/main" id="{FC39CE2E-61D0-98C5-640F-E6BB67FE85D6}"/>
                  </a:ext>
                </a:extLst>
              </p:cNvPr>
              <p:cNvSpPr>
                <a:spLocks/>
              </p:cNvSpPr>
              <p:nvPr userDrawn="1"/>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6" name="Freeform 62">
                <a:extLst>
                  <a:ext uri="{FF2B5EF4-FFF2-40B4-BE49-F238E27FC236}">
                    <a16:creationId xmlns:a16="http://schemas.microsoft.com/office/drawing/2014/main" id="{34FE23E6-6D6F-3A3B-CA2C-60690ECBB747}"/>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7" name="Freeform 63">
                <a:extLst>
                  <a:ext uri="{FF2B5EF4-FFF2-40B4-BE49-F238E27FC236}">
                    <a16:creationId xmlns:a16="http://schemas.microsoft.com/office/drawing/2014/main" id="{DE2DD445-F1CC-16DD-2020-3178EAAB6970}"/>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8" name="Freeform 64">
                <a:extLst>
                  <a:ext uri="{FF2B5EF4-FFF2-40B4-BE49-F238E27FC236}">
                    <a16:creationId xmlns:a16="http://schemas.microsoft.com/office/drawing/2014/main" id="{6716BF2E-63B3-8B64-4F10-7198BA2AB91D}"/>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9" name="Freeform 65">
                <a:extLst>
                  <a:ext uri="{FF2B5EF4-FFF2-40B4-BE49-F238E27FC236}">
                    <a16:creationId xmlns:a16="http://schemas.microsoft.com/office/drawing/2014/main" id="{F80CC56A-A983-8DDB-D5B9-A7AA88B19747}"/>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0" name="Freeform 66">
                <a:extLst>
                  <a:ext uri="{FF2B5EF4-FFF2-40B4-BE49-F238E27FC236}">
                    <a16:creationId xmlns:a16="http://schemas.microsoft.com/office/drawing/2014/main" id="{8DDC3ADE-93F7-2212-6B23-C1681E1AC9A7}"/>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1" name="Freeform 67">
                <a:extLst>
                  <a:ext uri="{FF2B5EF4-FFF2-40B4-BE49-F238E27FC236}">
                    <a16:creationId xmlns:a16="http://schemas.microsoft.com/office/drawing/2014/main" id="{FA4DBDEF-3FFA-5481-9D3F-A9ACFFD71F96}"/>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2" name="Freeform 68">
                <a:extLst>
                  <a:ext uri="{FF2B5EF4-FFF2-40B4-BE49-F238E27FC236}">
                    <a16:creationId xmlns:a16="http://schemas.microsoft.com/office/drawing/2014/main" id="{80C058C6-5A21-18D8-40E5-CCDCA4CD3B6C}"/>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3" name="Freeform 69">
                <a:extLst>
                  <a:ext uri="{FF2B5EF4-FFF2-40B4-BE49-F238E27FC236}">
                    <a16:creationId xmlns:a16="http://schemas.microsoft.com/office/drawing/2014/main" id="{1C0DDBB3-80E9-CA37-F2FC-C19BFD7E08ED}"/>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4" name="Freeform 70">
                <a:extLst>
                  <a:ext uri="{FF2B5EF4-FFF2-40B4-BE49-F238E27FC236}">
                    <a16:creationId xmlns:a16="http://schemas.microsoft.com/office/drawing/2014/main" id="{A48A02D5-70E8-1688-87F5-091652700C3D}"/>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5" name="Freeform 71">
                <a:extLst>
                  <a:ext uri="{FF2B5EF4-FFF2-40B4-BE49-F238E27FC236}">
                    <a16:creationId xmlns:a16="http://schemas.microsoft.com/office/drawing/2014/main" id="{42A76618-3DCB-DC31-067E-F85BF9B912D7}"/>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6" name="Freeform 72">
                <a:extLst>
                  <a:ext uri="{FF2B5EF4-FFF2-40B4-BE49-F238E27FC236}">
                    <a16:creationId xmlns:a16="http://schemas.microsoft.com/office/drawing/2014/main" id="{11CD1F53-5616-7035-A8CE-1825873A91B9}"/>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7" name="Freeform 73">
                <a:extLst>
                  <a:ext uri="{FF2B5EF4-FFF2-40B4-BE49-F238E27FC236}">
                    <a16:creationId xmlns:a16="http://schemas.microsoft.com/office/drawing/2014/main" id="{DDBEA0B9-4D49-8F63-8C4D-B9D1E4BEBAA6}"/>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8" name="Freeform 74">
                <a:extLst>
                  <a:ext uri="{FF2B5EF4-FFF2-40B4-BE49-F238E27FC236}">
                    <a16:creationId xmlns:a16="http://schemas.microsoft.com/office/drawing/2014/main" id="{A116A8D6-F332-355B-901B-34CE97FA00E2}"/>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9" name="Freeform 75">
                <a:extLst>
                  <a:ext uri="{FF2B5EF4-FFF2-40B4-BE49-F238E27FC236}">
                    <a16:creationId xmlns:a16="http://schemas.microsoft.com/office/drawing/2014/main" id="{61D271F7-0E67-3F30-87E7-12B25E64BD1F}"/>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0" name="Freeform 76">
                <a:extLst>
                  <a:ext uri="{FF2B5EF4-FFF2-40B4-BE49-F238E27FC236}">
                    <a16:creationId xmlns:a16="http://schemas.microsoft.com/office/drawing/2014/main" id="{573BE826-E2F9-E4E1-AF5F-C8C3027AC7E2}"/>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1" name="Freeform 77">
                <a:extLst>
                  <a:ext uri="{FF2B5EF4-FFF2-40B4-BE49-F238E27FC236}">
                    <a16:creationId xmlns:a16="http://schemas.microsoft.com/office/drawing/2014/main" id="{1F2D7243-8863-D8BC-13BF-816F97A24ED1}"/>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2" name="Freeform 78">
                <a:extLst>
                  <a:ext uri="{FF2B5EF4-FFF2-40B4-BE49-F238E27FC236}">
                    <a16:creationId xmlns:a16="http://schemas.microsoft.com/office/drawing/2014/main" id="{6FA15408-334E-8FB0-7446-1B15F4A0A578}"/>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3" name="Freeform 79">
                <a:extLst>
                  <a:ext uri="{FF2B5EF4-FFF2-40B4-BE49-F238E27FC236}">
                    <a16:creationId xmlns:a16="http://schemas.microsoft.com/office/drawing/2014/main" id="{D420719F-122A-E4B0-923A-A184BD600476}"/>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4" name="Freeform 80">
                <a:extLst>
                  <a:ext uri="{FF2B5EF4-FFF2-40B4-BE49-F238E27FC236}">
                    <a16:creationId xmlns:a16="http://schemas.microsoft.com/office/drawing/2014/main" id="{14D10BF6-9D2E-BBC8-6869-8B38F81A11E0}"/>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5" name="Freeform 81">
                <a:extLst>
                  <a:ext uri="{FF2B5EF4-FFF2-40B4-BE49-F238E27FC236}">
                    <a16:creationId xmlns:a16="http://schemas.microsoft.com/office/drawing/2014/main" id="{F4531515-ABDE-8C35-6D17-1601615869D5}"/>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6" name="Freeform 82">
                <a:extLst>
                  <a:ext uri="{FF2B5EF4-FFF2-40B4-BE49-F238E27FC236}">
                    <a16:creationId xmlns:a16="http://schemas.microsoft.com/office/drawing/2014/main" id="{0CC3ADD7-B9C0-606E-7737-B7435493BFD3}"/>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7" name="Freeform 83">
                <a:extLst>
                  <a:ext uri="{FF2B5EF4-FFF2-40B4-BE49-F238E27FC236}">
                    <a16:creationId xmlns:a16="http://schemas.microsoft.com/office/drawing/2014/main" id="{84F5B875-44CB-C5EF-E73D-2ACA0BB2A31C}"/>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8" name="Freeform 84">
                <a:extLst>
                  <a:ext uri="{FF2B5EF4-FFF2-40B4-BE49-F238E27FC236}">
                    <a16:creationId xmlns:a16="http://schemas.microsoft.com/office/drawing/2014/main" id="{5416B247-3C99-0000-6DEA-0BE082E90B90}"/>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9" name="Freeform 85">
                <a:extLst>
                  <a:ext uri="{FF2B5EF4-FFF2-40B4-BE49-F238E27FC236}">
                    <a16:creationId xmlns:a16="http://schemas.microsoft.com/office/drawing/2014/main" id="{B3A366F9-F225-182D-E2AF-2170507EF4A2}"/>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0" name="Freeform 86">
                <a:extLst>
                  <a:ext uri="{FF2B5EF4-FFF2-40B4-BE49-F238E27FC236}">
                    <a16:creationId xmlns:a16="http://schemas.microsoft.com/office/drawing/2014/main" id="{C8530EBA-141A-C2F5-1A47-7880F921322B}"/>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1" name="Freeform 87">
                <a:extLst>
                  <a:ext uri="{FF2B5EF4-FFF2-40B4-BE49-F238E27FC236}">
                    <a16:creationId xmlns:a16="http://schemas.microsoft.com/office/drawing/2014/main" id="{53D230A2-1E72-8C08-4653-403C99B5C7C8}"/>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2" name="Freeform 88">
                <a:extLst>
                  <a:ext uri="{FF2B5EF4-FFF2-40B4-BE49-F238E27FC236}">
                    <a16:creationId xmlns:a16="http://schemas.microsoft.com/office/drawing/2014/main" id="{26652B6A-5864-015F-33E1-51D0E494D005}"/>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3" name="Freeform 89">
                <a:extLst>
                  <a:ext uri="{FF2B5EF4-FFF2-40B4-BE49-F238E27FC236}">
                    <a16:creationId xmlns:a16="http://schemas.microsoft.com/office/drawing/2014/main" id="{20CB5A5A-8D33-09E7-1C64-BDBF08B4CFE9}"/>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4" name="Freeform 90">
                <a:extLst>
                  <a:ext uri="{FF2B5EF4-FFF2-40B4-BE49-F238E27FC236}">
                    <a16:creationId xmlns:a16="http://schemas.microsoft.com/office/drawing/2014/main" id="{813778EB-96E5-4B8E-D2EF-B5DD864C2F7D}"/>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5" name="Freeform 91">
                <a:extLst>
                  <a:ext uri="{FF2B5EF4-FFF2-40B4-BE49-F238E27FC236}">
                    <a16:creationId xmlns:a16="http://schemas.microsoft.com/office/drawing/2014/main" id="{1E63D542-5B10-4EA0-B74A-AF16B8FC07D2}"/>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6" name="Freeform 92">
                <a:extLst>
                  <a:ext uri="{FF2B5EF4-FFF2-40B4-BE49-F238E27FC236}">
                    <a16:creationId xmlns:a16="http://schemas.microsoft.com/office/drawing/2014/main" id="{02CD2CDA-F2AA-4D8B-DD17-794DA14E2EDB}"/>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7" name="Freeform 93">
                <a:extLst>
                  <a:ext uri="{FF2B5EF4-FFF2-40B4-BE49-F238E27FC236}">
                    <a16:creationId xmlns:a16="http://schemas.microsoft.com/office/drawing/2014/main" id="{3ECD31CB-5D33-EDE1-5AA9-4781E0D7D716}"/>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8" name="Freeform 94">
                <a:extLst>
                  <a:ext uri="{FF2B5EF4-FFF2-40B4-BE49-F238E27FC236}">
                    <a16:creationId xmlns:a16="http://schemas.microsoft.com/office/drawing/2014/main" id="{27CEFDDE-E004-ED7C-C209-8546D32B51D7}"/>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9" name="Freeform 95">
                <a:extLst>
                  <a:ext uri="{FF2B5EF4-FFF2-40B4-BE49-F238E27FC236}">
                    <a16:creationId xmlns:a16="http://schemas.microsoft.com/office/drawing/2014/main" id="{04B3E6A3-38F8-455C-1F2A-F749F85BD532}"/>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0" name="Freeform 96">
                <a:extLst>
                  <a:ext uri="{FF2B5EF4-FFF2-40B4-BE49-F238E27FC236}">
                    <a16:creationId xmlns:a16="http://schemas.microsoft.com/office/drawing/2014/main" id="{538EBDBE-3BAB-D24A-A08D-2FDA9CCC95B9}"/>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1" name="Freeform 97">
                <a:extLst>
                  <a:ext uri="{FF2B5EF4-FFF2-40B4-BE49-F238E27FC236}">
                    <a16:creationId xmlns:a16="http://schemas.microsoft.com/office/drawing/2014/main" id="{0E579B84-0A70-A150-4943-8C53C9E53E92}"/>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2" name="Freeform 98">
                <a:extLst>
                  <a:ext uri="{FF2B5EF4-FFF2-40B4-BE49-F238E27FC236}">
                    <a16:creationId xmlns:a16="http://schemas.microsoft.com/office/drawing/2014/main" id="{5A30CAE2-5CFB-C5E6-283D-E0CC0A4E5361}"/>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3" name="Freeform 99">
                <a:extLst>
                  <a:ext uri="{FF2B5EF4-FFF2-40B4-BE49-F238E27FC236}">
                    <a16:creationId xmlns:a16="http://schemas.microsoft.com/office/drawing/2014/main" id="{E22A504C-B041-AF42-FD8B-ACA9D87E75A8}"/>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4" name="Freeform 100">
                <a:extLst>
                  <a:ext uri="{FF2B5EF4-FFF2-40B4-BE49-F238E27FC236}">
                    <a16:creationId xmlns:a16="http://schemas.microsoft.com/office/drawing/2014/main" id="{2FFAEEF7-3A36-DB66-1963-98CDA334D00F}"/>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5" name="Freeform 101">
                <a:extLst>
                  <a:ext uri="{FF2B5EF4-FFF2-40B4-BE49-F238E27FC236}">
                    <a16:creationId xmlns:a16="http://schemas.microsoft.com/office/drawing/2014/main" id="{1C0BCCB8-E372-4742-4DD6-D0ED8A0A5C25}"/>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6" name="Freeform 102">
                <a:extLst>
                  <a:ext uri="{FF2B5EF4-FFF2-40B4-BE49-F238E27FC236}">
                    <a16:creationId xmlns:a16="http://schemas.microsoft.com/office/drawing/2014/main" id="{C4F3D693-6B4A-1CAD-49D6-65CB955757CD}"/>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7" name="Freeform 103">
                <a:extLst>
                  <a:ext uri="{FF2B5EF4-FFF2-40B4-BE49-F238E27FC236}">
                    <a16:creationId xmlns:a16="http://schemas.microsoft.com/office/drawing/2014/main" id="{8BC83D39-297C-F3F0-9A63-BBFE852B2AF3}"/>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8" name="Freeform 104">
                <a:extLst>
                  <a:ext uri="{FF2B5EF4-FFF2-40B4-BE49-F238E27FC236}">
                    <a16:creationId xmlns:a16="http://schemas.microsoft.com/office/drawing/2014/main" id="{39988DEC-EB56-5739-1948-64203CEB38EA}"/>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9" name="Freeform 105">
                <a:extLst>
                  <a:ext uri="{FF2B5EF4-FFF2-40B4-BE49-F238E27FC236}">
                    <a16:creationId xmlns:a16="http://schemas.microsoft.com/office/drawing/2014/main" id="{CBF8DB75-314D-7EB6-E82D-DEEBE61DBAAA}"/>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0" name="Freeform 106">
                <a:extLst>
                  <a:ext uri="{FF2B5EF4-FFF2-40B4-BE49-F238E27FC236}">
                    <a16:creationId xmlns:a16="http://schemas.microsoft.com/office/drawing/2014/main" id="{1ECEC802-0BC9-0F16-F06A-4BE22041A82B}"/>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1" name="Freeform 107">
                <a:extLst>
                  <a:ext uri="{FF2B5EF4-FFF2-40B4-BE49-F238E27FC236}">
                    <a16:creationId xmlns:a16="http://schemas.microsoft.com/office/drawing/2014/main" id="{ABC3AB3A-973C-5EE9-9BA1-05ED0D2FDCD4}"/>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2" name="Freeform 108">
                <a:extLst>
                  <a:ext uri="{FF2B5EF4-FFF2-40B4-BE49-F238E27FC236}">
                    <a16:creationId xmlns:a16="http://schemas.microsoft.com/office/drawing/2014/main" id="{283974C3-AA64-376E-A6F7-9080538185E1}"/>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3" name="Freeform 109">
                <a:extLst>
                  <a:ext uri="{FF2B5EF4-FFF2-40B4-BE49-F238E27FC236}">
                    <a16:creationId xmlns:a16="http://schemas.microsoft.com/office/drawing/2014/main" id="{848E4724-38FD-D176-81C4-173666C43E0C}"/>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4" name="Freeform 110">
                <a:extLst>
                  <a:ext uri="{FF2B5EF4-FFF2-40B4-BE49-F238E27FC236}">
                    <a16:creationId xmlns:a16="http://schemas.microsoft.com/office/drawing/2014/main" id="{04FE69E0-010B-A9AC-2A0F-00EBF42DFD56}"/>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5" name="Freeform 111">
                <a:extLst>
                  <a:ext uri="{FF2B5EF4-FFF2-40B4-BE49-F238E27FC236}">
                    <a16:creationId xmlns:a16="http://schemas.microsoft.com/office/drawing/2014/main" id="{794AB796-167C-F33B-85FF-870D2AB592C3}"/>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6" name="Freeform 112">
                <a:extLst>
                  <a:ext uri="{FF2B5EF4-FFF2-40B4-BE49-F238E27FC236}">
                    <a16:creationId xmlns:a16="http://schemas.microsoft.com/office/drawing/2014/main" id="{C4A22933-5D39-F7BB-ABFD-C2050AF2109B}"/>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7" name="Freeform 113">
                <a:extLst>
                  <a:ext uri="{FF2B5EF4-FFF2-40B4-BE49-F238E27FC236}">
                    <a16:creationId xmlns:a16="http://schemas.microsoft.com/office/drawing/2014/main" id="{CF09C83F-EC1D-C773-5654-5C4891523016}"/>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rgbClr val="00243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418" name="Freeform 114">
                <a:extLst>
                  <a:ext uri="{FF2B5EF4-FFF2-40B4-BE49-F238E27FC236}">
                    <a16:creationId xmlns:a16="http://schemas.microsoft.com/office/drawing/2014/main" id="{B8C33C65-6A2C-5DBB-93C0-C484BD381C69}"/>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9" name="Freeform 115">
                <a:extLst>
                  <a:ext uri="{FF2B5EF4-FFF2-40B4-BE49-F238E27FC236}">
                    <a16:creationId xmlns:a16="http://schemas.microsoft.com/office/drawing/2014/main" id="{DEC5D9D9-61C3-4768-CAC3-CB8BC0A2DB95}"/>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0" name="Freeform 116">
                <a:extLst>
                  <a:ext uri="{FF2B5EF4-FFF2-40B4-BE49-F238E27FC236}">
                    <a16:creationId xmlns:a16="http://schemas.microsoft.com/office/drawing/2014/main" id="{1F9E535B-1DEB-D49D-EC3F-DA27B50FD6EE}"/>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1" name="Freeform 117">
                <a:extLst>
                  <a:ext uri="{FF2B5EF4-FFF2-40B4-BE49-F238E27FC236}">
                    <a16:creationId xmlns:a16="http://schemas.microsoft.com/office/drawing/2014/main" id="{778DD57E-D822-5528-B7E7-827D73BC050D}"/>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2" name="Freeform 118">
                <a:extLst>
                  <a:ext uri="{FF2B5EF4-FFF2-40B4-BE49-F238E27FC236}">
                    <a16:creationId xmlns:a16="http://schemas.microsoft.com/office/drawing/2014/main" id="{EDD31F2A-6148-3C62-BF7D-E43F3F603510}"/>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3" name="Freeform 119">
                <a:extLst>
                  <a:ext uri="{FF2B5EF4-FFF2-40B4-BE49-F238E27FC236}">
                    <a16:creationId xmlns:a16="http://schemas.microsoft.com/office/drawing/2014/main" id="{5161BA6C-2F8B-20B4-D030-55602EBFB474}"/>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4" name="Freeform 120">
                <a:extLst>
                  <a:ext uri="{FF2B5EF4-FFF2-40B4-BE49-F238E27FC236}">
                    <a16:creationId xmlns:a16="http://schemas.microsoft.com/office/drawing/2014/main" id="{A8534F80-7CE9-BD1C-FDEA-518E59281416}"/>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5" name="Freeform 121">
                <a:extLst>
                  <a:ext uri="{FF2B5EF4-FFF2-40B4-BE49-F238E27FC236}">
                    <a16:creationId xmlns:a16="http://schemas.microsoft.com/office/drawing/2014/main" id="{746A6634-A9DA-D83C-3E3C-3EB69B3B5381}"/>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6" name="Freeform 122">
                <a:extLst>
                  <a:ext uri="{FF2B5EF4-FFF2-40B4-BE49-F238E27FC236}">
                    <a16:creationId xmlns:a16="http://schemas.microsoft.com/office/drawing/2014/main" id="{D4ABC840-59DD-B213-CD95-606E5A2DC607}"/>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7" name="Freeform 123">
                <a:extLst>
                  <a:ext uri="{FF2B5EF4-FFF2-40B4-BE49-F238E27FC236}">
                    <a16:creationId xmlns:a16="http://schemas.microsoft.com/office/drawing/2014/main" id="{45816166-9FBD-6EDD-2897-295271411C1B}"/>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8" name="Freeform 124">
                <a:extLst>
                  <a:ext uri="{FF2B5EF4-FFF2-40B4-BE49-F238E27FC236}">
                    <a16:creationId xmlns:a16="http://schemas.microsoft.com/office/drawing/2014/main" id="{5FECD839-15A5-98B5-B453-898ACEA1D1BF}"/>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9" name="Freeform 125">
                <a:extLst>
                  <a:ext uri="{FF2B5EF4-FFF2-40B4-BE49-F238E27FC236}">
                    <a16:creationId xmlns:a16="http://schemas.microsoft.com/office/drawing/2014/main" id="{4A162F52-5A3C-4D2B-3DE3-3CDD01DF96EC}"/>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0" name="Freeform 126">
                <a:extLst>
                  <a:ext uri="{FF2B5EF4-FFF2-40B4-BE49-F238E27FC236}">
                    <a16:creationId xmlns:a16="http://schemas.microsoft.com/office/drawing/2014/main" id="{9BE44035-ED5C-CBD8-607B-F1014DF01131}"/>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1" name="Freeform 127">
                <a:extLst>
                  <a:ext uri="{FF2B5EF4-FFF2-40B4-BE49-F238E27FC236}">
                    <a16:creationId xmlns:a16="http://schemas.microsoft.com/office/drawing/2014/main" id="{7B152965-DFA2-040C-B4B6-49E27B7AB297}"/>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2" name="Freeform 128">
                <a:extLst>
                  <a:ext uri="{FF2B5EF4-FFF2-40B4-BE49-F238E27FC236}">
                    <a16:creationId xmlns:a16="http://schemas.microsoft.com/office/drawing/2014/main" id="{678034F6-DC51-7564-624C-76587ED4CB0B}"/>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3" name="Freeform 129">
                <a:extLst>
                  <a:ext uri="{FF2B5EF4-FFF2-40B4-BE49-F238E27FC236}">
                    <a16:creationId xmlns:a16="http://schemas.microsoft.com/office/drawing/2014/main" id="{99AC956D-E107-78EC-228A-DF5DE866632F}"/>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4" name="Freeform 130">
                <a:extLst>
                  <a:ext uri="{FF2B5EF4-FFF2-40B4-BE49-F238E27FC236}">
                    <a16:creationId xmlns:a16="http://schemas.microsoft.com/office/drawing/2014/main" id="{E46675DD-2E8E-54E9-C84C-F7BB402FF026}"/>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5" name="Freeform 131">
                <a:extLst>
                  <a:ext uri="{FF2B5EF4-FFF2-40B4-BE49-F238E27FC236}">
                    <a16:creationId xmlns:a16="http://schemas.microsoft.com/office/drawing/2014/main" id="{CC9DB402-DD4C-908E-5679-56AA295353FF}"/>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rgbClr val="00243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436" name="Freeform 132">
                <a:extLst>
                  <a:ext uri="{FF2B5EF4-FFF2-40B4-BE49-F238E27FC236}">
                    <a16:creationId xmlns:a16="http://schemas.microsoft.com/office/drawing/2014/main" id="{3159319F-7C2C-5DEA-BCB0-71EFF3FAFB8D}"/>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7" name="Freeform 133">
                <a:extLst>
                  <a:ext uri="{FF2B5EF4-FFF2-40B4-BE49-F238E27FC236}">
                    <a16:creationId xmlns:a16="http://schemas.microsoft.com/office/drawing/2014/main" id="{7FF1C193-A00F-DD40-61B6-623EBC3470C7}"/>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8" name="Freeform 134">
                <a:extLst>
                  <a:ext uri="{FF2B5EF4-FFF2-40B4-BE49-F238E27FC236}">
                    <a16:creationId xmlns:a16="http://schemas.microsoft.com/office/drawing/2014/main" id="{13ECFF99-3DDA-1CBA-EBC8-865B9E751EF6}"/>
                  </a:ext>
                </a:extLst>
              </p:cNvPr>
              <p:cNvSpPr>
                <a:spLocks/>
              </p:cNvSpPr>
              <p:nvPr userDrawn="1"/>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9" name="Freeform 135">
                <a:extLst>
                  <a:ext uri="{FF2B5EF4-FFF2-40B4-BE49-F238E27FC236}">
                    <a16:creationId xmlns:a16="http://schemas.microsoft.com/office/drawing/2014/main" id="{1A662EE5-C39E-BB94-7075-24134E83D90B}"/>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0" name="Freeform 136">
                <a:extLst>
                  <a:ext uri="{FF2B5EF4-FFF2-40B4-BE49-F238E27FC236}">
                    <a16:creationId xmlns:a16="http://schemas.microsoft.com/office/drawing/2014/main" id="{D44E2687-5CDB-502F-E4DD-41208D623611}"/>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1" name="Freeform 137">
                <a:extLst>
                  <a:ext uri="{FF2B5EF4-FFF2-40B4-BE49-F238E27FC236}">
                    <a16:creationId xmlns:a16="http://schemas.microsoft.com/office/drawing/2014/main" id="{4B1D9400-DE74-5061-AF46-9897C179B26B}"/>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2" name="Freeform 138">
                <a:extLst>
                  <a:ext uri="{FF2B5EF4-FFF2-40B4-BE49-F238E27FC236}">
                    <a16:creationId xmlns:a16="http://schemas.microsoft.com/office/drawing/2014/main" id="{C4896617-6F48-1CA4-98D7-834B9FFDF692}"/>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3" name="Freeform 139">
                <a:extLst>
                  <a:ext uri="{FF2B5EF4-FFF2-40B4-BE49-F238E27FC236}">
                    <a16:creationId xmlns:a16="http://schemas.microsoft.com/office/drawing/2014/main" id="{22D9BF38-8A7B-CBA0-AE0F-14FF32C14699}"/>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4" name="Freeform 140">
                <a:extLst>
                  <a:ext uri="{FF2B5EF4-FFF2-40B4-BE49-F238E27FC236}">
                    <a16:creationId xmlns:a16="http://schemas.microsoft.com/office/drawing/2014/main" id="{490107E4-DE90-3393-72B3-2D4EC9EB00D6}"/>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5" name="Freeform 141">
                <a:extLst>
                  <a:ext uri="{FF2B5EF4-FFF2-40B4-BE49-F238E27FC236}">
                    <a16:creationId xmlns:a16="http://schemas.microsoft.com/office/drawing/2014/main" id="{E2BA302D-BF54-BEC9-01B8-7E9DE2E81E02}"/>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6" name="Freeform 142">
                <a:extLst>
                  <a:ext uri="{FF2B5EF4-FFF2-40B4-BE49-F238E27FC236}">
                    <a16:creationId xmlns:a16="http://schemas.microsoft.com/office/drawing/2014/main" id="{052FD009-B71B-C2B0-FD79-79031EB0F818}"/>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7" name="Freeform 143">
                <a:extLst>
                  <a:ext uri="{FF2B5EF4-FFF2-40B4-BE49-F238E27FC236}">
                    <a16:creationId xmlns:a16="http://schemas.microsoft.com/office/drawing/2014/main" id="{3AB3F582-3877-B48D-71D1-68C2CA158DAF}"/>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8" name="Freeform 144">
                <a:extLst>
                  <a:ext uri="{FF2B5EF4-FFF2-40B4-BE49-F238E27FC236}">
                    <a16:creationId xmlns:a16="http://schemas.microsoft.com/office/drawing/2014/main" id="{A1189ADD-31F9-256B-B8B2-7A6505903D3F}"/>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9" name="Freeform 145">
                <a:extLst>
                  <a:ext uri="{FF2B5EF4-FFF2-40B4-BE49-F238E27FC236}">
                    <a16:creationId xmlns:a16="http://schemas.microsoft.com/office/drawing/2014/main" id="{1E37906C-744B-9D2B-037B-18501E4E7F3C}"/>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0" name="Freeform 146">
                <a:extLst>
                  <a:ext uri="{FF2B5EF4-FFF2-40B4-BE49-F238E27FC236}">
                    <a16:creationId xmlns:a16="http://schemas.microsoft.com/office/drawing/2014/main" id="{2E357017-76DB-B0F2-5D88-49A508952CBC}"/>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1" name="Freeform 147">
                <a:extLst>
                  <a:ext uri="{FF2B5EF4-FFF2-40B4-BE49-F238E27FC236}">
                    <a16:creationId xmlns:a16="http://schemas.microsoft.com/office/drawing/2014/main" id="{D7D3EF12-8C81-CB4F-BF5F-13C4A2CE9028}"/>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2" name="Freeform 148">
                <a:extLst>
                  <a:ext uri="{FF2B5EF4-FFF2-40B4-BE49-F238E27FC236}">
                    <a16:creationId xmlns:a16="http://schemas.microsoft.com/office/drawing/2014/main" id="{448E5B8A-9817-23F9-350C-462F43A03096}"/>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3" name="Freeform 149">
                <a:extLst>
                  <a:ext uri="{FF2B5EF4-FFF2-40B4-BE49-F238E27FC236}">
                    <a16:creationId xmlns:a16="http://schemas.microsoft.com/office/drawing/2014/main" id="{65F6335E-4FDA-947F-C747-22F1B3FE1A52}"/>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4" name="Freeform 150">
                <a:extLst>
                  <a:ext uri="{FF2B5EF4-FFF2-40B4-BE49-F238E27FC236}">
                    <a16:creationId xmlns:a16="http://schemas.microsoft.com/office/drawing/2014/main" id="{128C5D1F-98DB-66E0-7E0F-31D160BBDA57}"/>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5" name="Freeform 151">
                <a:extLst>
                  <a:ext uri="{FF2B5EF4-FFF2-40B4-BE49-F238E27FC236}">
                    <a16:creationId xmlns:a16="http://schemas.microsoft.com/office/drawing/2014/main" id="{8B3DDC2A-A10B-F91C-738F-02A1728D0FA6}"/>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6" name="Freeform 152">
                <a:extLst>
                  <a:ext uri="{FF2B5EF4-FFF2-40B4-BE49-F238E27FC236}">
                    <a16:creationId xmlns:a16="http://schemas.microsoft.com/office/drawing/2014/main" id="{857E9AA8-DD0A-A86A-2100-BF73CBD1B3D7}"/>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7" name="Freeform 153">
                <a:extLst>
                  <a:ext uri="{FF2B5EF4-FFF2-40B4-BE49-F238E27FC236}">
                    <a16:creationId xmlns:a16="http://schemas.microsoft.com/office/drawing/2014/main" id="{5D9E3C05-C11C-EA06-5A1E-9D1E4443C1AE}"/>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8" name="Freeform 154">
                <a:extLst>
                  <a:ext uri="{FF2B5EF4-FFF2-40B4-BE49-F238E27FC236}">
                    <a16:creationId xmlns:a16="http://schemas.microsoft.com/office/drawing/2014/main" id="{787358DC-B5EE-9AE2-02D3-4626B2865F5B}"/>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9" name="Freeform 155">
                <a:extLst>
                  <a:ext uri="{FF2B5EF4-FFF2-40B4-BE49-F238E27FC236}">
                    <a16:creationId xmlns:a16="http://schemas.microsoft.com/office/drawing/2014/main" id="{4A1894D0-ADB7-6F4E-F3A6-93B1E0704E00}"/>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0" name="Freeform 156">
                <a:extLst>
                  <a:ext uri="{FF2B5EF4-FFF2-40B4-BE49-F238E27FC236}">
                    <a16:creationId xmlns:a16="http://schemas.microsoft.com/office/drawing/2014/main" id="{FF58D049-5D51-F9D4-B928-217EB719E8ED}"/>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1" name="Freeform 157">
                <a:extLst>
                  <a:ext uri="{FF2B5EF4-FFF2-40B4-BE49-F238E27FC236}">
                    <a16:creationId xmlns:a16="http://schemas.microsoft.com/office/drawing/2014/main" id="{D3E4ED8E-35A9-F636-8732-723B7D234E35}"/>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2" name="Freeform 158">
                <a:extLst>
                  <a:ext uri="{FF2B5EF4-FFF2-40B4-BE49-F238E27FC236}">
                    <a16:creationId xmlns:a16="http://schemas.microsoft.com/office/drawing/2014/main" id="{5B569B22-CF3F-6058-DA20-972803A8ADFA}"/>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3" name="Freeform 159">
                <a:extLst>
                  <a:ext uri="{FF2B5EF4-FFF2-40B4-BE49-F238E27FC236}">
                    <a16:creationId xmlns:a16="http://schemas.microsoft.com/office/drawing/2014/main" id="{3A9C27DC-5D63-EC6E-7C02-DCA5CC66F9C5}"/>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4" name="Freeform 160">
                <a:extLst>
                  <a:ext uri="{FF2B5EF4-FFF2-40B4-BE49-F238E27FC236}">
                    <a16:creationId xmlns:a16="http://schemas.microsoft.com/office/drawing/2014/main" id="{1953C410-14DE-7103-B9B8-3FECAAD2C059}"/>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5" name="Freeform 161">
                <a:extLst>
                  <a:ext uri="{FF2B5EF4-FFF2-40B4-BE49-F238E27FC236}">
                    <a16:creationId xmlns:a16="http://schemas.microsoft.com/office/drawing/2014/main" id="{C3AAC732-5BCB-6ED4-BCE7-16A0A992BE61}"/>
                  </a:ext>
                </a:extLst>
              </p:cNvPr>
              <p:cNvSpPr>
                <a:spLocks/>
              </p:cNvSpPr>
              <p:nvPr userDrawn="1"/>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6" name="Freeform 162">
                <a:extLst>
                  <a:ext uri="{FF2B5EF4-FFF2-40B4-BE49-F238E27FC236}">
                    <a16:creationId xmlns:a16="http://schemas.microsoft.com/office/drawing/2014/main" id="{491ADC57-2360-CCF2-9482-519FACFB2000}"/>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7" name="Freeform 163">
                <a:extLst>
                  <a:ext uri="{FF2B5EF4-FFF2-40B4-BE49-F238E27FC236}">
                    <a16:creationId xmlns:a16="http://schemas.microsoft.com/office/drawing/2014/main" id="{03C479E9-F04C-3320-6ED2-BF1C4BAECE83}"/>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8" name="Freeform 164">
                <a:extLst>
                  <a:ext uri="{FF2B5EF4-FFF2-40B4-BE49-F238E27FC236}">
                    <a16:creationId xmlns:a16="http://schemas.microsoft.com/office/drawing/2014/main" id="{6068E57D-9420-DFCC-13A5-A844B87B0A56}"/>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9" name="Freeform 165">
                <a:extLst>
                  <a:ext uri="{FF2B5EF4-FFF2-40B4-BE49-F238E27FC236}">
                    <a16:creationId xmlns:a16="http://schemas.microsoft.com/office/drawing/2014/main" id="{177E80A4-9E9A-93B6-A1B1-608164889BF3}"/>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0" name="Freeform 166">
                <a:extLst>
                  <a:ext uri="{FF2B5EF4-FFF2-40B4-BE49-F238E27FC236}">
                    <a16:creationId xmlns:a16="http://schemas.microsoft.com/office/drawing/2014/main" id="{04E96A13-17F0-91FE-E12E-5938094784B3}"/>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1" name="Freeform 167">
                <a:extLst>
                  <a:ext uri="{FF2B5EF4-FFF2-40B4-BE49-F238E27FC236}">
                    <a16:creationId xmlns:a16="http://schemas.microsoft.com/office/drawing/2014/main" id="{0FFFEEE8-9154-0CCD-45A5-1BB4B4FCA7FC}"/>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2" name="Freeform 168">
                <a:extLst>
                  <a:ext uri="{FF2B5EF4-FFF2-40B4-BE49-F238E27FC236}">
                    <a16:creationId xmlns:a16="http://schemas.microsoft.com/office/drawing/2014/main" id="{3480E3AD-5B90-5E1A-0D45-357EEAC2FCCF}"/>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3" name="Freeform 169">
                <a:extLst>
                  <a:ext uri="{FF2B5EF4-FFF2-40B4-BE49-F238E27FC236}">
                    <a16:creationId xmlns:a16="http://schemas.microsoft.com/office/drawing/2014/main" id="{CC314CBB-F1AD-25E0-A155-DF1F276B23D4}"/>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4" name="Freeform 170">
                <a:extLst>
                  <a:ext uri="{FF2B5EF4-FFF2-40B4-BE49-F238E27FC236}">
                    <a16:creationId xmlns:a16="http://schemas.microsoft.com/office/drawing/2014/main" id="{7A8ABD79-0670-D196-9D8B-601BA1092E95}"/>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5" name="Freeform 171">
                <a:extLst>
                  <a:ext uri="{FF2B5EF4-FFF2-40B4-BE49-F238E27FC236}">
                    <a16:creationId xmlns:a16="http://schemas.microsoft.com/office/drawing/2014/main" id="{D086ECD5-73D9-3F30-7516-68419294DC83}"/>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6" name="Freeform 172">
                <a:extLst>
                  <a:ext uri="{FF2B5EF4-FFF2-40B4-BE49-F238E27FC236}">
                    <a16:creationId xmlns:a16="http://schemas.microsoft.com/office/drawing/2014/main" id="{87B444A0-F49A-7654-9A74-E214255674A9}"/>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7" name="Freeform 173">
                <a:extLst>
                  <a:ext uri="{FF2B5EF4-FFF2-40B4-BE49-F238E27FC236}">
                    <a16:creationId xmlns:a16="http://schemas.microsoft.com/office/drawing/2014/main" id="{7715FFC1-CA3A-00F6-4E0C-4480D419CCC4}"/>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8" name="Freeform 174">
                <a:extLst>
                  <a:ext uri="{FF2B5EF4-FFF2-40B4-BE49-F238E27FC236}">
                    <a16:creationId xmlns:a16="http://schemas.microsoft.com/office/drawing/2014/main" id="{CA8E821A-8A11-2D6F-4CEF-64961B737FBE}"/>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9" name="Freeform 175">
                <a:extLst>
                  <a:ext uri="{FF2B5EF4-FFF2-40B4-BE49-F238E27FC236}">
                    <a16:creationId xmlns:a16="http://schemas.microsoft.com/office/drawing/2014/main" id="{A490CFA6-6128-1E92-8079-64DA390CCBCD}"/>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0" name="Freeform 176">
                <a:extLst>
                  <a:ext uri="{FF2B5EF4-FFF2-40B4-BE49-F238E27FC236}">
                    <a16:creationId xmlns:a16="http://schemas.microsoft.com/office/drawing/2014/main" id="{D3A4E948-F6F4-0F96-F3E3-78EB8165A39B}"/>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1" name="Freeform 177">
                <a:extLst>
                  <a:ext uri="{FF2B5EF4-FFF2-40B4-BE49-F238E27FC236}">
                    <a16:creationId xmlns:a16="http://schemas.microsoft.com/office/drawing/2014/main" id="{0C07E420-D809-F5B6-8902-1D2E7222218E}"/>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2" name="Freeform 178">
                <a:extLst>
                  <a:ext uri="{FF2B5EF4-FFF2-40B4-BE49-F238E27FC236}">
                    <a16:creationId xmlns:a16="http://schemas.microsoft.com/office/drawing/2014/main" id="{AA647D0A-C610-2DD9-D29A-AB0FDAD59A06}"/>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3" name="Freeform 179">
                <a:extLst>
                  <a:ext uri="{FF2B5EF4-FFF2-40B4-BE49-F238E27FC236}">
                    <a16:creationId xmlns:a16="http://schemas.microsoft.com/office/drawing/2014/main" id="{61D8CBBB-ABFE-2AD0-54B3-BEF65F62C95C}"/>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4" name="Freeform 180">
                <a:extLst>
                  <a:ext uri="{FF2B5EF4-FFF2-40B4-BE49-F238E27FC236}">
                    <a16:creationId xmlns:a16="http://schemas.microsoft.com/office/drawing/2014/main" id="{9D7641AA-C0A8-DE3C-3DC3-8F4EA2800B4B}"/>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5" name="Freeform 181">
                <a:extLst>
                  <a:ext uri="{FF2B5EF4-FFF2-40B4-BE49-F238E27FC236}">
                    <a16:creationId xmlns:a16="http://schemas.microsoft.com/office/drawing/2014/main" id="{08413BF0-E73B-321D-1237-28654A9B83D6}"/>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6" name="Freeform 182">
                <a:extLst>
                  <a:ext uri="{FF2B5EF4-FFF2-40B4-BE49-F238E27FC236}">
                    <a16:creationId xmlns:a16="http://schemas.microsoft.com/office/drawing/2014/main" id="{5AE35EDE-1296-B095-62D2-C6A0EA6E5F46}"/>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7" name="Freeform 183">
                <a:extLst>
                  <a:ext uri="{FF2B5EF4-FFF2-40B4-BE49-F238E27FC236}">
                    <a16:creationId xmlns:a16="http://schemas.microsoft.com/office/drawing/2014/main" id="{3A366DE3-77D8-AAEA-D375-F964474ED61A}"/>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8" name="Freeform 184">
                <a:extLst>
                  <a:ext uri="{FF2B5EF4-FFF2-40B4-BE49-F238E27FC236}">
                    <a16:creationId xmlns:a16="http://schemas.microsoft.com/office/drawing/2014/main" id="{6234DFCB-4487-6D2B-0815-E966FAE92D01}"/>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9" name="Freeform 185">
                <a:extLst>
                  <a:ext uri="{FF2B5EF4-FFF2-40B4-BE49-F238E27FC236}">
                    <a16:creationId xmlns:a16="http://schemas.microsoft.com/office/drawing/2014/main" id="{650DCCC5-98E2-601D-C7C1-BC567A11A38C}"/>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0" name="Freeform 186">
                <a:extLst>
                  <a:ext uri="{FF2B5EF4-FFF2-40B4-BE49-F238E27FC236}">
                    <a16:creationId xmlns:a16="http://schemas.microsoft.com/office/drawing/2014/main" id="{5F1BCCB6-8412-26D8-E5B3-4E77EA6BD398}"/>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1" name="Freeform 187">
                <a:extLst>
                  <a:ext uri="{FF2B5EF4-FFF2-40B4-BE49-F238E27FC236}">
                    <a16:creationId xmlns:a16="http://schemas.microsoft.com/office/drawing/2014/main" id="{76B0383C-1C4B-712E-5D1C-38BFD17BB1A4}"/>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2" name="Freeform 188">
                <a:extLst>
                  <a:ext uri="{FF2B5EF4-FFF2-40B4-BE49-F238E27FC236}">
                    <a16:creationId xmlns:a16="http://schemas.microsoft.com/office/drawing/2014/main" id="{D7A97A49-245C-F3D3-8BED-170ACD944D59}"/>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3" name="Freeform 189">
                <a:extLst>
                  <a:ext uri="{FF2B5EF4-FFF2-40B4-BE49-F238E27FC236}">
                    <a16:creationId xmlns:a16="http://schemas.microsoft.com/office/drawing/2014/main" id="{754B1B9C-A03C-0989-1A95-93F1FF842E29}"/>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4" name="Freeform 190">
                <a:extLst>
                  <a:ext uri="{FF2B5EF4-FFF2-40B4-BE49-F238E27FC236}">
                    <a16:creationId xmlns:a16="http://schemas.microsoft.com/office/drawing/2014/main" id="{FADB6876-C7E2-1971-173B-7A889354C62E}"/>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5" name="Freeform 191">
                <a:extLst>
                  <a:ext uri="{FF2B5EF4-FFF2-40B4-BE49-F238E27FC236}">
                    <a16:creationId xmlns:a16="http://schemas.microsoft.com/office/drawing/2014/main" id="{1920354C-0BD5-524C-DA31-BA67270CEAA1}"/>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6" name="Freeform 192">
                <a:extLst>
                  <a:ext uri="{FF2B5EF4-FFF2-40B4-BE49-F238E27FC236}">
                    <a16:creationId xmlns:a16="http://schemas.microsoft.com/office/drawing/2014/main" id="{F4A69CA1-6494-CB5A-C3EB-FE4EED4C5ADE}"/>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7" name="Freeform 193">
                <a:extLst>
                  <a:ext uri="{FF2B5EF4-FFF2-40B4-BE49-F238E27FC236}">
                    <a16:creationId xmlns:a16="http://schemas.microsoft.com/office/drawing/2014/main" id="{C00F8CD3-CD3F-FBA9-83AC-845589372FA7}"/>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8" name="Freeform 194">
                <a:extLst>
                  <a:ext uri="{FF2B5EF4-FFF2-40B4-BE49-F238E27FC236}">
                    <a16:creationId xmlns:a16="http://schemas.microsoft.com/office/drawing/2014/main" id="{956420FB-9E86-CDE1-333B-D4252B14F07B}"/>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9" name="Freeform 195">
                <a:extLst>
                  <a:ext uri="{FF2B5EF4-FFF2-40B4-BE49-F238E27FC236}">
                    <a16:creationId xmlns:a16="http://schemas.microsoft.com/office/drawing/2014/main" id="{4AA149E1-F201-BBE9-2753-5529BE63DE0D}"/>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0" name="Freeform 196">
                <a:extLst>
                  <a:ext uri="{FF2B5EF4-FFF2-40B4-BE49-F238E27FC236}">
                    <a16:creationId xmlns:a16="http://schemas.microsoft.com/office/drawing/2014/main" id="{AEC2CB4A-8AF0-DDE0-5D79-50E3E2E51775}"/>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1" name="Freeform 197">
                <a:extLst>
                  <a:ext uri="{FF2B5EF4-FFF2-40B4-BE49-F238E27FC236}">
                    <a16:creationId xmlns:a16="http://schemas.microsoft.com/office/drawing/2014/main" id="{14E64669-5A0D-4D5B-64BE-1330E006DA6D}"/>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2" name="Freeform 198">
                <a:extLst>
                  <a:ext uri="{FF2B5EF4-FFF2-40B4-BE49-F238E27FC236}">
                    <a16:creationId xmlns:a16="http://schemas.microsoft.com/office/drawing/2014/main" id="{C5AF92B0-3335-528E-2940-9F76E8068DB1}"/>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3" name="Freeform 199">
                <a:extLst>
                  <a:ext uri="{FF2B5EF4-FFF2-40B4-BE49-F238E27FC236}">
                    <a16:creationId xmlns:a16="http://schemas.microsoft.com/office/drawing/2014/main" id="{0484C0BB-B713-69F4-D86E-E054212311C2}"/>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4" name="Freeform 200">
                <a:extLst>
                  <a:ext uri="{FF2B5EF4-FFF2-40B4-BE49-F238E27FC236}">
                    <a16:creationId xmlns:a16="http://schemas.microsoft.com/office/drawing/2014/main" id="{BE5B6FB4-F153-C40F-DD1E-6F2FF50ADFBE}"/>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5" name="Freeform 201">
                <a:extLst>
                  <a:ext uri="{FF2B5EF4-FFF2-40B4-BE49-F238E27FC236}">
                    <a16:creationId xmlns:a16="http://schemas.microsoft.com/office/drawing/2014/main" id="{05042825-1EB1-73BA-1149-5E097C8C5C0D}"/>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6" name="Freeform 202">
                <a:extLst>
                  <a:ext uri="{FF2B5EF4-FFF2-40B4-BE49-F238E27FC236}">
                    <a16:creationId xmlns:a16="http://schemas.microsoft.com/office/drawing/2014/main" id="{0FB45A9F-CA4F-3CA2-4949-DC06D36A1458}"/>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7" name="Freeform 203">
                <a:extLst>
                  <a:ext uri="{FF2B5EF4-FFF2-40B4-BE49-F238E27FC236}">
                    <a16:creationId xmlns:a16="http://schemas.microsoft.com/office/drawing/2014/main" id="{0B66C3BF-15FA-A909-FFB7-BD3303A97901}"/>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8" name="Freeform 204">
                <a:extLst>
                  <a:ext uri="{FF2B5EF4-FFF2-40B4-BE49-F238E27FC236}">
                    <a16:creationId xmlns:a16="http://schemas.microsoft.com/office/drawing/2014/main" id="{2A260C2D-6C48-F935-59BE-6C4773008E2D}"/>
                  </a:ext>
                </a:extLst>
              </p:cNvPr>
              <p:cNvSpPr>
                <a:spLocks noEditPoints="1"/>
              </p:cNvSpPr>
              <p:nvPr userDrawn="1"/>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grpSp>
        <p:sp>
          <p:nvSpPr>
            <p:cNvPr id="30" name="Freeform 206">
              <a:extLst>
                <a:ext uri="{FF2B5EF4-FFF2-40B4-BE49-F238E27FC236}">
                  <a16:creationId xmlns:a16="http://schemas.microsoft.com/office/drawing/2014/main" id="{C6A01A94-BB04-220D-13F8-76231527C4C5}"/>
                </a:ext>
              </a:extLst>
            </p:cNvPr>
            <p:cNvSpPr>
              <a:spLocks noEditPoints="1"/>
            </p:cNvSpPr>
            <p:nvPr userDrawn="1"/>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 name="Freeform 207">
              <a:extLst>
                <a:ext uri="{FF2B5EF4-FFF2-40B4-BE49-F238E27FC236}">
                  <a16:creationId xmlns:a16="http://schemas.microsoft.com/office/drawing/2014/main" id="{0C6BCE0D-8FFE-810D-6AF3-E8AE9C88A5E2}"/>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5" name="Freeform 208">
              <a:extLst>
                <a:ext uri="{FF2B5EF4-FFF2-40B4-BE49-F238E27FC236}">
                  <a16:creationId xmlns:a16="http://schemas.microsoft.com/office/drawing/2014/main" id="{5FBA17F8-CD41-6D0B-AFD5-D2107AFC9213}"/>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6" name="Freeform 209">
              <a:extLst>
                <a:ext uri="{FF2B5EF4-FFF2-40B4-BE49-F238E27FC236}">
                  <a16:creationId xmlns:a16="http://schemas.microsoft.com/office/drawing/2014/main" id="{01D5BC67-ED57-6A4E-4BAE-B146AD7A9971}"/>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7" name="Freeform 210">
              <a:extLst>
                <a:ext uri="{FF2B5EF4-FFF2-40B4-BE49-F238E27FC236}">
                  <a16:creationId xmlns:a16="http://schemas.microsoft.com/office/drawing/2014/main" id="{57D0E310-C3C4-B0B8-09A8-54E14CF46489}"/>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rgbClr val="00243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158" name="Freeform 211">
              <a:extLst>
                <a:ext uri="{FF2B5EF4-FFF2-40B4-BE49-F238E27FC236}">
                  <a16:creationId xmlns:a16="http://schemas.microsoft.com/office/drawing/2014/main" id="{143DE0B5-FCDA-C48E-69B6-DDB73B10A2F6}"/>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9" name="Freeform 212">
              <a:extLst>
                <a:ext uri="{FF2B5EF4-FFF2-40B4-BE49-F238E27FC236}">
                  <a16:creationId xmlns:a16="http://schemas.microsoft.com/office/drawing/2014/main" id="{B863D962-2AAB-5AA3-7264-901F674E9E11}"/>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0" name="Freeform 213">
              <a:extLst>
                <a:ext uri="{FF2B5EF4-FFF2-40B4-BE49-F238E27FC236}">
                  <a16:creationId xmlns:a16="http://schemas.microsoft.com/office/drawing/2014/main" id="{48808FDA-E773-219B-5A12-DB3F34D65016}"/>
                </a:ext>
              </a:extLst>
            </p:cNvPr>
            <p:cNvSpPr>
              <a:spLocks/>
            </p:cNvSpPr>
            <p:nvPr userDrawn="1"/>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1" name="Freeform 214">
              <a:extLst>
                <a:ext uri="{FF2B5EF4-FFF2-40B4-BE49-F238E27FC236}">
                  <a16:creationId xmlns:a16="http://schemas.microsoft.com/office/drawing/2014/main" id="{8ABC3C43-EEF0-E8FE-5BE1-45D7A7894E82}"/>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2" name="Freeform 215">
              <a:extLst>
                <a:ext uri="{FF2B5EF4-FFF2-40B4-BE49-F238E27FC236}">
                  <a16:creationId xmlns:a16="http://schemas.microsoft.com/office/drawing/2014/main" id="{E60342DB-9867-3EE7-A8FB-DD7299D50D5D}"/>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3" name="Freeform 216">
              <a:extLst>
                <a:ext uri="{FF2B5EF4-FFF2-40B4-BE49-F238E27FC236}">
                  <a16:creationId xmlns:a16="http://schemas.microsoft.com/office/drawing/2014/main" id="{1FA32B98-F7B6-EBEA-472E-3599C2C68374}"/>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4" name="Freeform 217">
              <a:extLst>
                <a:ext uri="{FF2B5EF4-FFF2-40B4-BE49-F238E27FC236}">
                  <a16:creationId xmlns:a16="http://schemas.microsoft.com/office/drawing/2014/main" id="{52B3DE1B-18F1-8603-BFA9-CD84F5A5BEF4}"/>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5" name="Freeform 218">
              <a:extLst>
                <a:ext uri="{FF2B5EF4-FFF2-40B4-BE49-F238E27FC236}">
                  <a16:creationId xmlns:a16="http://schemas.microsoft.com/office/drawing/2014/main" id="{3E5C6291-E520-B420-79C1-126349C69BDF}"/>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6" name="Freeform 219">
              <a:extLst>
                <a:ext uri="{FF2B5EF4-FFF2-40B4-BE49-F238E27FC236}">
                  <a16:creationId xmlns:a16="http://schemas.microsoft.com/office/drawing/2014/main" id="{867E326D-54EE-5F11-D14B-C0DFF01F7A45}"/>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7" name="Freeform 220">
              <a:extLst>
                <a:ext uri="{FF2B5EF4-FFF2-40B4-BE49-F238E27FC236}">
                  <a16:creationId xmlns:a16="http://schemas.microsoft.com/office/drawing/2014/main" id="{83067373-DA88-50C8-229F-25273CDBE22A}"/>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8" name="Freeform 221">
              <a:extLst>
                <a:ext uri="{FF2B5EF4-FFF2-40B4-BE49-F238E27FC236}">
                  <a16:creationId xmlns:a16="http://schemas.microsoft.com/office/drawing/2014/main" id="{B89EBF7E-1A11-AF87-2A97-CCA4DF0C2436}"/>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9" name="Freeform 222">
              <a:extLst>
                <a:ext uri="{FF2B5EF4-FFF2-40B4-BE49-F238E27FC236}">
                  <a16:creationId xmlns:a16="http://schemas.microsoft.com/office/drawing/2014/main" id="{548C743E-E24F-A2CB-FC5B-836AD56D1D7F}"/>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0" name="Freeform 223">
              <a:extLst>
                <a:ext uri="{FF2B5EF4-FFF2-40B4-BE49-F238E27FC236}">
                  <a16:creationId xmlns:a16="http://schemas.microsoft.com/office/drawing/2014/main" id="{071EC530-AEDF-71F9-12AA-577B8F8F85C2}"/>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1" name="Freeform 224">
              <a:extLst>
                <a:ext uri="{FF2B5EF4-FFF2-40B4-BE49-F238E27FC236}">
                  <a16:creationId xmlns:a16="http://schemas.microsoft.com/office/drawing/2014/main" id="{D82C4B5A-066E-203E-D852-10D0227A0926}"/>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2" name="Freeform 225">
              <a:extLst>
                <a:ext uri="{FF2B5EF4-FFF2-40B4-BE49-F238E27FC236}">
                  <a16:creationId xmlns:a16="http://schemas.microsoft.com/office/drawing/2014/main" id="{3A4B0D49-32E5-E357-262A-4052CCEE8E74}"/>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3" name="Freeform 226">
              <a:extLst>
                <a:ext uri="{FF2B5EF4-FFF2-40B4-BE49-F238E27FC236}">
                  <a16:creationId xmlns:a16="http://schemas.microsoft.com/office/drawing/2014/main" id="{4C4A13F4-034A-7841-B6E7-DE683694BD40}"/>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4" name="Freeform 227">
              <a:extLst>
                <a:ext uri="{FF2B5EF4-FFF2-40B4-BE49-F238E27FC236}">
                  <a16:creationId xmlns:a16="http://schemas.microsoft.com/office/drawing/2014/main" id="{BDD5B429-C080-438C-4218-954736B7B697}"/>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5" name="Freeform 228">
              <a:extLst>
                <a:ext uri="{FF2B5EF4-FFF2-40B4-BE49-F238E27FC236}">
                  <a16:creationId xmlns:a16="http://schemas.microsoft.com/office/drawing/2014/main" id="{61629658-5259-AB1D-FB20-EA9FAD24ADE5}"/>
                </a:ext>
              </a:extLst>
            </p:cNvPr>
            <p:cNvSpPr>
              <a:spLocks noEditPoints="1"/>
            </p:cNvSpPr>
            <p:nvPr userDrawn="1"/>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6" name="Freeform 229">
              <a:extLst>
                <a:ext uri="{FF2B5EF4-FFF2-40B4-BE49-F238E27FC236}">
                  <a16:creationId xmlns:a16="http://schemas.microsoft.com/office/drawing/2014/main" id="{8C01DA6E-F4FE-111D-084D-F49CE5765F52}"/>
                </a:ext>
              </a:extLst>
            </p:cNvPr>
            <p:cNvSpPr>
              <a:spLocks noEditPoints="1"/>
            </p:cNvSpPr>
            <p:nvPr userDrawn="1"/>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7" name="Freeform 230">
              <a:extLst>
                <a:ext uri="{FF2B5EF4-FFF2-40B4-BE49-F238E27FC236}">
                  <a16:creationId xmlns:a16="http://schemas.microsoft.com/office/drawing/2014/main" id="{65782AA2-FB4E-EEA2-1D52-21ADDDCBE359}"/>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8" name="Freeform 231">
              <a:extLst>
                <a:ext uri="{FF2B5EF4-FFF2-40B4-BE49-F238E27FC236}">
                  <a16:creationId xmlns:a16="http://schemas.microsoft.com/office/drawing/2014/main" id="{69FC6B78-F025-FE85-D8A3-17D1146EED48}"/>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9" name="Freeform 232">
              <a:extLst>
                <a:ext uri="{FF2B5EF4-FFF2-40B4-BE49-F238E27FC236}">
                  <a16:creationId xmlns:a16="http://schemas.microsoft.com/office/drawing/2014/main" id="{B3BF51CE-D511-B56C-11AB-66D2EC22A6EE}"/>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0" name="Freeform 233">
              <a:extLst>
                <a:ext uri="{FF2B5EF4-FFF2-40B4-BE49-F238E27FC236}">
                  <a16:creationId xmlns:a16="http://schemas.microsoft.com/office/drawing/2014/main" id="{720342B1-ED16-68A4-9ECE-17D6886C149A}"/>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1" name="Freeform 234">
              <a:extLst>
                <a:ext uri="{FF2B5EF4-FFF2-40B4-BE49-F238E27FC236}">
                  <a16:creationId xmlns:a16="http://schemas.microsoft.com/office/drawing/2014/main" id="{D871EF7C-AE05-143C-57E3-45A21C2C625A}"/>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2" name="Freeform 235">
              <a:extLst>
                <a:ext uri="{FF2B5EF4-FFF2-40B4-BE49-F238E27FC236}">
                  <a16:creationId xmlns:a16="http://schemas.microsoft.com/office/drawing/2014/main" id="{FE47F4ED-19C7-8332-B53A-867E8A6F80CC}"/>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3" name="Freeform 236">
              <a:extLst>
                <a:ext uri="{FF2B5EF4-FFF2-40B4-BE49-F238E27FC236}">
                  <a16:creationId xmlns:a16="http://schemas.microsoft.com/office/drawing/2014/main" id="{24EB9BD8-2D76-114F-8394-FEB7E77BC110}"/>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4" name="Freeform 237">
              <a:extLst>
                <a:ext uri="{FF2B5EF4-FFF2-40B4-BE49-F238E27FC236}">
                  <a16:creationId xmlns:a16="http://schemas.microsoft.com/office/drawing/2014/main" id="{802E81B5-04EC-4697-9F8C-34460A2AF653}"/>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5" name="Freeform 238">
              <a:extLst>
                <a:ext uri="{FF2B5EF4-FFF2-40B4-BE49-F238E27FC236}">
                  <a16:creationId xmlns:a16="http://schemas.microsoft.com/office/drawing/2014/main" id="{99D3D266-2441-AA2C-C4A7-82B00B695F6D}"/>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6" name="Freeform 239">
              <a:extLst>
                <a:ext uri="{FF2B5EF4-FFF2-40B4-BE49-F238E27FC236}">
                  <a16:creationId xmlns:a16="http://schemas.microsoft.com/office/drawing/2014/main" id="{78B9D107-AC1C-2A63-015F-82EC16B67C55}"/>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7" name="Freeform 240">
              <a:extLst>
                <a:ext uri="{FF2B5EF4-FFF2-40B4-BE49-F238E27FC236}">
                  <a16:creationId xmlns:a16="http://schemas.microsoft.com/office/drawing/2014/main" id="{8AFF13CB-9A18-D68D-B670-C374C9AE303F}"/>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8" name="Freeform 241">
              <a:extLst>
                <a:ext uri="{FF2B5EF4-FFF2-40B4-BE49-F238E27FC236}">
                  <a16:creationId xmlns:a16="http://schemas.microsoft.com/office/drawing/2014/main" id="{1CF22342-5F8E-79E0-EC87-9CE36B2F195D}"/>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9" name="Freeform 242">
              <a:extLst>
                <a:ext uri="{FF2B5EF4-FFF2-40B4-BE49-F238E27FC236}">
                  <a16:creationId xmlns:a16="http://schemas.microsoft.com/office/drawing/2014/main" id="{A012F7CC-03A2-201A-E77F-6D4D57297EC6}"/>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0" name="Freeform 243">
              <a:extLst>
                <a:ext uri="{FF2B5EF4-FFF2-40B4-BE49-F238E27FC236}">
                  <a16:creationId xmlns:a16="http://schemas.microsoft.com/office/drawing/2014/main" id="{F0527EC4-5722-AA46-C63F-ED288E47FCF6}"/>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1" name="Freeform 244">
              <a:extLst>
                <a:ext uri="{FF2B5EF4-FFF2-40B4-BE49-F238E27FC236}">
                  <a16:creationId xmlns:a16="http://schemas.microsoft.com/office/drawing/2014/main" id="{A06C9CC2-45CA-664B-78E0-1C029AEEAB77}"/>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2" name="Freeform 245">
              <a:extLst>
                <a:ext uri="{FF2B5EF4-FFF2-40B4-BE49-F238E27FC236}">
                  <a16:creationId xmlns:a16="http://schemas.microsoft.com/office/drawing/2014/main" id="{98D34500-6C5C-8BCB-09DE-6D34B607C6C4}"/>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3" name="Freeform 246">
              <a:extLst>
                <a:ext uri="{FF2B5EF4-FFF2-40B4-BE49-F238E27FC236}">
                  <a16:creationId xmlns:a16="http://schemas.microsoft.com/office/drawing/2014/main" id="{3E8CB068-21C5-F445-8904-35C7E45D6B67}"/>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4" name="Freeform 247">
              <a:extLst>
                <a:ext uri="{FF2B5EF4-FFF2-40B4-BE49-F238E27FC236}">
                  <a16:creationId xmlns:a16="http://schemas.microsoft.com/office/drawing/2014/main" id="{A63A6743-D169-980E-1A4C-101401B8621B}"/>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5" name="Freeform 248">
              <a:extLst>
                <a:ext uri="{FF2B5EF4-FFF2-40B4-BE49-F238E27FC236}">
                  <a16:creationId xmlns:a16="http://schemas.microsoft.com/office/drawing/2014/main" id="{74610931-0044-6C2A-EAF8-81C5071C6B9C}"/>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6" name="Freeform 249">
              <a:extLst>
                <a:ext uri="{FF2B5EF4-FFF2-40B4-BE49-F238E27FC236}">
                  <a16:creationId xmlns:a16="http://schemas.microsoft.com/office/drawing/2014/main" id="{F925D12C-57BA-7A77-DB5E-8E2932E75913}"/>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7" name="Freeform 250">
              <a:extLst>
                <a:ext uri="{FF2B5EF4-FFF2-40B4-BE49-F238E27FC236}">
                  <a16:creationId xmlns:a16="http://schemas.microsoft.com/office/drawing/2014/main" id="{6D87F566-E1DD-981E-C002-7931C2E90544}"/>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8" name="Freeform 251">
              <a:extLst>
                <a:ext uri="{FF2B5EF4-FFF2-40B4-BE49-F238E27FC236}">
                  <a16:creationId xmlns:a16="http://schemas.microsoft.com/office/drawing/2014/main" id="{739F163B-4B50-0B3A-A056-6DE3DC423FA8}"/>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9" name="Freeform 252">
              <a:extLst>
                <a:ext uri="{FF2B5EF4-FFF2-40B4-BE49-F238E27FC236}">
                  <a16:creationId xmlns:a16="http://schemas.microsoft.com/office/drawing/2014/main" id="{E4C75A43-E697-6BA6-1E01-18A20FCBD950}"/>
                </a:ext>
              </a:extLst>
            </p:cNvPr>
            <p:cNvSpPr>
              <a:spLocks/>
            </p:cNvSpPr>
            <p:nvPr userDrawn="1"/>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0" name="Freeform 253">
              <a:extLst>
                <a:ext uri="{FF2B5EF4-FFF2-40B4-BE49-F238E27FC236}">
                  <a16:creationId xmlns:a16="http://schemas.microsoft.com/office/drawing/2014/main" id="{91CE89FE-DD5D-2622-8B43-A1CD43C27F44}"/>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1" name="Freeform 254">
              <a:extLst>
                <a:ext uri="{FF2B5EF4-FFF2-40B4-BE49-F238E27FC236}">
                  <a16:creationId xmlns:a16="http://schemas.microsoft.com/office/drawing/2014/main" id="{594E4730-5F15-7E17-BDA9-444670666794}"/>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2" name="Freeform 255">
              <a:extLst>
                <a:ext uri="{FF2B5EF4-FFF2-40B4-BE49-F238E27FC236}">
                  <a16:creationId xmlns:a16="http://schemas.microsoft.com/office/drawing/2014/main" id="{968A1C2E-4AE4-5F38-0E1D-FF71CD483FBA}"/>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3" name="Freeform 256">
              <a:extLst>
                <a:ext uri="{FF2B5EF4-FFF2-40B4-BE49-F238E27FC236}">
                  <a16:creationId xmlns:a16="http://schemas.microsoft.com/office/drawing/2014/main" id="{C0C2D267-A0CB-106D-4433-506F74FBD853}"/>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4" name="Freeform 257">
              <a:extLst>
                <a:ext uri="{FF2B5EF4-FFF2-40B4-BE49-F238E27FC236}">
                  <a16:creationId xmlns:a16="http://schemas.microsoft.com/office/drawing/2014/main" id="{3E8C12EC-5EEC-97DB-4196-B2D22844D0CF}"/>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5" name="Freeform 258">
              <a:extLst>
                <a:ext uri="{FF2B5EF4-FFF2-40B4-BE49-F238E27FC236}">
                  <a16:creationId xmlns:a16="http://schemas.microsoft.com/office/drawing/2014/main" id="{CA6994F0-358C-52FA-EEB3-60E6BCACC32C}"/>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6" name="Freeform 259">
              <a:extLst>
                <a:ext uri="{FF2B5EF4-FFF2-40B4-BE49-F238E27FC236}">
                  <a16:creationId xmlns:a16="http://schemas.microsoft.com/office/drawing/2014/main" id="{7740C394-6F03-3C60-9CEB-E03CA65D4731}"/>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7" name="Freeform 260">
              <a:extLst>
                <a:ext uri="{FF2B5EF4-FFF2-40B4-BE49-F238E27FC236}">
                  <a16:creationId xmlns:a16="http://schemas.microsoft.com/office/drawing/2014/main" id="{4A280C30-E633-824D-64A8-4B420F8E5365}"/>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8" name="Freeform 261">
              <a:extLst>
                <a:ext uri="{FF2B5EF4-FFF2-40B4-BE49-F238E27FC236}">
                  <a16:creationId xmlns:a16="http://schemas.microsoft.com/office/drawing/2014/main" id="{353841B1-B062-1AC2-F76E-525AAD7708EF}"/>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9" name="Freeform 262">
              <a:extLst>
                <a:ext uri="{FF2B5EF4-FFF2-40B4-BE49-F238E27FC236}">
                  <a16:creationId xmlns:a16="http://schemas.microsoft.com/office/drawing/2014/main" id="{BC99F41C-F16A-ED4F-B6EC-F184B3E70A04}"/>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0" name="Freeform 263">
              <a:extLst>
                <a:ext uri="{FF2B5EF4-FFF2-40B4-BE49-F238E27FC236}">
                  <a16:creationId xmlns:a16="http://schemas.microsoft.com/office/drawing/2014/main" id="{D3CD6759-649D-3C05-EF70-5BB5E9F78F32}"/>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1" name="Freeform 264">
              <a:extLst>
                <a:ext uri="{FF2B5EF4-FFF2-40B4-BE49-F238E27FC236}">
                  <a16:creationId xmlns:a16="http://schemas.microsoft.com/office/drawing/2014/main" id="{EBDD524D-00B8-9102-74D2-73238BDB93AB}"/>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2" name="Freeform 265">
              <a:extLst>
                <a:ext uri="{FF2B5EF4-FFF2-40B4-BE49-F238E27FC236}">
                  <a16:creationId xmlns:a16="http://schemas.microsoft.com/office/drawing/2014/main" id="{FA0836D4-DABE-30F9-4B21-82F007353464}"/>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3" name="Freeform 266">
              <a:extLst>
                <a:ext uri="{FF2B5EF4-FFF2-40B4-BE49-F238E27FC236}">
                  <a16:creationId xmlns:a16="http://schemas.microsoft.com/office/drawing/2014/main" id="{4C913651-8B28-6A47-9B2B-CE1A24407F66}"/>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4" name="Freeform 267">
              <a:extLst>
                <a:ext uri="{FF2B5EF4-FFF2-40B4-BE49-F238E27FC236}">
                  <a16:creationId xmlns:a16="http://schemas.microsoft.com/office/drawing/2014/main" id="{6E435E1D-6442-CA03-F4E8-04C6390C43D1}"/>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5" name="Freeform 268">
              <a:extLst>
                <a:ext uri="{FF2B5EF4-FFF2-40B4-BE49-F238E27FC236}">
                  <a16:creationId xmlns:a16="http://schemas.microsoft.com/office/drawing/2014/main" id="{0310351E-B847-E60C-4711-7CA6FEB74CEE}"/>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6" name="Freeform 269">
              <a:extLst>
                <a:ext uri="{FF2B5EF4-FFF2-40B4-BE49-F238E27FC236}">
                  <a16:creationId xmlns:a16="http://schemas.microsoft.com/office/drawing/2014/main" id="{7FAD622D-4B39-3692-8796-BD6146605546}"/>
                </a:ext>
              </a:extLst>
            </p:cNvPr>
            <p:cNvSpPr>
              <a:spLocks/>
            </p:cNvSpPr>
            <p:nvPr userDrawn="1"/>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7" name="Freeform 270">
              <a:extLst>
                <a:ext uri="{FF2B5EF4-FFF2-40B4-BE49-F238E27FC236}">
                  <a16:creationId xmlns:a16="http://schemas.microsoft.com/office/drawing/2014/main" id="{EC86FDF8-DBFE-B07E-3C99-E69E6F2E9E97}"/>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8" name="Freeform 271">
              <a:extLst>
                <a:ext uri="{FF2B5EF4-FFF2-40B4-BE49-F238E27FC236}">
                  <a16:creationId xmlns:a16="http://schemas.microsoft.com/office/drawing/2014/main" id="{DB602B0E-8DC2-F0EC-2C36-A276FE201D64}"/>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9" name="Freeform 272">
              <a:extLst>
                <a:ext uri="{FF2B5EF4-FFF2-40B4-BE49-F238E27FC236}">
                  <a16:creationId xmlns:a16="http://schemas.microsoft.com/office/drawing/2014/main" id="{118952F3-8B33-FD1E-EF02-45702A745479}"/>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0" name="Freeform 273">
              <a:extLst>
                <a:ext uri="{FF2B5EF4-FFF2-40B4-BE49-F238E27FC236}">
                  <a16:creationId xmlns:a16="http://schemas.microsoft.com/office/drawing/2014/main" id="{580E9F57-C4F2-7E35-21CD-EBB2F832A812}"/>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1" name="Freeform 274">
              <a:extLst>
                <a:ext uri="{FF2B5EF4-FFF2-40B4-BE49-F238E27FC236}">
                  <a16:creationId xmlns:a16="http://schemas.microsoft.com/office/drawing/2014/main" id="{8FA73A83-F489-BCCE-9318-50097F440988}"/>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2" name="Freeform 275">
              <a:extLst>
                <a:ext uri="{FF2B5EF4-FFF2-40B4-BE49-F238E27FC236}">
                  <a16:creationId xmlns:a16="http://schemas.microsoft.com/office/drawing/2014/main" id="{0F862840-D2F3-563C-A1A3-00EED42DEBF2}"/>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3" name="Freeform 276">
              <a:extLst>
                <a:ext uri="{FF2B5EF4-FFF2-40B4-BE49-F238E27FC236}">
                  <a16:creationId xmlns:a16="http://schemas.microsoft.com/office/drawing/2014/main" id="{0DF9B8C3-A1DF-93C2-0B9F-C81D8B105D2F}"/>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4" name="Freeform 277">
              <a:extLst>
                <a:ext uri="{FF2B5EF4-FFF2-40B4-BE49-F238E27FC236}">
                  <a16:creationId xmlns:a16="http://schemas.microsoft.com/office/drawing/2014/main" id="{C94EA9BB-D0AB-EDD8-2406-A5D78044A596}"/>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5" name="Freeform 278">
              <a:extLst>
                <a:ext uri="{FF2B5EF4-FFF2-40B4-BE49-F238E27FC236}">
                  <a16:creationId xmlns:a16="http://schemas.microsoft.com/office/drawing/2014/main" id="{8E7F2311-EC0E-32F2-C49C-EEC2D37C1F34}"/>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6" name="Freeform 279">
              <a:extLst>
                <a:ext uri="{FF2B5EF4-FFF2-40B4-BE49-F238E27FC236}">
                  <a16:creationId xmlns:a16="http://schemas.microsoft.com/office/drawing/2014/main" id="{D573CCDE-EEE5-C8E2-B534-122BD9878BD6}"/>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7" name="Freeform 280">
              <a:extLst>
                <a:ext uri="{FF2B5EF4-FFF2-40B4-BE49-F238E27FC236}">
                  <a16:creationId xmlns:a16="http://schemas.microsoft.com/office/drawing/2014/main" id="{EB68226D-AEC5-6AA0-CBC2-1602B12DC893}"/>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8" name="Freeform 281">
              <a:extLst>
                <a:ext uri="{FF2B5EF4-FFF2-40B4-BE49-F238E27FC236}">
                  <a16:creationId xmlns:a16="http://schemas.microsoft.com/office/drawing/2014/main" id="{573CED1A-8FEE-50D6-979A-C19655E3502B}"/>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9" name="Freeform 282">
              <a:extLst>
                <a:ext uri="{FF2B5EF4-FFF2-40B4-BE49-F238E27FC236}">
                  <a16:creationId xmlns:a16="http://schemas.microsoft.com/office/drawing/2014/main" id="{E951C1D3-925D-E54D-0298-FAFD0B44F0BE}"/>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0" name="Freeform 283">
              <a:extLst>
                <a:ext uri="{FF2B5EF4-FFF2-40B4-BE49-F238E27FC236}">
                  <a16:creationId xmlns:a16="http://schemas.microsoft.com/office/drawing/2014/main" id="{981736C5-1FA1-A533-C5A6-882F96A4FC97}"/>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1" name="Freeform 284">
              <a:extLst>
                <a:ext uri="{FF2B5EF4-FFF2-40B4-BE49-F238E27FC236}">
                  <a16:creationId xmlns:a16="http://schemas.microsoft.com/office/drawing/2014/main" id="{FF0E6820-3FA3-78CA-320D-D57126676499}"/>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2" name="Freeform 285">
              <a:extLst>
                <a:ext uri="{FF2B5EF4-FFF2-40B4-BE49-F238E27FC236}">
                  <a16:creationId xmlns:a16="http://schemas.microsoft.com/office/drawing/2014/main" id="{50D80B61-F1D6-F105-2AEE-9727CD9B15F8}"/>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3" name="Freeform 286">
              <a:extLst>
                <a:ext uri="{FF2B5EF4-FFF2-40B4-BE49-F238E27FC236}">
                  <a16:creationId xmlns:a16="http://schemas.microsoft.com/office/drawing/2014/main" id="{849A6B13-D16A-A5D9-5DA4-4B0386813279}"/>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4" name="Freeform 287">
              <a:extLst>
                <a:ext uri="{FF2B5EF4-FFF2-40B4-BE49-F238E27FC236}">
                  <a16:creationId xmlns:a16="http://schemas.microsoft.com/office/drawing/2014/main" id="{18FC9E11-F81C-E88A-5367-9F94F6B5E7E2}"/>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5" name="Freeform 288">
              <a:extLst>
                <a:ext uri="{FF2B5EF4-FFF2-40B4-BE49-F238E27FC236}">
                  <a16:creationId xmlns:a16="http://schemas.microsoft.com/office/drawing/2014/main" id="{F926F804-3DF4-E1BE-F4EA-A344B5D5F0F6}"/>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6" name="Freeform 289">
              <a:extLst>
                <a:ext uri="{FF2B5EF4-FFF2-40B4-BE49-F238E27FC236}">
                  <a16:creationId xmlns:a16="http://schemas.microsoft.com/office/drawing/2014/main" id="{5579E05E-1A75-BEA8-366B-DCCF9BE367B8}"/>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7" name="Freeform 290">
              <a:extLst>
                <a:ext uri="{FF2B5EF4-FFF2-40B4-BE49-F238E27FC236}">
                  <a16:creationId xmlns:a16="http://schemas.microsoft.com/office/drawing/2014/main" id="{321E276E-2115-FA72-97DD-823B2C3CB7BD}"/>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8" name="Freeform 291">
              <a:extLst>
                <a:ext uri="{FF2B5EF4-FFF2-40B4-BE49-F238E27FC236}">
                  <a16:creationId xmlns:a16="http://schemas.microsoft.com/office/drawing/2014/main" id="{5665CD9E-8044-819F-D56C-D71210409B80}"/>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9" name="Freeform 292">
              <a:extLst>
                <a:ext uri="{FF2B5EF4-FFF2-40B4-BE49-F238E27FC236}">
                  <a16:creationId xmlns:a16="http://schemas.microsoft.com/office/drawing/2014/main" id="{FF4139E0-ACF5-E1F8-F69C-AC833F6A8308}"/>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0" name="Freeform 293">
              <a:extLst>
                <a:ext uri="{FF2B5EF4-FFF2-40B4-BE49-F238E27FC236}">
                  <a16:creationId xmlns:a16="http://schemas.microsoft.com/office/drawing/2014/main" id="{80B83519-2A87-FA04-C819-9234B91D2D33}"/>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1" name="Freeform 294">
              <a:extLst>
                <a:ext uri="{FF2B5EF4-FFF2-40B4-BE49-F238E27FC236}">
                  <a16:creationId xmlns:a16="http://schemas.microsoft.com/office/drawing/2014/main" id="{37CE8578-39E0-635F-4260-E3E2BEEDF465}"/>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2" name="Freeform 295">
              <a:extLst>
                <a:ext uri="{FF2B5EF4-FFF2-40B4-BE49-F238E27FC236}">
                  <a16:creationId xmlns:a16="http://schemas.microsoft.com/office/drawing/2014/main" id="{07A61540-D9A1-F3B7-3E7C-38F970A946DE}"/>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3" name="Freeform 296">
              <a:extLst>
                <a:ext uri="{FF2B5EF4-FFF2-40B4-BE49-F238E27FC236}">
                  <a16:creationId xmlns:a16="http://schemas.microsoft.com/office/drawing/2014/main" id="{4A87E4B3-5CE4-0683-83B2-D806265A418A}"/>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4" name="Freeform 297">
              <a:extLst>
                <a:ext uri="{FF2B5EF4-FFF2-40B4-BE49-F238E27FC236}">
                  <a16:creationId xmlns:a16="http://schemas.microsoft.com/office/drawing/2014/main" id="{83C7FEF3-0B3D-B032-887B-3AD8684173A2}"/>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5" name="Freeform 298">
              <a:extLst>
                <a:ext uri="{FF2B5EF4-FFF2-40B4-BE49-F238E27FC236}">
                  <a16:creationId xmlns:a16="http://schemas.microsoft.com/office/drawing/2014/main" id="{E336D670-15C0-23CD-4109-E630677F2CBE}"/>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6" name="Freeform 299">
              <a:extLst>
                <a:ext uri="{FF2B5EF4-FFF2-40B4-BE49-F238E27FC236}">
                  <a16:creationId xmlns:a16="http://schemas.microsoft.com/office/drawing/2014/main" id="{685F52E7-8116-C854-6163-D92E46FA9823}"/>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7" name="Freeform 300">
              <a:extLst>
                <a:ext uri="{FF2B5EF4-FFF2-40B4-BE49-F238E27FC236}">
                  <a16:creationId xmlns:a16="http://schemas.microsoft.com/office/drawing/2014/main" id="{F4E38A5B-E888-DFE6-4E07-DD8519A0001B}"/>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8" name="Freeform 301">
              <a:extLst>
                <a:ext uri="{FF2B5EF4-FFF2-40B4-BE49-F238E27FC236}">
                  <a16:creationId xmlns:a16="http://schemas.microsoft.com/office/drawing/2014/main" id="{740E0411-3E6B-ADD0-F30A-5A880BBF3F1D}"/>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9" name="Freeform 302">
              <a:extLst>
                <a:ext uri="{FF2B5EF4-FFF2-40B4-BE49-F238E27FC236}">
                  <a16:creationId xmlns:a16="http://schemas.microsoft.com/office/drawing/2014/main" id="{93E7FDC1-7009-D0F1-A819-351FF13BCDB1}"/>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0" name="Freeform 303">
              <a:extLst>
                <a:ext uri="{FF2B5EF4-FFF2-40B4-BE49-F238E27FC236}">
                  <a16:creationId xmlns:a16="http://schemas.microsoft.com/office/drawing/2014/main" id="{9680659F-E8FD-65FB-D625-2538E8D7555E}"/>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1" name="Freeform 304">
              <a:extLst>
                <a:ext uri="{FF2B5EF4-FFF2-40B4-BE49-F238E27FC236}">
                  <a16:creationId xmlns:a16="http://schemas.microsoft.com/office/drawing/2014/main" id="{FCE0F128-579B-AFE1-919C-1512F9DA20FE}"/>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2" name="Freeform 305">
              <a:extLst>
                <a:ext uri="{FF2B5EF4-FFF2-40B4-BE49-F238E27FC236}">
                  <a16:creationId xmlns:a16="http://schemas.microsoft.com/office/drawing/2014/main" id="{C03DE26C-BD5E-B073-E439-56B56AAD044D}"/>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3" name="Freeform 306">
              <a:extLst>
                <a:ext uri="{FF2B5EF4-FFF2-40B4-BE49-F238E27FC236}">
                  <a16:creationId xmlns:a16="http://schemas.microsoft.com/office/drawing/2014/main" id="{E7AA937F-BDF1-0AFC-5E37-0962E4C511D1}"/>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4" name="Freeform 307">
              <a:extLst>
                <a:ext uri="{FF2B5EF4-FFF2-40B4-BE49-F238E27FC236}">
                  <a16:creationId xmlns:a16="http://schemas.microsoft.com/office/drawing/2014/main" id="{48369B44-FBCF-7C7E-982A-F654072A6340}"/>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5" name="Freeform 308">
              <a:extLst>
                <a:ext uri="{FF2B5EF4-FFF2-40B4-BE49-F238E27FC236}">
                  <a16:creationId xmlns:a16="http://schemas.microsoft.com/office/drawing/2014/main" id="{BEF78864-830B-BBCB-63B1-B2EEE137CDCA}"/>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6" name="Freeform 309">
              <a:extLst>
                <a:ext uri="{FF2B5EF4-FFF2-40B4-BE49-F238E27FC236}">
                  <a16:creationId xmlns:a16="http://schemas.microsoft.com/office/drawing/2014/main" id="{511E8D9D-7AC0-23B7-C937-B48D441A99EF}"/>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7" name="Freeform 310">
              <a:extLst>
                <a:ext uri="{FF2B5EF4-FFF2-40B4-BE49-F238E27FC236}">
                  <a16:creationId xmlns:a16="http://schemas.microsoft.com/office/drawing/2014/main" id="{5B785788-3574-05C9-83A4-1A93716BA2A2}"/>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8" name="Freeform 311">
              <a:extLst>
                <a:ext uri="{FF2B5EF4-FFF2-40B4-BE49-F238E27FC236}">
                  <a16:creationId xmlns:a16="http://schemas.microsoft.com/office/drawing/2014/main" id="{7C35B190-5DCA-1EC7-F673-353B83ADFB85}"/>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9" name="Freeform 312">
              <a:extLst>
                <a:ext uri="{FF2B5EF4-FFF2-40B4-BE49-F238E27FC236}">
                  <a16:creationId xmlns:a16="http://schemas.microsoft.com/office/drawing/2014/main" id="{90CF11ED-0C11-86BA-BCB7-0BE8DFD7BC4A}"/>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0" name="Freeform 313">
              <a:extLst>
                <a:ext uri="{FF2B5EF4-FFF2-40B4-BE49-F238E27FC236}">
                  <a16:creationId xmlns:a16="http://schemas.microsoft.com/office/drawing/2014/main" id="{BB9A1A9C-1527-CFFF-F1F9-3B2E6C34F905}"/>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1" name="Freeform 314">
              <a:extLst>
                <a:ext uri="{FF2B5EF4-FFF2-40B4-BE49-F238E27FC236}">
                  <a16:creationId xmlns:a16="http://schemas.microsoft.com/office/drawing/2014/main" id="{AE724C56-7C53-A030-B18A-FCC830A8398E}"/>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2" name="Freeform 315">
              <a:extLst>
                <a:ext uri="{FF2B5EF4-FFF2-40B4-BE49-F238E27FC236}">
                  <a16:creationId xmlns:a16="http://schemas.microsoft.com/office/drawing/2014/main" id="{A0871C7A-C055-34D0-B3AB-0A0B4EEB0895}"/>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3" name="Freeform 316">
              <a:extLst>
                <a:ext uri="{FF2B5EF4-FFF2-40B4-BE49-F238E27FC236}">
                  <a16:creationId xmlns:a16="http://schemas.microsoft.com/office/drawing/2014/main" id="{E815C912-7C60-298E-2402-B69AF54B3F23}"/>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4" name="Freeform 317">
              <a:extLst>
                <a:ext uri="{FF2B5EF4-FFF2-40B4-BE49-F238E27FC236}">
                  <a16:creationId xmlns:a16="http://schemas.microsoft.com/office/drawing/2014/main" id="{E4877215-E3A4-3FA6-676C-CC9539C81417}"/>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5" name="Freeform 318">
              <a:extLst>
                <a:ext uri="{FF2B5EF4-FFF2-40B4-BE49-F238E27FC236}">
                  <a16:creationId xmlns:a16="http://schemas.microsoft.com/office/drawing/2014/main" id="{8491ED9C-CAA6-02B7-BA37-290A8EF12928}"/>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6" name="Freeform 319">
              <a:extLst>
                <a:ext uri="{FF2B5EF4-FFF2-40B4-BE49-F238E27FC236}">
                  <a16:creationId xmlns:a16="http://schemas.microsoft.com/office/drawing/2014/main" id="{2103E32E-4977-7345-EE55-82A5482FB594}"/>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rgbClr val="00243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267" name="Freeform 320">
              <a:extLst>
                <a:ext uri="{FF2B5EF4-FFF2-40B4-BE49-F238E27FC236}">
                  <a16:creationId xmlns:a16="http://schemas.microsoft.com/office/drawing/2014/main" id="{51801E04-76EE-4EE5-938B-5C65A1ED280D}"/>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8" name="Freeform 321">
              <a:extLst>
                <a:ext uri="{FF2B5EF4-FFF2-40B4-BE49-F238E27FC236}">
                  <a16:creationId xmlns:a16="http://schemas.microsoft.com/office/drawing/2014/main" id="{3199C2FC-F979-63EF-9715-8D8356496E18}"/>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9" name="Freeform 322">
              <a:extLst>
                <a:ext uri="{FF2B5EF4-FFF2-40B4-BE49-F238E27FC236}">
                  <a16:creationId xmlns:a16="http://schemas.microsoft.com/office/drawing/2014/main" id="{7D9741AC-B315-68C7-CD45-DCB1E51FDE7A}"/>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0" name="Freeform 323">
              <a:extLst>
                <a:ext uri="{FF2B5EF4-FFF2-40B4-BE49-F238E27FC236}">
                  <a16:creationId xmlns:a16="http://schemas.microsoft.com/office/drawing/2014/main" id="{7B7FFA63-8B70-965B-2458-3206C6D00649}"/>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1" name="Freeform 324">
              <a:extLst>
                <a:ext uri="{FF2B5EF4-FFF2-40B4-BE49-F238E27FC236}">
                  <a16:creationId xmlns:a16="http://schemas.microsoft.com/office/drawing/2014/main" id="{73CE287F-3563-BDEB-2820-2CA5624A2EC8}"/>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2" name="Freeform 325">
              <a:extLst>
                <a:ext uri="{FF2B5EF4-FFF2-40B4-BE49-F238E27FC236}">
                  <a16:creationId xmlns:a16="http://schemas.microsoft.com/office/drawing/2014/main" id="{098BBF03-BFFF-11B9-4186-53A90810A945}"/>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3" name="Freeform 326">
              <a:extLst>
                <a:ext uri="{FF2B5EF4-FFF2-40B4-BE49-F238E27FC236}">
                  <a16:creationId xmlns:a16="http://schemas.microsoft.com/office/drawing/2014/main" id="{4A806D6B-F78C-0BC4-0ED1-F9AB4C6973C7}"/>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4" name="Freeform 327">
              <a:extLst>
                <a:ext uri="{FF2B5EF4-FFF2-40B4-BE49-F238E27FC236}">
                  <a16:creationId xmlns:a16="http://schemas.microsoft.com/office/drawing/2014/main" id="{CB364542-435C-1DC7-6485-8EBE9A28CDD5}"/>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5" name="Freeform 328">
              <a:extLst>
                <a:ext uri="{FF2B5EF4-FFF2-40B4-BE49-F238E27FC236}">
                  <a16:creationId xmlns:a16="http://schemas.microsoft.com/office/drawing/2014/main" id="{6FF5DA8E-AE2A-12EA-8FB5-022B159E0108}"/>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6" name="Freeform 329">
              <a:extLst>
                <a:ext uri="{FF2B5EF4-FFF2-40B4-BE49-F238E27FC236}">
                  <a16:creationId xmlns:a16="http://schemas.microsoft.com/office/drawing/2014/main" id="{B10314D9-9D75-325F-5E68-37585D5685A4}"/>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7" name="Freeform 330">
              <a:extLst>
                <a:ext uri="{FF2B5EF4-FFF2-40B4-BE49-F238E27FC236}">
                  <a16:creationId xmlns:a16="http://schemas.microsoft.com/office/drawing/2014/main" id="{83E5581D-3008-37B8-192B-54398E84CB0F}"/>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8" name="Freeform 331">
              <a:extLst>
                <a:ext uri="{FF2B5EF4-FFF2-40B4-BE49-F238E27FC236}">
                  <a16:creationId xmlns:a16="http://schemas.microsoft.com/office/drawing/2014/main" id="{CE41EE97-E3B5-3376-0EE1-E8EAE2A48E6C}"/>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9" name="Freeform 332">
              <a:extLst>
                <a:ext uri="{FF2B5EF4-FFF2-40B4-BE49-F238E27FC236}">
                  <a16:creationId xmlns:a16="http://schemas.microsoft.com/office/drawing/2014/main" id="{F40950F4-A2EB-3E03-613D-79AE06253A65}"/>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0" name="Freeform 333">
              <a:extLst>
                <a:ext uri="{FF2B5EF4-FFF2-40B4-BE49-F238E27FC236}">
                  <a16:creationId xmlns:a16="http://schemas.microsoft.com/office/drawing/2014/main" id="{A33C6BB4-B75E-4A00-13F5-83806F090C48}"/>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1" name="Freeform 334">
              <a:extLst>
                <a:ext uri="{FF2B5EF4-FFF2-40B4-BE49-F238E27FC236}">
                  <a16:creationId xmlns:a16="http://schemas.microsoft.com/office/drawing/2014/main" id="{55F613C8-3F07-50CC-F908-0E3281EB7D8F}"/>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2" name="Freeform 335">
              <a:extLst>
                <a:ext uri="{FF2B5EF4-FFF2-40B4-BE49-F238E27FC236}">
                  <a16:creationId xmlns:a16="http://schemas.microsoft.com/office/drawing/2014/main" id="{403D1D7B-FB38-3095-1F36-3F6483DD6D94}"/>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3" name="Freeform 336">
              <a:extLst>
                <a:ext uri="{FF2B5EF4-FFF2-40B4-BE49-F238E27FC236}">
                  <a16:creationId xmlns:a16="http://schemas.microsoft.com/office/drawing/2014/main" id="{717768FF-6E1F-1E90-FB15-7E34309D137D}"/>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4" name="Freeform 337">
              <a:extLst>
                <a:ext uri="{FF2B5EF4-FFF2-40B4-BE49-F238E27FC236}">
                  <a16:creationId xmlns:a16="http://schemas.microsoft.com/office/drawing/2014/main" id="{B2AC1F6F-B816-7D8E-8551-E359B1A77CCD}"/>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5" name="Freeform 338">
              <a:extLst>
                <a:ext uri="{FF2B5EF4-FFF2-40B4-BE49-F238E27FC236}">
                  <a16:creationId xmlns:a16="http://schemas.microsoft.com/office/drawing/2014/main" id="{B4477192-944A-22A0-F358-B8682AB48163}"/>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6" name="Freeform 339">
              <a:extLst>
                <a:ext uri="{FF2B5EF4-FFF2-40B4-BE49-F238E27FC236}">
                  <a16:creationId xmlns:a16="http://schemas.microsoft.com/office/drawing/2014/main" id="{85B9E6A1-D7B3-6C4C-B889-F7BD3E91920D}"/>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7" name="Freeform 340">
              <a:extLst>
                <a:ext uri="{FF2B5EF4-FFF2-40B4-BE49-F238E27FC236}">
                  <a16:creationId xmlns:a16="http://schemas.microsoft.com/office/drawing/2014/main" id="{56548301-9B9C-D8E4-5C82-A7A2E5AFB153}"/>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8" name="Freeform 341">
              <a:extLst>
                <a:ext uri="{FF2B5EF4-FFF2-40B4-BE49-F238E27FC236}">
                  <a16:creationId xmlns:a16="http://schemas.microsoft.com/office/drawing/2014/main" id="{587C1685-BB25-9657-025A-85067151CCE4}"/>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9" name="Freeform 342">
              <a:extLst>
                <a:ext uri="{FF2B5EF4-FFF2-40B4-BE49-F238E27FC236}">
                  <a16:creationId xmlns:a16="http://schemas.microsoft.com/office/drawing/2014/main" id="{5FA6B29C-7FF7-1D6F-EE2E-FFE11972BEF9}"/>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0" name="Freeform 343">
              <a:extLst>
                <a:ext uri="{FF2B5EF4-FFF2-40B4-BE49-F238E27FC236}">
                  <a16:creationId xmlns:a16="http://schemas.microsoft.com/office/drawing/2014/main" id="{8D600FB0-E5F7-D8FC-7F15-1597108F21F1}"/>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1" name="Freeform 344">
              <a:extLst>
                <a:ext uri="{FF2B5EF4-FFF2-40B4-BE49-F238E27FC236}">
                  <a16:creationId xmlns:a16="http://schemas.microsoft.com/office/drawing/2014/main" id="{2622B4FF-ABDF-8F0B-A797-AF6189A4B914}"/>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2" name="Freeform 345">
              <a:extLst>
                <a:ext uri="{FF2B5EF4-FFF2-40B4-BE49-F238E27FC236}">
                  <a16:creationId xmlns:a16="http://schemas.microsoft.com/office/drawing/2014/main" id="{EAF10AD0-DE62-38A9-1CD5-BA98183AF45B}"/>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3" name="Freeform 346">
              <a:extLst>
                <a:ext uri="{FF2B5EF4-FFF2-40B4-BE49-F238E27FC236}">
                  <a16:creationId xmlns:a16="http://schemas.microsoft.com/office/drawing/2014/main" id="{42005406-A255-7C63-ED8B-650EC55F447D}"/>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4" name="Freeform 347">
              <a:extLst>
                <a:ext uri="{FF2B5EF4-FFF2-40B4-BE49-F238E27FC236}">
                  <a16:creationId xmlns:a16="http://schemas.microsoft.com/office/drawing/2014/main" id="{A27B0D45-8213-5F91-1179-FB0E825237CC}"/>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5" name="Freeform 348">
              <a:extLst>
                <a:ext uri="{FF2B5EF4-FFF2-40B4-BE49-F238E27FC236}">
                  <a16:creationId xmlns:a16="http://schemas.microsoft.com/office/drawing/2014/main" id="{811A9575-3B29-C62C-A5DD-D881062BBD0F}"/>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6" name="Freeform 349">
              <a:extLst>
                <a:ext uri="{FF2B5EF4-FFF2-40B4-BE49-F238E27FC236}">
                  <a16:creationId xmlns:a16="http://schemas.microsoft.com/office/drawing/2014/main" id="{6BDEF78C-1B86-6A28-7F47-4239D3F065C3}"/>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7" name="Freeform 350">
              <a:extLst>
                <a:ext uri="{FF2B5EF4-FFF2-40B4-BE49-F238E27FC236}">
                  <a16:creationId xmlns:a16="http://schemas.microsoft.com/office/drawing/2014/main" id="{948EBDAE-FE5D-71F0-8DF0-A34F3AA5E7DA}"/>
                </a:ext>
              </a:extLst>
            </p:cNvPr>
            <p:cNvSpPr>
              <a:spLocks noEditPoints="1"/>
            </p:cNvSpPr>
            <p:nvPr userDrawn="1"/>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8" name="Freeform 351">
              <a:extLst>
                <a:ext uri="{FF2B5EF4-FFF2-40B4-BE49-F238E27FC236}">
                  <a16:creationId xmlns:a16="http://schemas.microsoft.com/office/drawing/2014/main" id="{75C0E457-27D8-F9B1-2602-F5A569BECB7B}"/>
                </a:ext>
              </a:extLst>
            </p:cNvPr>
            <p:cNvSpPr>
              <a:spLocks noEditPoints="1"/>
            </p:cNvSpPr>
            <p:nvPr userDrawn="1"/>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9" name="Freeform 352">
              <a:extLst>
                <a:ext uri="{FF2B5EF4-FFF2-40B4-BE49-F238E27FC236}">
                  <a16:creationId xmlns:a16="http://schemas.microsoft.com/office/drawing/2014/main" id="{1FFC072C-09E7-D98F-E1DF-5B107F0D1DD2}"/>
                </a:ext>
              </a:extLst>
            </p:cNvPr>
            <p:cNvSpPr>
              <a:spLocks/>
            </p:cNvSpPr>
            <p:nvPr userDrawn="1"/>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0" name="Freeform 353">
              <a:extLst>
                <a:ext uri="{FF2B5EF4-FFF2-40B4-BE49-F238E27FC236}">
                  <a16:creationId xmlns:a16="http://schemas.microsoft.com/office/drawing/2014/main" id="{406B80BE-58A2-3F69-1C2C-469BE42D6FCD}"/>
                </a:ext>
              </a:extLst>
            </p:cNvPr>
            <p:cNvSpPr>
              <a:spLocks/>
            </p:cNvSpPr>
            <p:nvPr userDrawn="1"/>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1" name="Freeform 354">
              <a:extLst>
                <a:ext uri="{FF2B5EF4-FFF2-40B4-BE49-F238E27FC236}">
                  <a16:creationId xmlns:a16="http://schemas.microsoft.com/office/drawing/2014/main" id="{4018C330-23D4-0A17-6434-F00B77A8010D}"/>
                </a:ext>
              </a:extLst>
            </p:cNvPr>
            <p:cNvSpPr>
              <a:spLocks/>
            </p:cNvSpPr>
            <p:nvPr userDrawn="1"/>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2" name="Freeform 355">
              <a:extLst>
                <a:ext uri="{FF2B5EF4-FFF2-40B4-BE49-F238E27FC236}">
                  <a16:creationId xmlns:a16="http://schemas.microsoft.com/office/drawing/2014/main" id="{01814FE1-433E-8DF9-6D1E-22F4A052BE53}"/>
                </a:ext>
              </a:extLst>
            </p:cNvPr>
            <p:cNvSpPr>
              <a:spLocks/>
            </p:cNvSpPr>
            <p:nvPr userDrawn="1"/>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3" name="Freeform 356">
              <a:extLst>
                <a:ext uri="{FF2B5EF4-FFF2-40B4-BE49-F238E27FC236}">
                  <a16:creationId xmlns:a16="http://schemas.microsoft.com/office/drawing/2014/main" id="{BC65F4E6-4D7F-7668-5FF9-5C95C4984B01}"/>
                </a:ext>
              </a:extLst>
            </p:cNvPr>
            <p:cNvSpPr>
              <a:spLocks/>
            </p:cNvSpPr>
            <p:nvPr userDrawn="1"/>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4" name="Freeform 357">
              <a:extLst>
                <a:ext uri="{FF2B5EF4-FFF2-40B4-BE49-F238E27FC236}">
                  <a16:creationId xmlns:a16="http://schemas.microsoft.com/office/drawing/2014/main" id="{99A57844-1CA6-94C9-023F-296C4B2AB507}"/>
                </a:ext>
              </a:extLst>
            </p:cNvPr>
            <p:cNvSpPr>
              <a:spLocks/>
            </p:cNvSpPr>
            <p:nvPr userDrawn="1"/>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5" name="Freeform 358">
              <a:extLst>
                <a:ext uri="{FF2B5EF4-FFF2-40B4-BE49-F238E27FC236}">
                  <a16:creationId xmlns:a16="http://schemas.microsoft.com/office/drawing/2014/main" id="{92E7701C-09C6-04AC-DCA5-F83B9D2A474A}"/>
                </a:ext>
              </a:extLst>
            </p:cNvPr>
            <p:cNvSpPr>
              <a:spLocks/>
            </p:cNvSpPr>
            <p:nvPr userDrawn="1"/>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6" name="Freeform 359">
              <a:extLst>
                <a:ext uri="{FF2B5EF4-FFF2-40B4-BE49-F238E27FC236}">
                  <a16:creationId xmlns:a16="http://schemas.microsoft.com/office/drawing/2014/main" id="{D1FE5D30-7EF7-E2FF-6FFA-C05467AB25F3}"/>
                </a:ext>
              </a:extLst>
            </p:cNvPr>
            <p:cNvSpPr>
              <a:spLocks/>
            </p:cNvSpPr>
            <p:nvPr userDrawn="1"/>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7" name="Freeform 360">
              <a:extLst>
                <a:ext uri="{FF2B5EF4-FFF2-40B4-BE49-F238E27FC236}">
                  <a16:creationId xmlns:a16="http://schemas.microsoft.com/office/drawing/2014/main" id="{FB00BF0E-98AE-0D91-F14C-B2B6F92FE95B}"/>
                </a:ext>
              </a:extLst>
            </p:cNvPr>
            <p:cNvSpPr>
              <a:spLocks/>
            </p:cNvSpPr>
            <p:nvPr userDrawn="1"/>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rgbClr val="00243D"/>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8" name="Freeform 361">
              <a:extLst>
                <a:ext uri="{FF2B5EF4-FFF2-40B4-BE49-F238E27FC236}">
                  <a16:creationId xmlns:a16="http://schemas.microsoft.com/office/drawing/2014/main" id="{F12F35B2-43B2-73C7-036E-61B0D2E322E3}"/>
                </a:ext>
              </a:extLst>
            </p:cNvPr>
            <p:cNvSpPr>
              <a:spLocks/>
            </p:cNvSpPr>
            <p:nvPr userDrawn="1"/>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rgbClr val="00243D"/>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grpSp>
      <p:sp>
        <p:nvSpPr>
          <p:cNvPr id="509" name="Text Placeholder 12">
            <a:extLst>
              <a:ext uri="{FF2B5EF4-FFF2-40B4-BE49-F238E27FC236}">
                <a16:creationId xmlns:a16="http://schemas.microsoft.com/office/drawing/2014/main" id="{59580711-8C80-A3AE-AAF7-F538314BCD98}"/>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bg1"/>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pic>
        <p:nvPicPr>
          <p:cNvPr id="3" name="Picture 2">
            <a:extLst>
              <a:ext uri="{FF2B5EF4-FFF2-40B4-BE49-F238E27FC236}">
                <a16:creationId xmlns:a16="http://schemas.microsoft.com/office/drawing/2014/main" id="{145F32D6-ABB3-F35A-9112-7CA4251761B2}"/>
              </a:ext>
            </a:extLst>
          </p:cNvPr>
          <p:cNvPicPr>
            <a:picLocks noChangeAspect="1"/>
          </p:cNvPicPr>
          <p:nvPr userDrawn="1"/>
        </p:nvPicPr>
        <p:blipFill>
          <a:blip r:embed="rId2"/>
          <a:stretch>
            <a:fillRect/>
          </a:stretch>
        </p:blipFill>
        <p:spPr>
          <a:xfrm>
            <a:off x="9354396" y="6142501"/>
            <a:ext cx="1893795" cy="152200"/>
          </a:xfrm>
          <a:prstGeom prst="rect">
            <a:avLst/>
          </a:prstGeom>
        </p:spPr>
      </p:pic>
      <p:sp>
        <p:nvSpPr>
          <p:cNvPr id="5" name="Rectangle 50">
            <a:extLst>
              <a:ext uri="{FF2B5EF4-FFF2-40B4-BE49-F238E27FC236}">
                <a16:creationId xmlns:a16="http://schemas.microsoft.com/office/drawing/2014/main" id="{DD00502D-575A-1B3B-74E6-B136C7616BA4}"/>
              </a:ext>
            </a:extLst>
          </p:cNvPr>
          <p:cNvSpPr>
            <a:spLocks noChangeArrowheads="1"/>
          </p:cNvSpPr>
          <p:nvPr userDrawn="1"/>
        </p:nvSpPr>
        <p:spPr bwMode="auto">
          <a:xfrm>
            <a:off x="576025" y="6142165"/>
            <a:ext cx="4986890" cy="208647"/>
          </a:xfrm>
          <a:prstGeom prst="rect">
            <a:avLst/>
          </a:prstGeom>
          <a:noFill/>
          <a:ln w="12700" algn="ctr">
            <a:noFill/>
            <a:miter lim="800000"/>
            <a:headEnd/>
            <a:tailEnd/>
          </a:ln>
          <a:effectLst/>
        </p:spPr>
        <p:txBody>
          <a:bodyPr wrap="square" lIns="0" anchor="ctr">
            <a:spAutoFit/>
          </a:bodyPr>
          <a:lstStyle/>
          <a:p>
            <a:r>
              <a:rPr lang="en-US" sz="756" b="1" dirty="0">
                <a:solidFill>
                  <a:schemeClr val="bg1"/>
                </a:solidFill>
                <a:latin typeface="Avenir Next LT Pro" panose="020B0504020202020204" pitchFamily="34" charset="77"/>
              </a:rPr>
              <a:t>For Use with Financial Professionals and Institutional Investors Only. Not for Use with the General Public.</a:t>
            </a:r>
          </a:p>
        </p:txBody>
      </p:sp>
    </p:spTree>
    <p:extLst>
      <p:ext uri="{BB962C8B-B14F-4D97-AF65-F5344CB8AC3E}">
        <p14:creationId xmlns:p14="http://schemas.microsoft.com/office/powerpoint/2010/main" val="686885275"/>
      </p:ext>
    </p:extLst>
  </p:cSld>
  <p:clrMapOvr>
    <a:masterClrMapping/>
  </p:clrMapOvr>
  <p:transition>
    <p:wip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3 - World map">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3FC1429-90FE-1D09-E45C-F19EE68FD8C5}"/>
              </a:ext>
            </a:extLst>
          </p:cNvPr>
          <p:cNvGrpSpPr/>
          <p:nvPr userDrawn="1"/>
        </p:nvGrpSpPr>
        <p:grpSpPr>
          <a:xfrm>
            <a:off x="3408053" y="1294476"/>
            <a:ext cx="7971355" cy="4341768"/>
            <a:chOff x="405196" y="330205"/>
            <a:chExt cx="11378455" cy="6197686"/>
          </a:xfrm>
          <a:solidFill>
            <a:schemeClr val="bg1">
              <a:lumMod val="75000"/>
            </a:schemeClr>
          </a:solidFill>
        </p:grpSpPr>
        <p:grpSp>
          <p:nvGrpSpPr>
            <p:cNvPr id="9" name="Group 205">
              <a:extLst>
                <a:ext uri="{FF2B5EF4-FFF2-40B4-BE49-F238E27FC236}">
                  <a16:creationId xmlns:a16="http://schemas.microsoft.com/office/drawing/2014/main" id="{F63F6BCF-1131-8ECD-D137-322F7BD8B742}"/>
                </a:ext>
              </a:extLst>
            </p:cNvPr>
            <p:cNvGrpSpPr>
              <a:grpSpLocks/>
            </p:cNvGrpSpPr>
            <p:nvPr userDrawn="1"/>
          </p:nvGrpSpPr>
          <p:grpSpPr bwMode="auto">
            <a:xfrm>
              <a:off x="2176455" y="418231"/>
              <a:ext cx="9565878" cy="5728817"/>
              <a:chOff x="1003" y="129"/>
              <a:chExt cx="5325" cy="3189"/>
            </a:xfrm>
            <a:grpFill/>
          </p:grpSpPr>
          <p:sp>
            <p:nvSpPr>
              <p:cNvPr id="307" name="Freeform 5">
                <a:extLst>
                  <a:ext uri="{FF2B5EF4-FFF2-40B4-BE49-F238E27FC236}">
                    <a16:creationId xmlns:a16="http://schemas.microsoft.com/office/drawing/2014/main" id="{F67D1E0B-FC64-E92B-CAD7-B097B980FB24}"/>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8" name="Freeform 6">
                <a:extLst>
                  <a:ext uri="{FF2B5EF4-FFF2-40B4-BE49-F238E27FC236}">
                    <a16:creationId xmlns:a16="http://schemas.microsoft.com/office/drawing/2014/main" id="{C0B313EE-697D-CE4E-5342-9294028FF1D9}"/>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9" name="Freeform 7">
                <a:extLst>
                  <a:ext uri="{FF2B5EF4-FFF2-40B4-BE49-F238E27FC236}">
                    <a16:creationId xmlns:a16="http://schemas.microsoft.com/office/drawing/2014/main" id="{E4A283FB-CBEC-1CA2-FF52-710675A534D3}"/>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0" name="Freeform 8">
                <a:extLst>
                  <a:ext uri="{FF2B5EF4-FFF2-40B4-BE49-F238E27FC236}">
                    <a16:creationId xmlns:a16="http://schemas.microsoft.com/office/drawing/2014/main" id="{76B0502D-D07B-B1BA-7B5B-F66F2BCD461D}"/>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1" name="Freeform 9">
                <a:extLst>
                  <a:ext uri="{FF2B5EF4-FFF2-40B4-BE49-F238E27FC236}">
                    <a16:creationId xmlns:a16="http://schemas.microsoft.com/office/drawing/2014/main" id="{542A1E4E-0C6D-1E55-E6DB-EECF5B5DD8A9}"/>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2" name="Freeform 10">
                <a:extLst>
                  <a:ext uri="{FF2B5EF4-FFF2-40B4-BE49-F238E27FC236}">
                    <a16:creationId xmlns:a16="http://schemas.microsoft.com/office/drawing/2014/main" id="{AB9BE5DE-0443-9D26-6965-E2F92DA17931}"/>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3" name="Freeform 11">
                <a:extLst>
                  <a:ext uri="{FF2B5EF4-FFF2-40B4-BE49-F238E27FC236}">
                    <a16:creationId xmlns:a16="http://schemas.microsoft.com/office/drawing/2014/main" id="{030AEE82-4387-4EF4-8DAC-604533EC5703}"/>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4" name="Freeform 12">
                <a:extLst>
                  <a:ext uri="{FF2B5EF4-FFF2-40B4-BE49-F238E27FC236}">
                    <a16:creationId xmlns:a16="http://schemas.microsoft.com/office/drawing/2014/main" id="{4CFAA325-6BF3-C715-BAC4-D498B899F2A2}"/>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5" name="Freeform 13">
                <a:extLst>
                  <a:ext uri="{FF2B5EF4-FFF2-40B4-BE49-F238E27FC236}">
                    <a16:creationId xmlns:a16="http://schemas.microsoft.com/office/drawing/2014/main" id="{FBB88D88-C9C8-B6DF-9499-CB79F9378E74}"/>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6" name="Freeform 14">
                <a:extLst>
                  <a:ext uri="{FF2B5EF4-FFF2-40B4-BE49-F238E27FC236}">
                    <a16:creationId xmlns:a16="http://schemas.microsoft.com/office/drawing/2014/main" id="{B58EDD13-0989-80A3-C770-9DF5CF27A3C5}"/>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7" name="Freeform 15">
                <a:extLst>
                  <a:ext uri="{FF2B5EF4-FFF2-40B4-BE49-F238E27FC236}">
                    <a16:creationId xmlns:a16="http://schemas.microsoft.com/office/drawing/2014/main" id="{953DFAA5-5E2E-BA5D-F09B-8C0AAC24B593}"/>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8" name="Freeform 16">
                <a:extLst>
                  <a:ext uri="{FF2B5EF4-FFF2-40B4-BE49-F238E27FC236}">
                    <a16:creationId xmlns:a16="http://schemas.microsoft.com/office/drawing/2014/main" id="{13D6EF33-A52F-0054-044C-20A00CDA471C}"/>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19" name="Freeform 17">
                <a:extLst>
                  <a:ext uri="{FF2B5EF4-FFF2-40B4-BE49-F238E27FC236}">
                    <a16:creationId xmlns:a16="http://schemas.microsoft.com/office/drawing/2014/main" id="{4CE24B56-2DDF-8DA5-E43E-77817D6594FE}"/>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0" name="Freeform 18">
                <a:extLst>
                  <a:ext uri="{FF2B5EF4-FFF2-40B4-BE49-F238E27FC236}">
                    <a16:creationId xmlns:a16="http://schemas.microsoft.com/office/drawing/2014/main" id="{3555D67B-FF88-D61F-EF9F-B892D2C2DF1D}"/>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1" name="Freeform 19">
                <a:extLst>
                  <a:ext uri="{FF2B5EF4-FFF2-40B4-BE49-F238E27FC236}">
                    <a16:creationId xmlns:a16="http://schemas.microsoft.com/office/drawing/2014/main" id="{93547F64-41EB-5452-D4B2-F6FC00835611}"/>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2" name="Freeform 20">
                <a:extLst>
                  <a:ext uri="{FF2B5EF4-FFF2-40B4-BE49-F238E27FC236}">
                    <a16:creationId xmlns:a16="http://schemas.microsoft.com/office/drawing/2014/main" id="{6684ED28-F666-CBA2-3F7F-8269B4E6DCE4}"/>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3" name="Freeform 21">
                <a:extLst>
                  <a:ext uri="{FF2B5EF4-FFF2-40B4-BE49-F238E27FC236}">
                    <a16:creationId xmlns:a16="http://schemas.microsoft.com/office/drawing/2014/main" id="{430B3A8B-398B-8ACB-EB10-F0CC7D54A7BB}"/>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4" name="Freeform 22">
                <a:extLst>
                  <a:ext uri="{FF2B5EF4-FFF2-40B4-BE49-F238E27FC236}">
                    <a16:creationId xmlns:a16="http://schemas.microsoft.com/office/drawing/2014/main" id="{9D5059BB-B1DA-30D8-866E-DEA371D0578C}"/>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5" name="Freeform 23">
                <a:extLst>
                  <a:ext uri="{FF2B5EF4-FFF2-40B4-BE49-F238E27FC236}">
                    <a16:creationId xmlns:a16="http://schemas.microsoft.com/office/drawing/2014/main" id="{4DF01A50-A1B0-4EEE-F5BD-DA420CDB0F2F}"/>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6" name="Freeform 24">
                <a:extLst>
                  <a:ext uri="{FF2B5EF4-FFF2-40B4-BE49-F238E27FC236}">
                    <a16:creationId xmlns:a16="http://schemas.microsoft.com/office/drawing/2014/main" id="{EBCBC3AA-568C-283F-6A4B-64DA7077DDDA}"/>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7" name="Freeform 25">
                <a:extLst>
                  <a:ext uri="{FF2B5EF4-FFF2-40B4-BE49-F238E27FC236}">
                    <a16:creationId xmlns:a16="http://schemas.microsoft.com/office/drawing/2014/main" id="{6628B80E-6CFC-02C7-E7B3-69CDF3714B87}"/>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8" name="Freeform 26">
                <a:extLst>
                  <a:ext uri="{FF2B5EF4-FFF2-40B4-BE49-F238E27FC236}">
                    <a16:creationId xmlns:a16="http://schemas.microsoft.com/office/drawing/2014/main" id="{607E5D90-C532-16DC-F7C7-821CF2FA9F01}"/>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29" name="Freeform 27">
                <a:extLst>
                  <a:ext uri="{FF2B5EF4-FFF2-40B4-BE49-F238E27FC236}">
                    <a16:creationId xmlns:a16="http://schemas.microsoft.com/office/drawing/2014/main" id="{6B8864CA-F5F5-2FA6-D854-6C321BE2833E}"/>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0" name="Freeform 28">
                <a:extLst>
                  <a:ext uri="{FF2B5EF4-FFF2-40B4-BE49-F238E27FC236}">
                    <a16:creationId xmlns:a16="http://schemas.microsoft.com/office/drawing/2014/main" id="{7C017FF6-E57F-0F87-33A3-C75DE8A211B4}"/>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1" name="Freeform 29">
                <a:extLst>
                  <a:ext uri="{FF2B5EF4-FFF2-40B4-BE49-F238E27FC236}">
                    <a16:creationId xmlns:a16="http://schemas.microsoft.com/office/drawing/2014/main" id="{75CE9EF3-6969-F596-4CC3-59273956A3E4}"/>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2" name="Freeform 30">
                <a:extLst>
                  <a:ext uri="{FF2B5EF4-FFF2-40B4-BE49-F238E27FC236}">
                    <a16:creationId xmlns:a16="http://schemas.microsoft.com/office/drawing/2014/main" id="{D8F05496-B5E1-85B8-C391-DDF1C6ECB326}"/>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3" name="Freeform 31">
                <a:extLst>
                  <a:ext uri="{FF2B5EF4-FFF2-40B4-BE49-F238E27FC236}">
                    <a16:creationId xmlns:a16="http://schemas.microsoft.com/office/drawing/2014/main" id="{041CC3E7-7F4B-4E20-E520-6EDCC11A995E}"/>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4" name="Freeform 32">
                <a:extLst>
                  <a:ext uri="{FF2B5EF4-FFF2-40B4-BE49-F238E27FC236}">
                    <a16:creationId xmlns:a16="http://schemas.microsoft.com/office/drawing/2014/main" id="{9D64A9C3-3E0F-A5F5-FEA5-93FE5178D781}"/>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5" name="Freeform 33">
                <a:extLst>
                  <a:ext uri="{FF2B5EF4-FFF2-40B4-BE49-F238E27FC236}">
                    <a16:creationId xmlns:a16="http://schemas.microsoft.com/office/drawing/2014/main" id="{F59573DF-8C7E-C262-AE97-0B76E49F829C}"/>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6" name="Freeform 34">
                <a:extLst>
                  <a:ext uri="{FF2B5EF4-FFF2-40B4-BE49-F238E27FC236}">
                    <a16:creationId xmlns:a16="http://schemas.microsoft.com/office/drawing/2014/main" id="{00663BD6-EDC4-35F9-0FB1-C236E301B0D1}"/>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7" name="Freeform 35">
                <a:extLst>
                  <a:ext uri="{FF2B5EF4-FFF2-40B4-BE49-F238E27FC236}">
                    <a16:creationId xmlns:a16="http://schemas.microsoft.com/office/drawing/2014/main" id="{96C3CE2C-B49E-799C-9C9F-B639E7834F65}"/>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8" name="Freeform 36">
                <a:extLst>
                  <a:ext uri="{FF2B5EF4-FFF2-40B4-BE49-F238E27FC236}">
                    <a16:creationId xmlns:a16="http://schemas.microsoft.com/office/drawing/2014/main" id="{9EA9BD1A-2902-3B4C-82DA-1A4DC5AA1CAA}"/>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39" name="Freeform 37">
                <a:extLst>
                  <a:ext uri="{FF2B5EF4-FFF2-40B4-BE49-F238E27FC236}">
                    <a16:creationId xmlns:a16="http://schemas.microsoft.com/office/drawing/2014/main" id="{1A5B10CA-8E90-86FB-A451-1E0A14A53397}"/>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0" name="Freeform 38">
                <a:extLst>
                  <a:ext uri="{FF2B5EF4-FFF2-40B4-BE49-F238E27FC236}">
                    <a16:creationId xmlns:a16="http://schemas.microsoft.com/office/drawing/2014/main" id="{7ACDDA65-36A1-07E3-08FE-0C264DE07FC3}"/>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1" name="Freeform 39">
                <a:extLst>
                  <a:ext uri="{FF2B5EF4-FFF2-40B4-BE49-F238E27FC236}">
                    <a16:creationId xmlns:a16="http://schemas.microsoft.com/office/drawing/2014/main" id="{913E5015-A809-AB32-98A2-532ADBA33C40}"/>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2" name="Freeform 40">
                <a:extLst>
                  <a:ext uri="{FF2B5EF4-FFF2-40B4-BE49-F238E27FC236}">
                    <a16:creationId xmlns:a16="http://schemas.microsoft.com/office/drawing/2014/main" id="{37A0C160-42E1-B61F-429B-246CA04CD048}"/>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3" name="Freeform 41">
                <a:extLst>
                  <a:ext uri="{FF2B5EF4-FFF2-40B4-BE49-F238E27FC236}">
                    <a16:creationId xmlns:a16="http://schemas.microsoft.com/office/drawing/2014/main" id="{68F127DB-0D5A-668B-C484-671AF49FE368}"/>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4" name="Freeform 42">
                <a:extLst>
                  <a:ext uri="{FF2B5EF4-FFF2-40B4-BE49-F238E27FC236}">
                    <a16:creationId xmlns:a16="http://schemas.microsoft.com/office/drawing/2014/main" id="{2F6756FE-9468-B3C1-AB43-CE10F33FEF6E}"/>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5" name="Freeform 43">
                <a:extLst>
                  <a:ext uri="{FF2B5EF4-FFF2-40B4-BE49-F238E27FC236}">
                    <a16:creationId xmlns:a16="http://schemas.microsoft.com/office/drawing/2014/main" id="{A60BE8C8-F987-E112-0FF2-4853500100A6}"/>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6" name="Freeform 44">
                <a:extLst>
                  <a:ext uri="{FF2B5EF4-FFF2-40B4-BE49-F238E27FC236}">
                    <a16:creationId xmlns:a16="http://schemas.microsoft.com/office/drawing/2014/main" id="{2AD14855-1EE1-5982-4D87-4195C6A1FA5E}"/>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7" name="Freeform 45">
                <a:extLst>
                  <a:ext uri="{FF2B5EF4-FFF2-40B4-BE49-F238E27FC236}">
                    <a16:creationId xmlns:a16="http://schemas.microsoft.com/office/drawing/2014/main" id="{82B629FC-C8E6-8E22-D57A-45ED36A4DB53}"/>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8" name="Freeform 46">
                <a:extLst>
                  <a:ext uri="{FF2B5EF4-FFF2-40B4-BE49-F238E27FC236}">
                    <a16:creationId xmlns:a16="http://schemas.microsoft.com/office/drawing/2014/main" id="{1F6362F3-84EF-5B8B-DC08-69AD6483005D}"/>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49" name="Freeform 47">
                <a:extLst>
                  <a:ext uri="{FF2B5EF4-FFF2-40B4-BE49-F238E27FC236}">
                    <a16:creationId xmlns:a16="http://schemas.microsoft.com/office/drawing/2014/main" id="{C4D78545-D6A1-A884-CBD4-E8E3B12A0D1C}"/>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0" name="Freeform 48">
                <a:extLst>
                  <a:ext uri="{FF2B5EF4-FFF2-40B4-BE49-F238E27FC236}">
                    <a16:creationId xmlns:a16="http://schemas.microsoft.com/office/drawing/2014/main" id="{DB2C222A-698C-4DBC-D028-D3D318A52356}"/>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1" name="Freeform 49">
                <a:extLst>
                  <a:ext uri="{FF2B5EF4-FFF2-40B4-BE49-F238E27FC236}">
                    <a16:creationId xmlns:a16="http://schemas.microsoft.com/office/drawing/2014/main" id="{AA225234-3C9F-7013-87BF-323090451615}"/>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2" name="Freeform 50">
                <a:extLst>
                  <a:ext uri="{FF2B5EF4-FFF2-40B4-BE49-F238E27FC236}">
                    <a16:creationId xmlns:a16="http://schemas.microsoft.com/office/drawing/2014/main" id="{B8D9A004-76EA-F1AC-E136-873177559861}"/>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3" name="Freeform 51">
                <a:extLst>
                  <a:ext uri="{FF2B5EF4-FFF2-40B4-BE49-F238E27FC236}">
                    <a16:creationId xmlns:a16="http://schemas.microsoft.com/office/drawing/2014/main" id="{A72D9642-7ECA-2DB6-179C-FDC044F1CD6B}"/>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4" name="Freeform 52">
                <a:extLst>
                  <a:ext uri="{FF2B5EF4-FFF2-40B4-BE49-F238E27FC236}">
                    <a16:creationId xmlns:a16="http://schemas.microsoft.com/office/drawing/2014/main" id="{B9B6EBD4-6F4F-5403-18F6-726D762C49DB}"/>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5" name="Freeform 53">
                <a:extLst>
                  <a:ext uri="{FF2B5EF4-FFF2-40B4-BE49-F238E27FC236}">
                    <a16:creationId xmlns:a16="http://schemas.microsoft.com/office/drawing/2014/main" id="{F01EA598-70FB-9651-E35A-862FBD532998}"/>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6" name="Freeform 54">
                <a:extLst>
                  <a:ext uri="{FF2B5EF4-FFF2-40B4-BE49-F238E27FC236}">
                    <a16:creationId xmlns:a16="http://schemas.microsoft.com/office/drawing/2014/main" id="{D1E5F0F4-B9D8-A4AB-D025-43F7ABCC83AF}"/>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7" name="Freeform 55">
                <a:extLst>
                  <a:ext uri="{FF2B5EF4-FFF2-40B4-BE49-F238E27FC236}">
                    <a16:creationId xmlns:a16="http://schemas.microsoft.com/office/drawing/2014/main" id="{F19F2497-BB24-47EF-345A-1419B542560A}"/>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8" name="Freeform 56">
                <a:extLst>
                  <a:ext uri="{FF2B5EF4-FFF2-40B4-BE49-F238E27FC236}">
                    <a16:creationId xmlns:a16="http://schemas.microsoft.com/office/drawing/2014/main" id="{86F9C87C-7A04-E518-C54D-44976A583B66}"/>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59" name="Freeform 57">
                <a:extLst>
                  <a:ext uri="{FF2B5EF4-FFF2-40B4-BE49-F238E27FC236}">
                    <a16:creationId xmlns:a16="http://schemas.microsoft.com/office/drawing/2014/main" id="{4C5FAD80-BCCC-9A3F-5040-D81B7D296B90}"/>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0" name="Freeform 58">
                <a:extLst>
                  <a:ext uri="{FF2B5EF4-FFF2-40B4-BE49-F238E27FC236}">
                    <a16:creationId xmlns:a16="http://schemas.microsoft.com/office/drawing/2014/main" id="{2E394C30-4AF2-1ABA-249E-41485B406A9C}"/>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1" name="Freeform 59">
                <a:extLst>
                  <a:ext uri="{FF2B5EF4-FFF2-40B4-BE49-F238E27FC236}">
                    <a16:creationId xmlns:a16="http://schemas.microsoft.com/office/drawing/2014/main" id="{472A56D8-9308-450C-30C6-53A45EF1E0BD}"/>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2" name="Freeform 60">
                <a:extLst>
                  <a:ext uri="{FF2B5EF4-FFF2-40B4-BE49-F238E27FC236}">
                    <a16:creationId xmlns:a16="http://schemas.microsoft.com/office/drawing/2014/main" id="{F78C7C0E-69FE-7450-C824-3EF3165A738C}"/>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3" name="Freeform 61">
                <a:extLst>
                  <a:ext uri="{FF2B5EF4-FFF2-40B4-BE49-F238E27FC236}">
                    <a16:creationId xmlns:a16="http://schemas.microsoft.com/office/drawing/2014/main" id="{03A39D8C-8AB2-E332-C119-456E870DC5FA}"/>
                  </a:ext>
                </a:extLst>
              </p:cNvPr>
              <p:cNvSpPr>
                <a:spLocks/>
              </p:cNvSpPr>
              <p:nvPr userDrawn="1"/>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4" name="Freeform 62">
                <a:extLst>
                  <a:ext uri="{FF2B5EF4-FFF2-40B4-BE49-F238E27FC236}">
                    <a16:creationId xmlns:a16="http://schemas.microsoft.com/office/drawing/2014/main" id="{FCEA48EF-D90D-CF24-FE7D-6085BF46C665}"/>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5" name="Freeform 63">
                <a:extLst>
                  <a:ext uri="{FF2B5EF4-FFF2-40B4-BE49-F238E27FC236}">
                    <a16:creationId xmlns:a16="http://schemas.microsoft.com/office/drawing/2014/main" id="{0516B38B-1FBB-42DE-6E3D-8FF7B04900A5}"/>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6" name="Freeform 64">
                <a:extLst>
                  <a:ext uri="{FF2B5EF4-FFF2-40B4-BE49-F238E27FC236}">
                    <a16:creationId xmlns:a16="http://schemas.microsoft.com/office/drawing/2014/main" id="{D0D6A575-05A9-8368-F2F3-E86D97F95E2F}"/>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7" name="Freeform 65">
                <a:extLst>
                  <a:ext uri="{FF2B5EF4-FFF2-40B4-BE49-F238E27FC236}">
                    <a16:creationId xmlns:a16="http://schemas.microsoft.com/office/drawing/2014/main" id="{FD434550-022B-CC4C-2D81-B4C44BCA4316}"/>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8" name="Freeform 66">
                <a:extLst>
                  <a:ext uri="{FF2B5EF4-FFF2-40B4-BE49-F238E27FC236}">
                    <a16:creationId xmlns:a16="http://schemas.microsoft.com/office/drawing/2014/main" id="{0A79762E-C798-4BFA-8141-C7B08E446C2E}"/>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69" name="Freeform 67">
                <a:extLst>
                  <a:ext uri="{FF2B5EF4-FFF2-40B4-BE49-F238E27FC236}">
                    <a16:creationId xmlns:a16="http://schemas.microsoft.com/office/drawing/2014/main" id="{FBC65868-2A41-AE06-845D-9526E30626D3}"/>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0" name="Freeform 68">
                <a:extLst>
                  <a:ext uri="{FF2B5EF4-FFF2-40B4-BE49-F238E27FC236}">
                    <a16:creationId xmlns:a16="http://schemas.microsoft.com/office/drawing/2014/main" id="{F785BBA4-8B7C-5CDE-5643-2B8531EBDB51}"/>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1" name="Freeform 69">
                <a:extLst>
                  <a:ext uri="{FF2B5EF4-FFF2-40B4-BE49-F238E27FC236}">
                    <a16:creationId xmlns:a16="http://schemas.microsoft.com/office/drawing/2014/main" id="{56DBBE7F-D502-17A7-CCFE-E38E63BD96C7}"/>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2" name="Freeform 70">
                <a:extLst>
                  <a:ext uri="{FF2B5EF4-FFF2-40B4-BE49-F238E27FC236}">
                    <a16:creationId xmlns:a16="http://schemas.microsoft.com/office/drawing/2014/main" id="{C0FD99BE-D551-A3D8-B1E6-F31097EAE6F9}"/>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3" name="Freeform 71">
                <a:extLst>
                  <a:ext uri="{FF2B5EF4-FFF2-40B4-BE49-F238E27FC236}">
                    <a16:creationId xmlns:a16="http://schemas.microsoft.com/office/drawing/2014/main" id="{63BE6A34-3D16-55B8-28DF-4A5964B06B68}"/>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4" name="Freeform 72">
                <a:extLst>
                  <a:ext uri="{FF2B5EF4-FFF2-40B4-BE49-F238E27FC236}">
                    <a16:creationId xmlns:a16="http://schemas.microsoft.com/office/drawing/2014/main" id="{74CF5FC3-ED68-B02E-43EB-D01CECBAB351}"/>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5" name="Freeform 73">
                <a:extLst>
                  <a:ext uri="{FF2B5EF4-FFF2-40B4-BE49-F238E27FC236}">
                    <a16:creationId xmlns:a16="http://schemas.microsoft.com/office/drawing/2014/main" id="{CE2C6835-C1D3-027A-3319-AEFB0565A479}"/>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6" name="Freeform 74">
                <a:extLst>
                  <a:ext uri="{FF2B5EF4-FFF2-40B4-BE49-F238E27FC236}">
                    <a16:creationId xmlns:a16="http://schemas.microsoft.com/office/drawing/2014/main" id="{8E2E3F65-3D4A-478A-1519-59129583599F}"/>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7" name="Freeform 75">
                <a:extLst>
                  <a:ext uri="{FF2B5EF4-FFF2-40B4-BE49-F238E27FC236}">
                    <a16:creationId xmlns:a16="http://schemas.microsoft.com/office/drawing/2014/main" id="{EE5E8E30-1D43-2C2B-62C2-854FE3CF84A0}"/>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8" name="Freeform 76">
                <a:extLst>
                  <a:ext uri="{FF2B5EF4-FFF2-40B4-BE49-F238E27FC236}">
                    <a16:creationId xmlns:a16="http://schemas.microsoft.com/office/drawing/2014/main" id="{46239C04-42B0-6EF8-0635-E8F60A797405}"/>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79" name="Freeform 77">
                <a:extLst>
                  <a:ext uri="{FF2B5EF4-FFF2-40B4-BE49-F238E27FC236}">
                    <a16:creationId xmlns:a16="http://schemas.microsoft.com/office/drawing/2014/main" id="{D603EF4F-7EAC-0F2A-C1B3-F1B571A71A34}"/>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0" name="Freeform 78">
                <a:extLst>
                  <a:ext uri="{FF2B5EF4-FFF2-40B4-BE49-F238E27FC236}">
                    <a16:creationId xmlns:a16="http://schemas.microsoft.com/office/drawing/2014/main" id="{82CFA052-35D2-56D5-F3C8-09684100257C}"/>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1" name="Freeform 79">
                <a:extLst>
                  <a:ext uri="{FF2B5EF4-FFF2-40B4-BE49-F238E27FC236}">
                    <a16:creationId xmlns:a16="http://schemas.microsoft.com/office/drawing/2014/main" id="{CFE50BF0-E244-DE2A-1CD9-F102C6D0AA30}"/>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2" name="Freeform 80">
                <a:extLst>
                  <a:ext uri="{FF2B5EF4-FFF2-40B4-BE49-F238E27FC236}">
                    <a16:creationId xmlns:a16="http://schemas.microsoft.com/office/drawing/2014/main" id="{1CFCD1E4-8B1C-A204-79CA-8E3967AF2A8E}"/>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3" name="Freeform 81">
                <a:extLst>
                  <a:ext uri="{FF2B5EF4-FFF2-40B4-BE49-F238E27FC236}">
                    <a16:creationId xmlns:a16="http://schemas.microsoft.com/office/drawing/2014/main" id="{3FF9E68A-7DB4-3BD0-BE3E-245D381E2CA1}"/>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4" name="Freeform 82">
                <a:extLst>
                  <a:ext uri="{FF2B5EF4-FFF2-40B4-BE49-F238E27FC236}">
                    <a16:creationId xmlns:a16="http://schemas.microsoft.com/office/drawing/2014/main" id="{C7D49F9B-E067-C7BD-90D4-F08A9733645E}"/>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5" name="Freeform 83">
                <a:extLst>
                  <a:ext uri="{FF2B5EF4-FFF2-40B4-BE49-F238E27FC236}">
                    <a16:creationId xmlns:a16="http://schemas.microsoft.com/office/drawing/2014/main" id="{DAB29C69-C063-AAE6-5D2C-A4BFD0E13D82}"/>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6" name="Freeform 84">
                <a:extLst>
                  <a:ext uri="{FF2B5EF4-FFF2-40B4-BE49-F238E27FC236}">
                    <a16:creationId xmlns:a16="http://schemas.microsoft.com/office/drawing/2014/main" id="{51BA7F4B-FF09-9F0D-8439-0C1395B3AF15}"/>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7" name="Freeform 85">
                <a:extLst>
                  <a:ext uri="{FF2B5EF4-FFF2-40B4-BE49-F238E27FC236}">
                    <a16:creationId xmlns:a16="http://schemas.microsoft.com/office/drawing/2014/main" id="{588DCC3D-FD80-B388-F89F-C3854492D0A5}"/>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8" name="Freeform 86">
                <a:extLst>
                  <a:ext uri="{FF2B5EF4-FFF2-40B4-BE49-F238E27FC236}">
                    <a16:creationId xmlns:a16="http://schemas.microsoft.com/office/drawing/2014/main" id="{E69B3457-1346-AE37-6569-F6E1C2B04266}"/>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89" name="Freeform 87">
                <a:extLst>
                  <a:ext uri="{FF2B5EF4-FFF2-40B4-BE49-F238E27FC236}">
                    <a16:creationId xmlns:a16="http://schemas.microsoft.com/office/drawing/2014/main" id="{CF60E131-E3A4-7FB8-696B-FB54F60A9F2D}"/>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0" name="Freeform 88">
                <a:extLst>
                  <a:ext uri="{FF2B5EF4-FFF2-40B4-BE49-F238E27FC236}">
                    <a16:creationId xmlns:a16="http://schemas.microsoft.com/office/drawing/2014/main" id="{3F5EA05D-827D-5E1F-A492-59D9D74AC8F6}"/>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1" name="Freeform 89">
                <a:extLst>
                  <a:ext uri="{FF2B5EF4-FFF2-40B4-BE49-F238E27FC236}">
                    <a16:creationId xmlns:a16="http://schemas.microsoft.com/office/drawing/2014/main" id="{9422B7D3-A95F-D645-87C4-A6BEE3071328}"/>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2" name="Freeform 90">
                <a:extLst>
                  <a:ext uri="{FF2B5EF4-FFF2-40B4-BE49-F238E27FC236}">
                    <a16:creationId xmlns:a16="http://schemas.microsoft.com/office/drawing/2014/main" id="{B0D742FF-75DB-B3B1-9734-75DFF37D4761}"/>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3" name="Freeform 91">
                <a:extLst>
                  <a:ext uri="{FF2B5EF4-FFF2-40B4-BE49-F238E27FC236}">
                    <a16:creationId xmlns:a16="http://schemas.microsoft.com/office/drawing/2014/main" id="{634E34F2-7B6F-C1E1-015A-0213868614A6}"/>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4" name="Freeform 92">
                <a:extLst>
                  <a:ext uri="{FF2B5EF4-FFF2-40B4-BE49-F238E27FC236}">
                    <a16:creationId xmlns:a16="http://schemas.microsoft.com/office/drawing/2014/main" id="{FC5B0F58-D0F3-637E-873D-DE190B553201}"/>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5" name="Freeform 93">
                <a:extLst>
                  <a:ext uri="{FF2B5EF4-FFF2-40B4-BE49-F238E27FC236}">
                    <a16:creationId xmlns:a16="http://schemas.microsoft.com/office/drawing/2014/main" id="{DBAF61FB-DFE9-623C-6FEA-B3C657D44409}"/>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6" name="Freeform 94">
                <a:extLst>
                  <a:ext uri="{FF2B5EF4-FFF2-40B4-BE49-F238E27FC236}">
                    <a16:creationId xmlns:a16="http://schemas.microsoft.com/office/drawing/2014/main" id="{C89F0B26-A518-745E-ED45-1551C2230182}"/>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7" name="Freeform 95">
                <a:extLst>
                  <a:ext uri="{FF2B5EF4-FFF2-40B4-BE49-F238E27FC236}">
                    <a16:creationId xmlns:a16="http://schemas.microsoft.com/office/drawing/2014/main" id="{8B079C6F-ABD2-1D7A-FEC3-68DC9CFE8CE5}"/>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8" name="Freeform 96">
                <a:extLst>
                  <a:ext uri="{FF2B5EF4-FFF2-40B4-BE49-F238E27FC236}">
                    <a16:creationId xmlns:a16="http://schemas.microsoft.com/office/drawing/2014/main" id="{B344EBD2-72EF-B273-36CD-B5D760B59D39}"/>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99" name="Freeform 97">
                <a:extLst>
                  <a:ext uri="{FF2B5EF4-FFF2-40B4-BE49-F238E27FC236}">
                    <a16:creationId xmlns:a16="http://schemas.microsoft.com/office/drawing/2014/main" id="{9902F29C-2E1B-47BC-D1AB-59A9ACED6077}"/>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0" name="Freeform 98">
                <a:extLst>
                  <a:ext uri="{FF2B5EF4-FFF2-40B4-BE49-F238E27FC236}">
                    <a16:creationId xmlns:a16="http://schemas.microsoft.com/office/drawing/2014/main" id="{066592BD-DAE7-B774-91D6-0E475D139FD0}"/>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1" name="Freeform 99">
                <a:extLst>
                  <a:ext uri="{FF2B5EF4-FFF2-40B4-BE49-F238E27FC236}">
                    <a16:creationId xmlns:a16="http://schemas.microsoft.com/office/drawing/2014/main" id="{08009969-1D9A-92EA-6781-B8BD5E811B8A}"/>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2" name="Freeform 100">
                <a:extLst>
                  <a:ext uri="{FF2B5EF4-FFF2-40B4-BE49-F238E27FC236}">
                    <a16:creationId xmlns:a16="http://schemas.microsoft.com/office/drawing/2014/main" id="{8E96AC0C-244B-702D-B95C-67624D3492CC}"/>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3" name="Freeform 101">
                <a:extLst>
                  <a:ext uri="{FF2B5EF4-FFF2-40B4-BE49-F238E27FC236}">
                    <a16:creationId xmlns:a16="http://schemas.microsoft.com/office/drawing/2014/main" id="{A137591C-3BB8-E074-7388-11A2EB91D4CC}"/>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4" name="Freeform 102">
                <a:extLst>
                  <a:ext uri="{FF2B5EF4-FFF2-40B4-BE49-F238E27FC236}">
                    <a16:creationId xmlns:a16="http://schemas.microsoft.com/office/drawing/2014/main" id="{4420B15E-995F-1BCC-6964-F7CB90B4CBAB}"/>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5" name="Freeform 103">
                <a:extLst>
                  <a:ext uri="{FF2B5EF4-FFF2-40B4-BE49-F238E27FC236}">
                    <a16:creationId xmlns:a16="http://schemas.microsoft.com/office/drawing/2014/main" id="{14A868CD-2A60-66C2-9FF6-EE27ED41B704}"/>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6" name="Freeform 104">
                <a:extLst>
                  <a:ext uri="{FF2B5EF4-FFF2-40B4-BE49-F238E27FC236}">
                    <a16:creationId xmlns:a16="http://schemas.microsoft.com/office/drawing/2014/main" id="{F9F0100B-D0A2-CE49-F8AC-9C43A5A05ECD}"/>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7" name="Freeform 105">
                <a:extLst>
                  <a:ext uri="{FF2B5EF4-FFF2-40B4-BE49-F238E27FC236}">
                    <a16:creationId xmlns:a16="http://schemas.microsoft.com/office/drawing/2014/main" id="{8DD7CB4E-4F9D-FC4B-5756-6DBEB22A856D}"/>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8" name="Freeform 106">
                <a:extLst>
                  <a:ext uri="{FF2B5EF4-FFF2-40B4-BE49-F238E27FC236}">
                    <a16:creationId xmlns:a16="http://schemas.microsoft.com/office/drawing/2014/main" id="{38A1243B-0B51-2333-0C93-1DA5901F7D22}"/>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09" name="Freeform 107">
                <a:extLst>
                  <a:ext uri="{FF2B5EF4-FFF2-40B4-BE49-F238E27FC236}">
                    <a16:creationId xmlns:a16="http://schemas.microsoft.com/office/drawing/2014/main" id="{83B757E5-7E49-204B-B8BB-A748A68A1F39}"/>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0" name="Freeform 108">
                <a:extLst>
                  <a:ext uri="{FF2B5EF4-FFF2-40B4-BE49-F238E27FC236}">
                    <a16:creationId xmlns:a16="http://schemas.microsoft.com/office/drawing/2014/main" id="{63275D56-B3C6-2E68-63BB-CB2D0A0D0054}"/>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1" name="Freeform 109">
                <a:extLst>
                  <a:ext uri="{FF2B5EF4-FFF2-40B4-BE49-F238E27FC236}">
                    <a16:creationId xmlns:a16="http://schemas.microsoft.com/office/drawing/2014/main" id="{C5FCF74C-30D9-3A99-8CBA-733FA84FAF8A}"/>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2" name="Freeform 110">
                <a:extLst>
                  <a:ext uri="{FF2B5EF4-FFF2-40B4-BE49-F238E27FC236}">
                    <a16:creationId xmlns:a16="http://schemas.microsoft.com/office/drawing/2014/main" id="{ACEE47B7-BCB7-B9C4-805B-D17D690101E0}"/>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3" name="Freeform 111">
                <a:extLst>
                  <a:ext uri="{FF2B5EF4-FFF2-40B4-BE49-F238E27FC236}">
                    <a16:creationId xmlns:a16="http://schemas.microsoft.com/office/drawing/2014/main" id="{AD47550D-8EC4-E439-767F-A2E60A1FF1BD}"/>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4" name="Freeform 112">
                <a:extLst>
                  <a:ext uri="{FF2B5EF4-FFF2-40B4-BE49-F238E27FC236}">
                    <a16:creationId xmlns:a16="http://schemas.microsoft.com/office/drawing/2014/main" id="{78B45C2F-A21A-03B4-A745-D89C98E2DEBC}"/>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5" name="Freeform 113">
                <a:extLst>
                  <a:ext uri="{FF2B5EF4-FFF2-40B4-BE49-F238E27FC236}">
                    <a16:creationId xmlns:a16="http://schemas.microsoft.com/office/drawing/2014/main" id="{788E0218-C03D-868B-5CD3-53FC4EDBACCF}"/>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416" name="Freeform 114">
                <a:extLst>
                  <a:ext uri="{FF2B5EF4-FFF2-40B4-BE49-F238E27FC236}">
                    <a16:creationId xmlns:a16="http://schemas.microsoft.com/office/drawing/2014/main" id="{C8B62AC7-95D7-6B05-D32B-12DEE8B74FA5}"/>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7" name="Freeform 115">
                <a:extLst>
                  <a:ext uri="{FF2B5EF4-FFF2-40B4-BE49-F238E27FC236}">
                    <a16:creationId xmlns:a16="http://schemas.microsoft.com/office/drawing/2014/main" id="{51C5CDAB-5C88-F367-B4A9-6083C105DFD8}"/>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8" name="Freeform 116">
                <a:extLst>
                  <a:ext uri="{FF2B5EF4-FFF2-40B4-BE49-F238E27FC236}">
                    <a16:creationId xmlns:a16="http://schemas.microsoft.com/office/drawing/2014/main" id="{194A7F31-A68F-C32E-1083-89B520D81265}"/>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19" name="Freeform 117">
                <a:extLst>
                  <a:ext uri="{FF2B5EF4-FFF2-40B4-BE49-F238E27FC236}">
                    <a16:creationId xmlns:a16="http://schemas.microsoft.com/office/drawing/2014/main" id="{F2076E08-0798-184C-9EA1-0D9DB357FA93}"/>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0" name="Freeform 118">
                <a:extLst>
                  <a:ext uri="{FF2B5EF4-FFF2-40B4-BE49-F238E27FC236}">
                    <a16:creationId xmlns:a16="http://schemas.microsoft.com/office/drawing/2014/main" id="{A7C4C8F2-667E-034C-9C93-5F05D78A7648}"/>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1" name="Freeform 119">
                <a:extLst>
                  <a:ext uri="{FF2B5EF4-FFF2-40B4-BE49-F238E27FC236}">
                    <a16:creationId xmlns:a16="http://schemas.microsoft.com/office/drawing/2014/main" id="{7725D5AB-A7E6-327D-D572-A311CD1A0308}"/>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2" name="Freeform 120">
                <a:extLst>
                  <a:ext uri="{FF2B5EF4-FFF2-40B4-BE49-F238E27FC236}">
                    <a16:creationId xmlns:a16="http://schemas.microsoft.com/office/drawing/2014/main" id="{6664C932-3769-E231-5CB7-283BFD77D07F}"/>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3" name="Freeform 121">
                <a:extLst>
                  <a:ext uri="{FF2B5EF4-FFF2-40B4-BE49-F238E27FC236}">
                    <a16:creationId xmlns:a16="http://schemas.microsoft.com/office/drawing/2014/main" id="{2F184F48-CB01-CF4C-4135-3FDDCC75383D}"/>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4" name="Freeform 122">
                <a:extLst>
                  <a:ext uri="{FF2B5EF4-FFF2-40B4-BE49-F238E27FC236}">
                    <a16:creationId xmlns:a16="http://schemas.microsoft.com/office/drawing/2014/main" id="{4F0EA2F0-FA6D-2E92-CDC7-095DFCADCFA8}"/>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5" name="Freeform 123">
                <a:extLst>
                  <a:ext uri="{FF2B5EF4-FFF2-40B4-BE49-F238E27FC236}">
                    <a16:creationId xmlns:a16="http://schemas.microsoft.com/office/drawing/2014/main" id="{A7C2A23C-8D49-7CF3-0D33-AF4FE7640557}"/>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6" name="Freeform 124">
                <a:extLst>
                  <a:ext uri="{FF2B5EF4-FFF2-40B4-BE49-F238E27FC236}">
                    <a16:creationId xmlns:a16="http://schemas.microsoft.com/office/drawing/2014/main" id="{E9087B4F-4BB9-4E6E-20C4-3D7695175DEB}"/>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7" name="Freeform 125">
                <a:extLst>
                  <a:ext uri="{FF2B5EF4-FFF2-40B4-BE49-F238E27FC236}">
                    <a16:creationId xmlns:a16="http://schemas.microsoft.com/office/drawing/2014/main" id="{E82F70A2-A57A-D465-7AB2-7F5635285533}"/>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8" name="Freeform 126">
                <a:extLst>
                  <a:ext uri="{FF2B5EF4-FFF2-40B4-BE49-F238E27FC236}">
                    <a16:creationId xmlns:a16="http://schemas.microsoft.com/office/drawing/2014/main" id="{9A91057E-CCE4-D477-53B1-38D1661A34AB}"/>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29" name="Freeform 127">
                <a:extLst>
                  <a:ext uri="{FF2B5EF4-FFF2-40B4-BE49-F238E27FC236}">
                    <a16:creationId xmlns:a16="http://schemas.microsoft.com/office/drawing/2014/main" id="{C3AD1E04-491B-FF7B-67B6-B397F687685B}"/>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0" name="Freeform 128">
                <a:extLst>
                  <a:ext uri="{FF2B5EF4-FFF2-40B4-BE49-F238E27FC236}">
                    <a16:creationId xmlns:a16="http://schemas.microsoft.com/office/drawing/2014/main" id="{91182EDB-00AA-A442-8859-EFA374A6ECDC}"/>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1" name="Freeform 129">
                <a:extLst>
                  <a:ext uri="{FF2B5EF4-FFF2-40B4-BE49-F238E27FC236}">
                    <a16:creationId xmlns:a16="http://schemas.microsoft.com/office/drawing/2014/main" id="{99A36022-1DB4-CC4E-E026-A01F591FB968}"/>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2" name="Freeform 130">
                <a:extLst>
                  <a:ext uri="{FF2B5EF4-FFF2-40B4-BE49-F238E27FC236}">
                    <a16:creationId xmlns:a16="http://schemas.microsoft.com/office/drawing/2014/main" id="{B2D43B02-2D53-010F-CEE2-0412A6776F85}"/>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3" name="Freeform 131">
                <a:extLst>
                  <a:ext uri="{FF2B5EF4-FFF2-40B4-BE49-F238E27FC236}">
                    <a16:creationId xmlns:a16="http://schemas.microsoft.com/office/drawing/2014/main" id="{EAA5EFF4-575C-DFDA-B901-13D1A8AD173F}"/>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434" name="Freeform 132">
                <a:extLst>
                  <a:ext uri="{FF2B5EF4-FFF2-40B4-BE49-F238E27FC236}">
                    <a16:creationId xmlns:a16="http://schemas.microsoft.com/office/drawing/2014/main" id="{B38D314F-B566-CD1C-9959-F2B36560CBB5}"/>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5" name="Freeform 133">
                <a:extLst>
                  <a:ext uri="{FF2B5EF4-FFF2-40B4-BE49-F238E27FC236}">
                    <a16:creationId xmlns:a16="http://schemas.microsoft.com/office/drawing/2014/main" id="{DCE59BDA-E6A4-700F-1843-96DB22DDAD59}"/>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6" name="Freeform 134">
                <a:extLst>
                  <a:ext uri="{FF2B5EF4-FFF2-40B4-BE49-F238E27FC236}">
                    <a16:creationId xmlns:a16="http://schemas.microsoft.com/office/drawing/2014/main" id="{0B29AF28-2D53-095B-699D-1C3636AD1287}"/>
                  </a:ext>
                </a:extLst>
              </p:cNvPr>
              <p:cNvSpPr>
                <a:spLocks/>
              </p:cNvSpPr>
              <p:nvPr userDrawn="1"/>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7" name="Freeform 135">
                <a:extLst>
                  <a:ext uri="{FF2B5EF4-FFF2-40B4-BE49-F238E27FC236}">
                    <a16:creationId xmlns:a16="http://schemas.microsoft.com/office/drawing/2014/main" id="{2035507D-6531-ADE0-54BF-95BD7048E2BF}"/>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8" name="Freeform 136">
                <a:extLst>
                  <a:ext uri="{FF2B5EF4-FFF2-40B4-BE49-F238E27FC236}">
                    <a16:creationId xmlns:a16="http://schemas.microsoft.com/office/drawing/2014/main" id="{DF370C47-A33F-1CB9-92DF-695038C52F66}"/>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39" name="Freeform 137">
                <a:extLst>
                  <a:ext uri="{FF2B5EF4-FFF2-40B4-BE49-F238E27FC236}">
                    <a16:creationId xmlns:a16="http://schemas.microsoft.com/office/drawing/2014/main" id="{47102CAF-4A0F-F65C-8148-EED6CA9D8F40}"/>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0" name="Freeform 138">
                <a:extLst>
                  <a:ext uri="{FF2B5EF4-FFF2-40B4-BE49-F238E27FC236}">
                    <a16:creationId xmlns:a16="http://schemas.microsoft.com/office/drawing/2014/main" id="{2566B705-6805-4B37-F2E5-263AE3F9F569}"/>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1" name="Freeform 139">
                <a:extLst>
                  <a:ext uri="{FF2B5EF4-FFF2-40B4-BE49-F238E27FC236}">
                    <a16:creationId xmlns:a16="http://schemas.microsoft.com/office/drawing/2014/main" id="{18EE233D-52BD-D95E-99C6-4429A9D4655A}"/>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2" name="Freeform 140">
                <a:extLst>
                  <a:ext uri="{FF2B5EF4-FFF2-40B4-BE49-F238E27FC236}">
                    <a16:creationId xmlns:a16="http://schemas.microsoft.com/office/drawing/2014/main" id="{0B74BBE1-8DC4-8BAE-CCD9-384B96BCBE9D}"/>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3" name="Freeform 141">
                <a:extLst>
                  <a:ext uri="{FF2B5EF4-FFF2-40B4-BE49-F238E27FC236}">
                    <a16:creationId xmlns:a16="http://schemas.microsoft.com/office/drawing/2014/main" id="{37EFF0B4-3B5E-B69E-B688-33529B342748}"/>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4" name="Freeform 142">
                <a:extLst>
                  <a:ext uri="{FF2B5EF4-FFF2-40B4-BE49-F238E27FC236}">
                    <a16:creationId xmlns:a16="http://schemas.microsoft.com/office/drawing/2014/main" id="{66720ABF-C4A2-A6AB-5F95-84C5A41532C6}"/>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5" name="Freeform 143">
                <a:extLst>
                  <a:ext uri="{FF2B5EF4-FFF2-40B4-BE49-F238E27FC236}">
                    <a16:creationId xmlns:a16="http://schemas.microsoft.com/office/drawing/2014/main" id="{BFD92B86-1DD8-0E41-ACDA-A9EE3CF8C69C}"/>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6" name="Freeform 144">
                <a:extLst>
                  <a:ext uri="{FF2B5EF4-FFF2-40B4-BE49-F238E27FC236}">
                    <a16:creationId xmlns:a16="http://schemas.microsoft.com/office/drawing/2014/main" id="{B9B8947B-178A-92AC-26A7-6E1CBF8158ED}"/>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7" name="Freeform 145">
                <a:extLst>
                  <a:ext uri="{FF2B5EF4-FFF2-40B4-BE49-F238E27FC236}">
                    <a16:creationId xmlns:a16="http://schemas.microsoft.com/office/drawing/2014/main" id="{BA3C98DB-6481-B71E-3E7B-748BCB7FB7BB}"/>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8" name="Freeform 146">
                <a:extLst>
                  <a:ext uri="{FF2B5EF4-FFF2-40B4-BE49-F238E27FC236}">
                    <a16:creationId xmlns:a16="http://schemas.microsoft.com/office/drawing/2014/main" id="{30E4CEA8-C431-ABD4-A8EE-FC57DDF4C3CA}"/>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49" name="Freeform 147">
                <a:extLst>
                  <a:ext uri="{FF2B5EF4-FFF2-40B4-BE49-F238E27FC236}">
                    <a16:creationId xmlns:a16="http://schemas.microsoft.com/office/drawing/2014/main" id="{2994A6A8-201E-B7F1-A713-0B9085CF3FD4}"/>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0" name="Freeform 148">
                <a:extLst>
                  <a:ext uri="{FF2B5EF4-FFF2-40B4-BE49-F238E27FC236}">
                    <a16:creationId xmlns:a16="http://schemas.microsoft.com/office/drawing/2014/main" id="{3080DE85-4AD8-B97D-2203-57DDFC50DCC5}"/>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1" name="Freeform 149">
                <a:extLst>
                  <a:ext uri="{FF2B5EF4-FFF2-40B4-BE49-F238E27FC236}">
                    <a16:creationId xmlns:a16="http://schemas.microsoft.com/office/drawing/2014/main" id="{F86CA4F5-234C-7F48-89BC-0E762F9AA077}"/>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2" name="Freeform 150">
                <a:extLst>
                  <a:ext uri="{FF2B5EF4-FFF2-40B4-BE49-F238E27FC236}">
                    <a16:creationId xmlns:a16="http://schemas.microsoft.com/office/drawing/2014/main" id="{C198DABC-CE4E-4B21-C111-7527AF7CB880}"/>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3" name="Freeform 151">
                <a:extLst>
                  <a:ext uri="{FF2B5EF4-FFF2-40B4-BE49-F238E27FC236}">
                    <a16:creationId xmlns:a16="http://schemas.microsoft.com/office/drawing/2014/main" id="{F93D8F79-AD73-2A91-3CCC-C42A4C6D34F6}"/>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4" name="Freeform 152">
                <a:extLst>
                  <a:ext uri="{FF2B5EF4-FFF2-40B4-BE49-F238E27FC236}">
                    <a16:creationId xmlns:a16="http://schemas.microsoft.com/office/drawing/2014/main" id="{416A8AB0-3B29-CD18-4698-6018FA2CF77C}"/>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5" name="Freeform 153">
                <a:extLst>
                  <a:ext uri="{FF2B5EF4-FFF2-40B4-BE49-F238E27FC236}">
                    <a16:creationId xmlns:a16="http://schemas.microsoft.com/office/drawing/2014/main" id="{FD44038B-8AA1-C7C0-206A-2E837793BA71}"/>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6" name="Freeform 154">
                <a:extLst>
                  <a:ext uri="{FF2B5EF4-FFF2-40B4-BE49-F238E27FC236}">
                    <a16:creationId xmlns:a16="http://schemas.microsoft.com/office/drawing/2014/main" id="{EA15B76F-937A-D4E6-F0BA-BBAF4AE7BB36}"/>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7" name="Freeform 155">
                <a:extLst>
                  <a:ext uri="{FF2B5EF4-FFF2-40B4-BE49-F238E27FC236}">
                    <a16:creationId xmlns:a16="http://schemas.microsoft.com/office/drawing/2014/main" id="{AF9EC50A-AA50-4148-B30A-38B3374E8F33}"/>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8" name="Freeform 156">
                <a:extLst>
                  <a:ext uri="{FF2B5EF4-FFF2-40B4-BE49-F238E27FC236}">
                    <a16:creationId xmlns:a16="http://schemas.microsoft.com/office/drawing/2014/main" id="{B435204D-D06F-3527-C0CA-4E3DFA598C12}"/>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59" name="Freeform 157">
                <a:extLst>
                  <a:ext uri="{FF2B5EF4-FFF2-40B4-BE49-F238E27FC236}">
                    <a16:creationId xmlns:a16="http://schemas.microsoft.com/office/drawing/2014/main" id="{12CE4B97-2D21-FC8B-F5E5-6FD38534E32A}"/>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0" name="Freeform 158">
                <a:extLst>
                  <a:ext uri="{FF2B5EF4-FFF2-40B4-BE49-F238E27FC236}">
                    <a16:creationId xmlns:a16="http://schemas.microsoft.com/office/drawing/2014/main" id="{58DF861A-3A4C-533D-3045-0ADBA338D51E}"/>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1" name="Freeform 159">
                <a:extLst>
                  <a:ext uri="{FF2B5EF4-FFF2-40B4-BE49-F238E27FC236}">
                    <a16:creationId xmlns:a16="http://schemas.microsoft.com/office/drawing/2014/main" id="{DFBA0C3C-FC41-C8D1-715E-7F90AA65C788}"/>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2" name="Freeform 160">
                <a:extLst>
                  <a:ext uri="{FF2B5EF4-FFF2-40B4-BE49-F238E27FC236}">
                    <a16:creationId xmlns:a16="http://schemas.microsoft.com/office/drawing/2014/main" id="{A7AF7C0D-DB42-875C-DF0B-3B28C579F865}"/>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3" name="Freeform 161">
                <a:extLst>
                  <a:ext uri="{FF2B5EF4-FFF2-40B4-BE49-F238E27FC236}">
                    <a16:creationId xmlns:a16="http://schemas.microsoft.com/office/drawing/2014/main" id="{9CEDA7D2-61C6-802A-D4CB-5B44031A91B5}"/>
                  </a:ext>
                </a:extLst>
              </p:cNvPr>
              <p:cNvSpPr>
                <a:spLocks/>
              </p:cNvSpPr>
              <p:nvPr userDrawn="1"/>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4" name="Freeform 162">
                <a:extLst>
                  <a:ext uri="{FF2B5EF4-FFF2-40B4-BE49-F238E27FC236}">
                    <a16:creationId xmlns:a16="http://schemas.microsoft.com/office/drawing/2014/main" id="{302C539A-9B82-BDE1-9A7B-2C4E01CF58F1}"/>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5" name="Freeform 163">
                <a:extLst>
                  <a:ext uri="{FF2B5EF4-FFF2-40B4-BE49-F238E27FC236}">
                    <a16:creationId xmlns:a16="http://schemas.microsoft.com/office/drawing/2014/main" id="{B7C906D8-24BA-E1FA-8C80-22E477130998}"/>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6" name="Freeform 164">
                <a:extLst>
                  <a:ext uri="{FF2B5EF4-FFF2-40B4-BE49-F238E27FC236}">
                    <a16:creationId xmlns:a16="http://schemas.microsoft.com/office/drawing/2014/main" id="{BECEC5DA-5D09-FC36-6579-7D6C717AB3E3}"/>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7" name="Freeform 165">
                <a:extLst>
                  <a:ext uri="{FF2B5EF4-FFF2-40B4-BE49-F238E27FC236}">
                    <a16:creationId xmlns:a16="http://schemas.microsoft.com/office/drawing/2014/main" id="{B852BC73-E17E-B465-D9C8-31856F50FC33}"/>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8" name="Freeform 166">
                <a:extLst>
                  <a:ext uri="{FF2B5EF4-FFF2-40B4-BE49-F238E27FC236}">
                    <a16:creationId xmlns:a16="http://schemas.microsoft.com/office/drawing/2014/main" id="{8D041C1F-8642-6CC3-7BB9-F5FD96BA0EFC}"/>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69" name="Freeform 167">
                <a:extLst>
                  <a:ext uri="{FF2B5EF4-FFF2-40B4-BE49-F238E27FC236}">
                    <a16:creationId xmlns:a16="http://schemas.microsoft.com/office/drawing/2014/main" id="{AA330F32-8F54-6AA2-29C2-96A1BB1CEF54}"/>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0" name="Freeform 168">
                <a:extLst>
                  <a:ext uri="{FF2B5EF4-FFF2-40B4-BE49-F238E27FC236}">
                    <a16:creationId xmlns:a16="http://schemas.microsoft.com/office/drawing/2014/main" id="{E6F4DC58-EA7E-6E1A-CDF2-C1730E72C5EF}"/>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1" name="Freeform 169">
                <a:extLst>
                  <a:ext uri="{FF2B5EF4-FFF2-40B4-BE49-F238E27FC236}">
                    <a16:creationId xmlns:a16="http://schemas.microsoft.com/office/drawing/2014/main" id="{23178F2C-3A0D-45DD-60DB-D42FAD333409}"/>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2" name="Freeform 170">
                <a:extLst>
                  <a:ext uri="{FF2B5EF4-FFF2-40B4-BE49-F238E27FC236}">
                    <a16:creationId xmlns:a16="http://schemas.microsoft.com/office/drawing/2014/main" id="{BBBD0537-0568-35AC-A318-8638C53324A9}"/>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3" name="Freeform 171">
                <a:extLst>
                  <a:ext uri="{FF2B5EF4-FFF2-40B4-BE49-F238E27FC236}">
                    <a16:creationId xmlns:a16="http://schemas.microsoft.com/office/drawing/2014/main" id="{9E3ABFE0-2C93-EF18-8E72-B99D3C649930}"/>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4" name="Freeform 172">
                <a:extLst>
                  <a:ext uri="{FF2B5EF4-FFF2-40B4-BE49-F238E27FC236}">
                    <a16:creationId xmlns:a16="http://schemas.microsoft.com/office/drawing/2014/main" id="{C1F35740-4094-EE19-7584-BC9813905BE2}"/>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5" name="Freeform 173">
                <a:extLst>
                  <a:ext uri="{FF2B5EF4-FFF2-40B4-BE49-F238E27FC236}">
                    <a16:creationId xmlns:a16="http://schemas.microsoft.com/office/drawing/2014/main" id="{CD76CA01-BB89-256C-E320-59B90140913D}"/>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6" name="Freeform 174">
                <a:extLst>
                  <a:ext uri="{FF2B5EF4-FFF2-40B4-BE49-F238E27FC236}">
                    <a16:creationId xmlns:a16="http://schemas.microsoft.com/office/drawing/2014/main" id="{4C7787F1-B769-B1F7-6CCC-E68A5A5E7DF9}"/>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7" name="Freeform 175">
                <a:extLst>
                  <a:ext uri="{FF2B5EF4-FFF2-40B4-BE49-F238E27FC236}">
                    <a16:creationId xmlns:a16="http://schemas.microsoft.com/office/drawing/2014/main" id="{2CF88B22-7319-390C-22BA-B4CA1B51B103}"/>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8" name="Freeform 176">
                <a:extLst>
                  <a:ext uri="{FF2B5EF4-FFF2-40B4-BE49-F238E27FC236}">
                    <a16:creationId xmlns:a16="http://schemas.microsoft.com/office/drawing/2014/main" id="{89BFA364-BE05-C36A-7FC9-9C8AA7760FE6}"/>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79" name="Freeform 177">
                <a:extLst>
                  <a:ext uri="{FF2B5EF4-FFF2-40B4-BE49-F238E27FC236}">
                    <a16:creationId xmlns:a16="http://schemas.microsoft.com/office/drawing/2014/main" id="{3D4E86F9-DFA6-D3A5-F225-018FFBA5DD68}"/>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0" name="Freeform 178">
                <a:extLst>
                  <a:ext uri="{FF2B5EF4-FFF2-40B4-BE49-F238E27FC236}">
                    <a16:creationId xmlns:a16="http://schemas.microsoft.com/office/drawing/2014/main" id="{1E3DDABF-B889-9D63-E7F1-D7006F61C8D4}"/>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1" name="Freeform 179">
                <a:extLst>
                  <a:ext uri="{FF2B5EF4-FFF2-40B4-BE49-F238E27FC236}">
                    <a16:creationId xmlns:a16="http://schemas.microsoft.com/office/drawing/2014/main" id="{E809F322-1656-E887-EEE9-C09B8E372920}"/>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2" name="Freeform 180">
                <a:extLst>
                  <a:ext uri="{FF2B5EF4-FFF2-40B4-BE49-F238E27FC236}">
                    <a16:creationId xmlns:a16="http://schemas.microsoft.com/office/drawing/2014/main" id="{AA9623D4-81BB-E8BF-1013-25CB65BD3AA2}"/>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3" name="Freeform 181">
                <a:extLst>
                  <a:ext uri="{FF2B5EF4-FFF2-40B4-BE49-F238E27FC236}">
                    <a16:creationId xmlns:a16="http://schemas.microsoft.com/office/drawing/2014/main" id="{A6CC0F99-4087-7F8A-5E1D-63C9A9AF2E51}"/>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4" name="Freeform 182">
                <a:extLst>
                  <a:ext uri="{FF2B5EF4-FFF2-40B4-BE49-F238E27FC236}">
                    <a16:creationId xmlns:a16="http://schemas.microsoft.com/office/drawing/2014/main" id="{62065951-8CDC-D4D8-0DA3-DA18ABD90359}"/>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5" name="Freeform 183">
                <a:extLst>
                  <a:ext uri="{FF2B5EF4-FFF2-40B4-BE49-F238E27FC236}">
                    <a16:creationId xmlns:a16="http://schemas.microsoft.com/office/drawing/2014/main" id="{E6F82138-6745-71E2-DD40-CC2E2E6AFA40}"/>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6" name="Freeform 184">
                <a:extLst>
                  <a:ext uri="{FF2B5EF4-FFF2-40B4-BE49-F238E27FC236}">
                    <a16:creationId xmlns:a16="http://schemas.microsoft.com/office/drawing/2014/main" id="{B71A4E0E-A9A8-EEFF-D588-C7D438E5D16D}"/>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7" name="Freeform 185">
                <a:extLst>
                  <a:ext uri="{FF2B5EF4-FFF2-40B4-BE49-F238E27FC236}">
                    <a16:creationId xmlns:a16="http://schemas.microsoft.com/office/drawing/2014/main" id="{A9EF4108-500B-C72E-CA8E-84CAE7E1A202}"/>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8" name="Freeform 186">
                <a:extLst>
                  <a:ext uri="{FF2B5EF4-FFF2-40B4-BE49-F238E27FC236}">
                    <a16:creationId xmlns:a16="http://schemas.microsoft.com/office/drawing/2014/main" id="{310229C0-43EF-CB35-9112-3458CF05FBF8}"/>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89" name="Freeform 187">
                <a:extLst>
                  <a:ext uri="{FF2B5EF4-FFF2-40B4-BE49-F238E27FC236}">
                    <a16:creationId xmlns:a16="http://schemas.microsoft.com/office/drawing/2014/main" id="{1EAE594B-CEA1-E2BF-8333-D9DB32FAC734}"/>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0" name="Freeform 188">
                <a:extLst>
                  <a:ext uri="{FF2B5EF4-FFF2-40B4-BE49-F238E27FC236}">
                    <a16:creationId xmlns:a16="http://schemas.microsoft.com/office/drawing/2014/main" id="{7C1F8E69-AA80-0DE5-A7DD-53AF44893BF0}"/>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1" name="Freeform 189">
                <a:extLst>
                  <a:ext uri="{FF2B5EF4-FFF2-40B4-BE49-F238E27FC236}">
                    <a16:creationId xmlns:a16="http://schemas.microsoft.com/office/drawing/2014/main" id="{03943A93-8541-3168-5FBD-19C8AA42F1EF}"/>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2" name="Freeform 190">
                <a:extLst>
                  <a:ext uri="{FF2B5EF4-FFF2-40B4-BE49-F238E27FC236}">
                    <a16:creationId xmlns:a16="http://schemas.microsoft.com/office/drawing/2014/main" id="{1D2C4BF1-5DBF-9E0D-159F-665862DED76E}"/>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3" name="Freeform 191">
                <a:extLst>
                  <a:ext uri="{FF2B5EF4-FFF2-40B4-BE49-F238E27FC236}">
                    <a16:creationId xmlns:a16="http://schemas.microsoft.com/office/drawing/2014/main" id="{8DB63945-BBEC-FBC3-A458-24098CE03D89}"/>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4" name="Freeform 192">
                <a:extLst>
                  <a:ext uri="{FF2B5EF4-FFF2-40B4-BE49-F238E27FC236}">
                    <a16:creationId xmlns:a16="http://schemas.microsoft.com/office/drawing/2014/main" id="{4D6AB459-CEC4-35EF-4214-40FDCE8793F7}"/>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5" name="Freeform 193">
                <a:extLst>
                  <a:ext uri="{FF2B5EF4-FFF2-40B4-BE49-F238E27FC236}">
                    <a16:creationId xmlns:a16="http://schemas.microsoft.com/office/drawing/2014/main" id="{077E3221-D185-3ABC-58CB-19398F3A909E}"/>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6" name="Freeform 194">
                <a:extLst>
                  <a:ext uri="{FF2B5EF4-FFF2-40B4-BE49-F238E27FC236}">
                    <a16:creationId xmlns:a16="http://schemas.microsoft.com/office/drawing/2014/main" id="{EC3EA7F2-CCCC-B711-740A-FB77F92B2470}"/>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7" name="Freeform 195">
                <a:extLst>
                  <a:ext uri="{FF2B5EF4-FFF2-40B4-BE49-F238E27FC236}">
                    <a16:creationId xmlns:a16="http://schemas.microsoft.com/office/drawing/2014/main" id="{694DCE12-8631-2982-F0D6-E7A5D53F4967}"/>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8" name="Freeform 196">
                <a:extLst>
                  <a:ext uri="{FF2B5EF4-FFF2-40B4-BE49-F238E27FC236}">
                    <a16:creationId xmlns:a16="http://schemas.microsoft.com/office/drawing/2014/main" id="{8F97B7B3-B325-FA96-CFCC-79BB678C6047}"/>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499" name="Freeform 197">
                <a:extLst>
                  <a:ext uri="{FF2B5EF4-FFF2-40B4-BE49-F238E27FC236}">
                    <a16:creationId xmlns:a16="http://schemas.microsoft.com/office/drawing/2014/main" id="{4C78D5D5-899D-EEE1-5A30-D678E1354E45}"/>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0" name="Freeform 198">
                <a:extLst>
                  <a:ext uri="{FF2B5EF4-FFF2-40B4-BE49-F238E27FC236}">
                    <a16:creationId xmlns:a16="http://schemas.microsoft.com/office/drawing/2014/main" id="{02DF4143-C238-D866-C697-10D0C4955063}"/>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1" name="Freeform 199">
                <a:extLst>
                  <a:ext uri="{FF2B5EF4-FFF2-40B4-BE49-F238E27FC236}">
                    <a16:creationId xmlns:a16="http://schemas.microsoft.com/office/drawing/2014/main" id="{58062923-B557-6CD3-F8F5-9BA158814801}"/>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2" name="Freeform 200">
                <a:extLst>
                  <a:ext uri="{FF2B5EF4-FFF2-40B4-BE49-F238E27FC236}">
                    <a16:creationId xmlns:a16="http://schemas.microsoft.com/office/drawing/2014/main" id="{2372DB20-2715-FD75-0739-0478BF72D1D0}"/>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3" name="Freeform 201">
                <a:extLst>
                  <a:ext uri="{FF2B5EF4-FFF2-40B4-BE49-F238E27FC236}">
                    <a16:creationId xmlns:a16="http://schemas.microsoft.com/office/drawing/2014/main" id="{7F2F9D2B-2B0E-2F38-3BC1-6988D68F9F9C}"/>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4" name="Freeform 202">
                <a:extLst>
                  <a:ext uri="{FF2B5EF4-FFF2-40B4-BE49-F238E27FC236}">
                    <a16:creationId xmlns:a16="http://schemas.microsoft.com/office/drawing/2014/main" id="{C4C49818-090D-1DF9-0B63-4DE31A4655A9}"/>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5" name="Freeform 203">
                <a:extLst>
                  <a:ext uri="{FF2B5EF4-FFF2-40B4-BE49-F238E27FC236}">
                    <a16:creationId xmlns:a16="http://schemas.microsoft.com/office/drawing/2014/main" id="{D079EEF3-605D-C9BD-6690-249FA7970871}"/>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506" name="Freeform 204">
                <a:extLst>
                  <a:ext uri="{FF2B5EF4-FFF2-40B4-BE49-F238E27FC236}">
                    <a16:creationId xmlns:a16="http://schemas.microsoft.com/office/drawing/2014/main" id="{00E101F7-2BAF-7CAA-5691-FA22028C29E3}"/>
                  </a:ext>
                </a:extLst>
              </p:cNvPr>
              <p:cNvSpPr>
                <a:spLocks noEditPoints="1"/>
              </p:cNvSpPr>
              <p:nvPr userDrawn="1"/>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grpSp>
        <p:sp>
          <p:nvSpPr>
            <p:cNvPr id="151" name="Freeform 206">
              <a:extLst>
                <a:ext uri="{FF2B5EF4-FFF2-40B4-BE49-F238E27FC236}">
                  <a16:creationId xmlns:a16="http://schemas.microsoft.com/office/drawing/2014/main" id="{978BF3AF-A99F-A1ED-7FFB-8CC874A02B46}"/>
                </a:ext>
              </a:extLst>
            </p:cNvPr>
            <p:cNvSpPr>
              <a:spLocks noEditPoints="1"/>
            </p:cNvSpPr>
            <p:nvPr userDrawn="1"/>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2" name="Freeform 207">
              <a:extLst>
                <a:ext uri="{FF2B5EF4-FFF2-40B4-BE49-F238E27FC236}">
                  <a16:creationId xmlns:a16="http://schemas.microsoft.com/office/drawing/2014/main" id="{A3413BD1-FB54-F3B1-12C3-20B92487E1A0}"/>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3" name="Freeform 208">
              <a:extLst>
                <a:ext uri="{FF2B5EF4-FFF2-40B4-BE49-F238E27FC236}">
                  <a16:creationId xmlns:a16="http://schemas.microsoft.com/office/drawing/2014/main" id="{00E683FE-9ED6-A876-603A-ECE927081883}"/>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4" name="Freeform 209">
              <a:extLst>
                <a:ext uri="{FF2B5EF4-FFF2-40B4-BE49-F238E27FC236}">
                  <a16:creationId xmlns:a16="http://schemas.microsoft.com/office/drawing/2014/main" id="{3C83D4BC-93BC-7F09-7C89-7A5EF270854C}"/>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5" name="Freeform 210">
              <a:extLst>
                <a:ext uri="{FF2B5EF4-FFF2-40B4-BE49-F238E27FC236}">
                  <a16:creationId xmlns:a16="http://schemas.microsoft.com/office/drawing/2014/main" id="{027EE021-C098-2DB8-1A1C-8ECF2D01785D}"/>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156" name="Freeform 211">
              <a:extLst>
                <a:ext uri="{FF2B5EF4-FFF2-40B4-BE49-F238E27FC236}">
                  <a16:creationId xmlns:a16="http://schemas.microsoft.com/office/drawing/2014/main" id="{581D79FF-FB59-8F79-EB23-E41C91FAD14D}"/>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7" name="Freeform 212">
              <a:extLst>
                <a:ext uri="{FF2B5EF4-FFF2-40B4-BE49-F238E27FC236}">
                  <a16:creationId xmlns:a16="http://schemas.microsoft.com/office/drawing/2014/main" id="{C3220891-2897-AED3-3364-B458B4A26EE6}"/>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8" name="Freeform 213">
              <a:extLst>
                <a:ext uri="{FF2B5EF4-FFF2-40B4-BE49-F238E27FC236}">
                  <a16:creationId xmlns:a16="http://schemas.microsoft.com/office/drawing/2014/main" id="{22AD1B74-7901-8FD6-A5FF-BCEE7141F290}"/>
                </a:ext>
              </a:extLst>
            </p:cNvPr>
            <p:cNvSpPr>
              <a:spLocks/>
            </p:cNvSpPr>
            <p:nvPr userDrawn="1"/>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59" name="Freeform 214">
              <a:extLst>
                <a:ext uri="{FF2B5EF4-FFF2-40B4-BE49-F238E27FC236}">
                  <a16:creationId xmlns:a16="http://schemas.microsoft.com/office/drawing/2014/main" id="{8336239D-4F5A-29BB-B902-5407E51D69C9}"/>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0" name="Freeform 215">
              <a:extLst>
                <a:ext uri="{FF2B5EF4-FFF2-40B4-BE49-F238E27FC236}">
                  <a16:creationId xmlns:a16="http://schemas.microsoft.com/office/drawing/2014/main" id="{D4AE0BD0-20CF-2E5A-6340-ED886F4706B5}"/>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1" name="Freeform 216">
              <a:extLst>
                <a:ext uri="{FF2B5EF4-FFF2-40B4-BE49-F238E27FC236}">
                  <a16:creationId xmlns:a16="http://schemas.microsoft.com/office/drawing/2014/main" id="{07DA1119-94A2-64FA-A014-ACB297EC461F}"/>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2" name="Freeform 217">
              <a:extLst>
                <a:ext uri="{FF2B5EF4-FFF2-40B4-BE49-F238E27FC236}">
                  <a16:creationId xmlns:a16="http://schemas.microsoft.com/office/drawing/2014/main" id="{35D4D790-567C-F249-3458-4F3022CE93F8}"/>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3" name="Freeform 218">
              <a:extLst>
                <a:ext uri="{FF2B5EF4-FFF2-40B4-BE49-F238E27FC236}">
                  <a16:creationId xmlns:a16="http://schemas.microsoft.com/office/drawing/2014/main" id="{1041CCB4-59EC-69A0-5F17-FD598B9B2DB1}"/>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4" name="Freeform 219">
              <a:extLst>
                <a:ext uri="{FF2B5EF4-FFF2-40B4-BE49-F238E27FC236}">
                  <a16:creationId xmlns:a16="http://schemas.microsoft.com/office/drawing/2014/main" id="{31FFB049-1070-C1C2-9F3E-4C4D5870261D}"/>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5" name="Freeform 220">
              <a:extLst>
                <a:ext uri="{FF2B5EF4-FFF2-40B4-BE49-F238E27FC236}">
                  <a16:creationId xmlns:a16="http://schemas.microsoft.com/office/drawing/2014/main" id="{E02DCA5A-1F82-7694-9409-9101F78019E7}"/>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6" name="Freeform 221">
              <a:extLst>
                <a:ext uri="{FF2B5EF4-FFF2-40B4-BE49-F238E27FC236}">
                  <a16:creationId xmlns:a16="http://schemas.microsoft.com/office/drawing/2014/main" id="{0F1AE5EB-F93D-EF73-D8E0-2FD3A33D4374}"/>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7" name="Freeform 222">
              <a:extLst>
                <a:ext uri="{FF2B5EF4-FFF2-40B4-BE49-F238E27FC236}">
                  <a16:creationId xmlns:a16="http://schemas.microsoft.com/office/drawing/2014/main" id="{AC27FD05-593C-7C45-C292-B55C64271EB6}"/>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8" name="Freeform 223">
              <a:extLst>
                <a:ext uri="{FF2B5EF4-FFF2-40B4-BE49-F238E27FC236}">
                  <a16:creationId xmlns:a16="http://schemas.microsoft.com/office/drawing/2014/main" id="{1196E7A3-6E30-96A4-382F-04A9E87CE81F}"/>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69" name="Freeform 224">
              <a:extLst>
                <a:ext uri="{FF2B5EF4-FFF2-40B4-BE49-F238E27FC236}">
                  <a16:creationId xmlns:a16="http://schemas.microsoft.com/office/drawing/2014/main" id="{728E65EE-DC67-5017-9277-843860415841}"/>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0" name="Freeform 225">
              <a:extLst>
                <a:ext uri="{FF2B5EF4-FFF2-40B4-BE49-F238E27FC236}">
                  <a16:creationId xmlns:a16="http://schemas.microsoft.com/office/drawing/2014/main" id="{3CCEA477-4AC2-C00E-6D22-DDAD0EFF9EAB}"/>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1" name="Freeform 226">
              <a:extLst>
                <a:ext uri="{FF2B5EF4-FFF2-40B4-BE49-F238E27FC236}">
                  <a16:creationId xmlns:a16="http://schemas.microsoft.com/office/drawing/2014/main" id="{42FD9F34-A63D-2625-539A-694BA8D07C88}"/>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2" name="Freeform 227">
              <a:extLst>
                <a:ext uri="{FF2B5EF4-FFF2-40B4-BE49-F238E27FC236}">
                  <a16:creationId xmlns:a16="http://schemas.microsoft.com/office/drawing/2014/main" id="{5A359935-B640-1A8F-E3E6-95ECB4A796D2}"/>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3" name="Freeform 228">
              <a:extLst>
                <a:ext uri="{FF2B5EF4-FFF2-40B4-BE49-F238E27FC236}">
                  <a16:creationId xmlns:a16="http://schemas.microsoft.com/office/drawing/2014/main" id="{ED5672DC-4B95-E74A-2D24-2EEA0A6C48F0}"/>
                </a:ext>
              </a:extLst>
            </p:cNvPr>
            <p:cNvSpPr>
              <a:spLocks noEditPoints="1"/>
            </p:cNvSpPr>
            <p:nvPr userDrawn="1"/>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4" name="Freeform 229">
              <a:extLst>
                <a:ext uri="{FF2B5EF4-FFF2-40B4-BE49-F238E27FC236}">
                  <a16:creationId xmlns:a16="http://schemas.microsoft.com/office/drawing/2014/main" id="{1280410B-F4F6-40EB-9E15-ECA57930A0B7}"/>
                </a:ext>
              </a:extLst>
            </p:cNvPr>
            <p:cNvSpPr>
              <a:spLocks noEditPoints="1"/>
            </p:cNvSpPr>
            <p:nvPr userDrawn="1"/>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5" name="Freeform 230">
              <a:extLst>
                <a:ext uri="{FF2B5EF4-FFF2-40B4-BE49-F238E27FC236}">
                  <a16:creationId xmlns:a16="http://schemas.microsoft.com/office/drawing/2014/main" id="{8D4D8F74-1E36-7839-C677-13E77B7F75A8}"/>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6" name="Freeform 231">
              <a:extLst>
                <a:ext uri="{FF2B5EF4-FFF2-40B4-BE49-F238E27FC236}">
                  <a16:creationId xmlns:a16="http://schemas.microsoft.com/office/drawing/2014/main" id="{038577BC-7CBF-1A18-EF73-8CA83633795B}"/>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7" name="Freeform 232">
              <a:extLst>
                <a:ext uri="{FF2B5EF4-FFF2-40B4-BE49-F238E27FC236}">
                  <a16:creationId xmlns:a16="http://schemas.microsoft.com/office/drawing/2014/main" id="{9630A235-E292-E857-0C02-75DA1CEA79E3}"/>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8" name="Freeform 233">
              <a:extLst>
                <a:ext uri="{FF2B5EF4-FFF2-40B4-BE49-F238E27FC236}">
                  <a16:creationId xmlns:a16="http://schemas.microsoft.com/office/drawing/2014/main" id="{95BFDE34-E8A0-BB94-D73E-44BBC9B6D291}"/>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79" name="Freeform 234">
              <a:extLst>
                <a:ext uri="{FF2B5EF4-FFF2-40B4-BE49-F238E27FC236}">
                  <a16:creationId xmlns:a16="http://schemas.microsoft.com/office/drawing/2014/main" id="{F99F4675-D8C9-AF36-B5D4-BE8F48F808D2}"/>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0" name="Freeform 235">
              <a:extLst>
                <a:ext uri="{FF2B5EF4-FFF2-40B4-BE49-F238E27FC236}">
                  <a16:creationId xmlns:a16="http://schemas.microsoft.com/office/drawing/2014/main" id="{F3D6B6A1-1DC4-A261-D863-49ADEB38C312}"/>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1" name="Freeform 236">
              <a:extLst>
                <a:ext uri="{FF2B5EF4-FFF2-40B4-BE49-F238E27FC236}">
                  <a16:creationId xmlns:a16="http://schemas.microsoft.com/office/drawing/2014/main" id="{2D6CE479-8A83-86E4-12E3-D07F8B3E8516}"/>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2" name="Freeform 237">
              <a:extLst>
                <a:ext uri="{FF2B5EF4-FFF2-40B4-BE49-F238E27FC236}">
                  <a16:creationId xmlns:a16="http://schemas.microsoft.com/office/drawing/2014/main" id="{53E1106F-BE94-8843-8577-0E9296990EEC}"/>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3" name="Freeform 238">
              <a:extLst>
                <a:ext uri="{FF2B5EF4-FFF2-40B4-BE49-F238E27FC236}">
                  <a16:creationId xmlns:a16="http://schemas.microsoft.com/office/drawing/2014/main" id="{4ED390D2-696B-11EA-235E-91A648BA5A45}"/>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4" name="Freeform 239">
              <a:extLst>
                <a:ext uri="{FF2B5EF4-FFF2-40B4-BE49-F238E27FC236}">
                  <a16:creationId xmlns:a16="http://schemas.microsoft.com/office/drawing/2014/main" id="{E7A37C64-BF33-B3ED-E1D7-AEBD1F31CEC1}"/>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5" name="Freeform 240">
              <a:extLst>
                <a:ext uri="{FF2B5EF4-FFF2-40B4-BE49-F238E27FC236}">
                  <a16:creationId xmlns:a16="http://schemas.microsoft.com/office/drawing/2014/main" id="{7DA8653A-B04A-38AC-F73E-E546486A99AC}"/>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6" name="Freeform 241">
              <a:extLst>
                <a:ext uri="{FF2B5EF4-FFF2-40B4-BE49-F238E27FC236}">
                  <a16:creationId xmlns:a16="http://schemas.microsoft.com/office/drawing/2014/main" id="{60904FD6-6C38-DAB9-1716-A7BB6215AB38}"/>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7" name="Freeform 242">
              <a:extLst>
                <a:ext uri="{FF2B5EF4-FFF2-40B4-BE49-F238E27FC236}">
                  <a16:creationId xmlns:a16="http://schemas.microsoft.com/office/drawing/2014/main" id="{899C29E2-7FC4-6B50-72D2-768FF547C79C}"/>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8" name="Freeform 243">
              <a:extLst>
                <a:ext uri="{FF2B5EF4-FFF2-40B4-BE49-F238E27FC236}">
                  <a16:creationId xmlns:a16="http://schemas.microsoft.com/office/drawing/2014/main" id="{A69D1031-4C38-0636-D207-F77BFAB9D2AA}"/>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89" name="Freeform 244">
              <a:extLst>
                <a:ext uri="{FF2B5EF4-FFF2-40B4-BE49-F238E27FC236}">
                  <a16:creationId xmlns:a16="http://schemas.microsoft.com/office/drawing/2014/main" id="{B561F39F-0A98-3994-62BD-1AE499948228}"/>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0" name="Freeform 245">
              <a:extLst>
                <a:ext uri="{FF2B5EF4-FFF2-40B4-BE49-F238E27FC236}">
                  <a16:creationId xmlns:a16="http://schemas.microsoft.com/office/drawing/2014/main" id="{9BE2071F-141C-B6CB-E5CD-89795238D030}"/>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1" name="Freeform 246">
              <a:extLst>
                <a:ext uri="{FF2B5EF4-FFF2-40B4-BE49-F238E27FC236}">
                  <a16:creationId xmlns:a16="http://schemas.microsoft.com/office/drawing/2014/main" id="{A108DE91-6644-0E52-31A7-4DD941721D68}"/>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2" name="Freeform 247">
              <a:extLst>
                <a:ext uri="{FF2B5EF4-FFF2-40B4-BE49-F238E27FC236}">
                  <a16:creationId xmlns:a16="http://schemas.microsoft.com/office/drawing/2014/main" id="{005A3488-C970-A9EE-EE2B-EB215CF25A21}"/>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3" name="Freeform 248">
              <a:extLst>
                <a:ext uri="{FF2B5EF4-FFF2-40B4-BE49-F238E27FC236}">
                  <a16:creationId xmlns:a16="http://schemas.microsoft.com/office/drawing/2014/main" id="{EBC1EF11-7BCF-32D2-E86C-EE7AF412B4D8}"/>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4" name="Freeform 249">
              <a:extLst>
                <a:ext uri="{FF2B5EF4-FFF2-40B4-BE49-F238E27FC236}">
                  <a16:creationId xmlns:a16="http://schemas.microsoft.com/office/drawing/2014/main" id="{0A15BF21-35E6-4F12-23C5-F9C5AA1E34B4}"/>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5" name="Freeform 250">
              <a:extLst>
                <a:ext uri="{FF2B5EF4-FFF2-40B4-BE49-F238E27FC236}">
                  <a16:creationId xmlns:a16="http://schemas.microsoft.com/office/drawing/2014/main" id="{039C1948-A3C5-B7B6-0FB9-9EA05C41ED5F}"/>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6" name="Freeform 251">
              <a:extLst>
                <a:ext uri="{FF2B5EF4-FFF2-40B4-BE49-F238E27FC236}">
                  <a16:creationId xmlns:a16="http://schemas.microsoft.com/office/drawing/2014/main" id="{79DB6928-075D-267D-B2E6-DD9B6E1AA88D}"/>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7" name="Freeform 252">
              <a:extLst>
                <a:ext uri="{FF2B5EF4-FFF2-40B4-BE49-F238E27FC236}">
                  <a16:creationId xmlns:a16="http://schemas.microsoft.com/office/drawing/2014/main" id="{04A4FF03-129B-898F-50CE-C7347A6BE9D0}"/>
                </a:ext>
              </a:extLst>
            </p:cNvPr>
            <p:cNvSpPr>
              <a:spLocks/>
            </p:cNvSpPr>
            <p:nvPr userDrawn="1"/>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8" name="Freeform 253">
              <a:extLst>
                <a:ext uri="{FF2B5EF4-FFF2-40B4-BE49-F238E27FC236}">
                  <a16:creationId xmlns:a16="http://schemas.microsoft.com/office/drawing/2014/main" id="{939A195F-422F-6F55-0C3F-017F871BCB9B}"/>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199" name="Freeform 254">
              <a:extLst>
                <a:ext uri="{FF2B5EF4-FFF2-40B4-BE49-F238E27FC236}">
                  <a16:creationId xmlns:a16="http://schemas.microsoft.com/office/drawing/2014/main" id="{2BD21865-855B-AEEC-190C-E821266B1C6D}"/>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0" name="Freeform 255">
              <a:extLst>
                <a:ext uri="{FF2B5EF4-FFF2-40B4-BE49-F238E27FC236}">
                  <a16:creationId xmlns:a16="http://schemas.microsoft.com/office/drawing/2014/main" id="{DB6E64CB-6E40-D90D-C13B-09FA992C2654}"/>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1" name="Freeform 256">
              <a:extLst>
                <a:ext uri="{FF2B5EF4-FFF2-40B4-BE49-F238E27FC236}">
                  <a16:creationId xmlns:a16="http://schemas.microsoft.com/office/drawing/2014/main" id="{165D2FDE-783F-59F5-05FE-7C8FE4CDA634}"/>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2" name="Freeform 257">
              <a:extLst>
                <a:ext uri="{FF2B5EF4-FFF2-40B4-BE49-F238E27FC236}">
                  <a16:creationId xmlns:a16="http://schemas.microsoft.com/office/drawing/2014/main" id="{D449F419-FD7E-2C88-370D-5A319A599E53}"/>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3" name="Freeform 258">
              <a:extLst>
                <a:ext uri="{FF2B5EF4-FFF2-40B4-BE49-F238E27FC236}">
                  <a16:creationId xmlns:a16="http://schemas.microsoft.com/office/drawing/2014/main" id="{DE2376A7-A6CB-22E9-A41F-DCBF16220564}"/>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4" name="Freeform 259">
              <a:extLst>
                <a:ext uri="{FF2B5EF4-FFF2-40B4-BE49-F238E27FC236}">
                  <a16:creationId xmlns:a16="http://schemas.microsoft.com/office/drawing/2014/main" id="{F781FC0B-95CB-FF18-E2E7-22A3FE4D7864}"/>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5" name="Freeform 260">
              <a:extLst>
                <a:ext uri="{FF2B5EF4-FFF2-40B4-BE49-F238E27FC236}">
                  <a16:creationId xmlns:a16="http://schemas.microsoft.com/office/drawing/2014/main" id="{98015851-F854-3C08-A2B5-451493092D88}"/>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6" name="Freeform 261">
              <a:extLst>
                <a:ext uri="{FF2B5EF4-FFF2-40B4-BE49-F238E27FC236}">
                  <a16:creationId xmlns:a16="http://schemas.microsoft.com/office/drawing/2014/main" id="{771CA78B-9FBE-8F09-C36B-A37BFDD3DAD3}"/>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7" name="Freeform 262">
              <a:extLst>
                <a:ext uri="{FF2B5EF4-FFF2-40B4-BE49-F238E27FC236}">
                  <a16:creationId xmlns:a16="http://schemas.microsoft.com/office/drawing/2014/main" id="{BB8EA9CC-ACC0-E53A-5493-F08CA1A8DA8D}"/>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8" name="Freeform 263">
              <a:extLst>
                <a:ext uri="{FF2B5EF4-FFF2-40B4-BE49-F238E27FC236}">
                  <a16:creationId xmlns:a16="http://schemas.microsoft.com/office/drawing/2014/main" id="{1AEED733-BB0B-0D7B-F481-52C1EC15EA03}"/>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09" name="Freeform 264">
              <a:extLst>
                <a:ext uri="{FF2B5EF4-FFF2-40B4-BE49-F238E27FC236}">
                  <a16:creationId xmlns:a16="http://schemas.microsoft.com/office/drawing/2014/main" id="{8D159BDE-281D-5C78-5693-01926DC1B5AD}"/>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0" name="Freeform 265">
              <a:extLst>
                <a:ext uri="{FF2B5EF4-FFF2-40B4-BE49-F238E27FC236}">
                  <a16:creationId xmlns:a16="http://schemas.microsoft.com/office/drawing/2014/main" id="{5D2483C7-E46D-C6C5-47B9-1561F90CFF3C}"/>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1" name="Freeform 266">
              <a:extLst>
                <a:ext uri="{FF2B5EF4-FFF2-40B4-BE49-F238E27FC236}">
                  <a16:creationId xmlns:a16="http://schemas.microsoft.com/office/drawing/2014/main" id="{2CBE3A80-BE5E-B6C4-58ED-24C9C862E69E}"/>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2" name="Freeform 267">
              <a:extLst>
                <a:ext uri="{FF2B5EF4-FFF2-40B4-BE49-F238E27FC236}">
                  <a16:creationId xmlns:a16="http://schemas.microsoft.com/office/drawing/2014/main" id="{D688421D-987E-AABF-FA37-C9B5734EA7AB}"/>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3" name="Freeform 268">
              <a:extLst>
                <a:ext uri="{FF2B5EF4-FFF2-40B4-BE49-F238E27FC236}">
                  <a16:creationId xmlns:a16="http://schemas.microsoft.com/office/drawing/2014/main" id="{02BA6A30-1EE6-0CB9-2386-5132898B31A0}"/>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4" name="Freeform 269">
              <a:extLst>
                <a:ext uri="{FF2B5EF4-FFF2-40B4-BE49-F238E27FC236}">
                  <a16:creationId xmlns:a16="http://schemas.microsoft.com/office/drawing/2014/main" id="{D85490E7-12C1-62EB-3EF2-BE1E17E605C3}"/>
                </a:ext>
              </a:extLst>
            </p:cNvPr>
            <p:cNvSpPr>
              <a:spLocks/>
            </p:cNvSpPr>
            <p:nvPr userDrawn="1"/>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5" name="Freeform 270">
              <a:extLst>
                <a:ext uri="{FF2B5EF4-FFF2-40B4-BE49-F238E27FC236}">
                  <a16:creationId xmlns:a16="http://schemas.microsoft.com/office/drawing/2014/main" id="{A29A522E-C8D9-5B9E-A1CD-DF28A2E484F5}"/>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6" name="Freeform 271">
              <a:extLst>
                <a:ext uri="{FF2B5EF4-FFF2-40B4-BE49-F238E27FC236}">
                  <a16:creationId xmlns:a16="http://schemas.microsoft.com/office/drawing/2014/main" id="{36D682DF-4EF8-1398-1F66-C3933CA928DA}"/>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7" name="Freeform 272">
              <a:extLst>
                <a:ext uri="{FF2B5EF4-FFF2-40B4-BE49-F238E27FC236}">
                  <a16:creationId xmlns:a16="http://schemas.microsoft.com/office/drawing/2014/main" id="{3A65A98D-68BB-486D-DD4C-2F83148FC13D}"/>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8" name="Freeform 273">
              <a:extLst>
                <a:ext uri="{FF2B5EF4-FFF2-40B4-BE49-F238E27FC236}">
                  <a16:creationId xmlns:a16="http://schemas.microsoft.com/office/drawing/2014/main" id="{1B32673F-49BA-FC18-2C7C-D58F613BF17B}"/>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19" name="Freeform 274">
              <a:extLst>
                <a:ext uri="{FF2B5EF4-FFF2-40B4-BE49-F238E27FC236}">
                  <a16:creationId xmlns:a16="http://schemas.microsoft.com/office/drawing/2014/main" id="{19829C63-048C-7D45-1D60-AC344849A00E}"/>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0" name="Freeform 275">
              <a:extLst>
                <a:ext uri="{FF2B5EF4-FFF2-40B4-BE49-F238E27FC236}">
                  <a16:creationId xmlns:a16="http://schemas.microsoft.com/office/drawing/2014/main" id="{ED2E55F4-5597-8068-09CF-60D2E1A17081}"/>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1" name="Freeform 276">
              <a:extLst>
                <a:ext uri="{FF2B5EF4-FFF2-40B4-BE49-F238E27FC236}">
                  <a16:creationId xmlns:a16="http://schemas.microsoft.com/office/drawing/2014/main" id="{CF4ADAB9-CD1B-5348-4EAE-DB4DFF7F2606}"/>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2" name="Freeform 277">
              <a:extLst>
                <a:ext uri="{FF2B5EF4-FFF2-40B4-BE49-F238E27FC236}">
                  <a16:creationId xmlns:a16="http://schemas.microsoft.com/office/drawing/2014/main" id="{7C7E909A-ED4A-1504-BFD0-85A97456AC53}"/>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3" name="Freeform 278">
              <a:extLst>
                <a:ext uri="{FF2B5EF4-FFF2-40B4-BE49-F238E27FC236}">
                  <a16:creationId xmlns:a16="http://schemas.microsoft.com/office/drawing/2014/main" id="{794982BA-B68F-2B12-779E-1A87FB7D63DD}"/>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4" name="Freeform 279">
              <a:extLst>
                <a:ext uri="{FF2B5EF4-FFF2-40B4-BE49-F238E27FC236}">
                  <a16:creationId xmlns:a16="http://schemas.microsoft.com/office/drawing/2014/main" id="{B1F0E22C-8D4C-E749-B1EF-0B19591B17A1}"/>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5" name="Freeform 280">
              <a:extLst>
                <a:ext uri="{FF2B5EF4-FFF2-40B4-BE49-F238E27FC236}">
                  <a16:creationId xmlns:a16="http://schemas.microsoft.com/office/drawing/2014/main" id="{0803B339-89CE-9BED-CC0D-F22DB43A0345}"/>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6" name="Freeform 281">
              <a:extLst>
                <a:ext uri="{FF2B5EF4-FFF2-40B4-BE49-F238E27FC236}">
                  <a16:creationId xmlns:a16="http://schemas.microsoft.com/office/drawing/2014/main" id="{E9DE7EA4-6544-11F9-0477-A59F996A0514}"/>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7" name="Freeform 282">
              <a:extLst>
                <a:ext uri="{FF2B5EF4-FFF2-40B4-BE49-F238E27FC236}">
                  <a16:creationId xmlns:a16="http://schemas.microsoft.com/office/drawing/2014/main" id="{EE5FEFDD-A71B-3E26-1B7E-E0A5C0121357}"/>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8" name="Freeform 283">
              <a:extLst>
                <a:ext uri="{FF2B5EF4-FFF2-40B4-BE49-F238E27FC236}">
                  <a16:creationId xmlns:a16="http://schemas.microsoft.com/office/drawing/2014/main" id="{7B0B0884-314C-0C4E-D900-3005615F89BD}"/>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29" name="Freeform 284">
              <a:extLst>
                <a:ext uri="{FF2B5EF4-FFF2-40B4-BE49-F238E27FC236}">
                  <a16:creationId xmlns:a16="http://schemas.microsoft.com/office/drawing/2014/main" id="{A6F3587A-44D6-C12A-39E3-52DF4C833555}"/>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0" name="Freeform 285">
              <a:extLst>
                <a:ext uri="{FF2B5EF4-FFF2-40B4-BE49-F238E27FC236}">
                  <a16:creationId xmlns:a16="http://schemas.microsoft.com/office/drawing/2014/main" id="{8E1C77C2-3A46-53EE-36A9-910A157F47B9}"/>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1" name="Freeform 286">
              <a:extLst>
                <a:ext uri="{FF2B5EF4-FFF2-40B4-BE49-F238E27FC236}">
                  <a16:creationId xmlns:a16="http://schemas.microsoft.com/office/drawing/2014/main" id="{21E37871-9932-D3E9-1307-93C90E59B543}"/>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2" name="Freeform 287">
              <a:extLst>
                <a:ext uri="{FF2B5EF4-FFF2-40B4-BE49-F238E27FC236}">
                  <a16:creationId xmlns:a16="http://schemas.microsoft.com/office/drawing/2014/main" id="{75E2E4FC-BE4E-D59A-EDCB-30C009FA495C}"/>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3" name="Freeform 288">
              <a:extLst>
                <a:ext uri="{FF2B5EF4-FFF2-40B4-BE49-F238E27FC236}">
                  <a16:creationId xmlns:a16="http://schemas.microsoft.com/office/drawing/2014/main" id="{BB876FB0-328C-2300-1B43-BA070A6BE732}"/>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4" name="Freeform 289">
              <a:extLst>
                <a:ext uri="{FF2B5EF4-FFF2-40B4-BE49-F238E27FC236}">
                  <a16:creationId xmlns:a16="http://schemas.microsoft.com/office/drawing/2014/main" id="{CB96A68D-23A6-C674-C4D0-BC267C5ED617}"/>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5" name="Freeform 290">
              <a:extLst>
                <a:ext uri="{FF2B5EF4-FFF2-40B4-BE49-F238E27FC236}">
                  <a16:creationId xmlns:a16="http://schemas.microsoft.com/office/drawing/2014/main" id="{5361942D-BE94-17C8-7844-B418F5708805}"/>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6" name="Freeform 291">
              <a:extLst>
                <a:ext uri="{FF2B5EF4-FFF2-40B4-BE49-F238E27FC236}">
                  <a16:creationId xmlns:a16="http://schemas.microsoft.com/office/drawing/2014/main" id="{3D879B88-531D-9574-35BF-A019752CF47A}"/>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7" name="Freeform 292">
              <a:extLst>
                <a:ext uri="{FF2B5EF4-FFF2-40B4-BE49-F238E27FC236}">
                  <a16:creationId xmlns:a16="http://schemas.microsoft.com/office/drawing/2014/main" id="{0E2B2341-D1E7-F215-DAAB-DEF5E4BED28C}"/>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8" name="Freeform 293">
              <a:extLst>
                <a:ext uri="{FF2B5EF4-FFF2-40B4-BE49-F238E27FC236}">
                  <a16:creationId xmlns:a16="http://schemas.microsoft.com/office/drawing/2014/main" id="{AD88C2B0-9FFA-A60D-327B-3712E5383218}"/>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39" name="Freeform 294">
              <a:extLst>
                <a:ext uri="{FF2B5EF4-FFF2-40B4-BE49-F238E27FC236}">
                  <a16:creationId xmlns:a16="http://schemas.microsoft.com/office/drawing/2014/main" id="{85454078-2FC5-3574-494C-01A84EED55E8}"/>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0" name="Freeform 295">
              <a:extLst>
                <a:ext uri="{FF2B5EF4-FFF2-40B4-BE49-F238E27FC236}">
                  <a16:creationId xmlns:a16="http://schemas.microsoft.com/office/drawing/2014/main" id="{EC5F9452-AF33-37CB-FB38-2E88D367129C}"/>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1" name="Freeform 296">
              <a:extLst>
                <a:ext uri="{FF2B5EF4-FFF2-40B4-BE49-F238E27FC236}">
                  <a16:creationId xmlns:a16="http://schemas.microsoft.com/office/drawing/2014/main" id="{D956BAFF-1663-9ABF-5B47-0C809F3164AE}"/>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2" name="Freeform 297">
              <a:extLst>
                <a:ext uri="{FF2B5EF4-FFF2-40B4-BE49-F238E27FC236}">
                  <a16:creationId xmlns:a16="http://schemas.microsoft.com/office/drawing/2014/main" id="{878B3977-06DD-183F-877E-80BF8BD13164}"/>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3" name="Freeform 298">
              <a:extLst>
                <a:ext uri="{FF2B5EF4-FFF2-40B4-BE49-F238E27FC236}">
                  <a16:creationId xmlns:a16="http://schemas.microsoft.com/office/drawing/2014/main" id="{33718AB6-2EBA-9A5B-7302-9B52BA1E4BB8}"/>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4" name="Freeform 299">
              <a:extLst>
                <a:ext uri="{FF2B5EF4-FFF2-40B4-BE49-F238E27FC236}">
                  <a16:creationId xmlns:a16="http://schemas.microsoft.com/office/drawing/2014/main" id="{95CDD09F-AAC1-3A52-013C-2800966ADDF5}"/>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5" name="Freeform 300">
              <a:extLst>
                <a:ext uri="{FF2B5EF4-FFF2-40B4-BE49-F238E27FC236}">
                  <a16:creationId xmlns:a16="http://schemas.microsoft.com/office/drawing/2014/main" id="{5F78B220-35EC-77EC-9131-0845BAF3DF00}"/>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6" name="Freeform 301">
              <a:extLst>
                <a:ext uri="{FF2B5EF4-FFF2-40B4-BE49-F238E27FC236}">
                  <a16:creationId xmlns:a16="http://schemas.microsoft.com/office/drawing/2014/main" id="{CB7F5884-6A6B-0CF3-A27C-94CBC4E1AE69}"/>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7" name="Freeform 302">
              <a:extLst>
                <a:ext uri="{FF2B5EF4-FFF2-40B4-BE49-F238E27FC236}">
                  <a16:creationId xmlns:a16="http://schemas.microsoft.com/office/drawing/2014/main" id="{2EDCDC5F-457E-660E-B4A6-AC86E174878F}"/>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8" name="Freeform 303">
              <a:extLst>
                <a:ext uri="{FF2B5EF4-FFF2-40B4-BE49-F238E27FC236}">
                  <a16:creationId xmlns:a16="http://schemas.microsoft.com/office/drawing/2014/main" id="{EAF56675-2A9E-2D2F-B14A-6A1BFEFF8B68}"/>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49" name="Freeform 304">
              <a:extLst>
                <a:ext uri="{FF2B5EF4-FFF2-40B4-BE49-F238E27FC236}">
                  <a16:creationId xmlns:a16="http://schemas.microsoft.com/office/drawing/2014/main" id="{747532E6-DF97-ED3E-AA7F-AA4E1F2395A8}"/>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0" name="Freeform 305">
              <a:extLst>
                <a:ext uri="{FF2B5EF4-FFF2-40B4-BE49-F238E27FC236}">
                  <a16:creationId xmlns:a16="http://schemas.microsoft.com/office/drawing/2014/main" id="{F3B57323-C85F-2E1F-8CAD-F8FBC1FBA6D8}"/>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1" name="Freeform 306">
              <a:extLst>
                <a:ext uri="{FF2B5EF4-FFF2-40B4-BE49-F238E27FC236}">
                  <a16:creationId xmlns:a16="http://schemas.microsoft.com/office/drawing/2014/main" id="{61354B97-5A20-65FE-21D9-0FA1416BCC9E}"/>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2" name="Freeform 307">
              <a:extLst>
                <a:ext uri="{FF2B5EF4-FFF2-40B4-BE49-F238E27FC236}">
                  <a16:creationId xmlns:a16="http://schemas.microsoft.com/office/drawing/2014/main" id="{D8BC44C3-13FA-69C0-7384-7A39DB8BE619}"/>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3" name="Freeform 308">
              <a:extLst>
                <a:ext uri="{FF2B5EF4-FFF2-40B4-BE49-F238E27FC236}">
                  <a16:creationId xmlns:a16="http://schemas.microsoft.com/office/drawing/2014/main" id="{0B6FC1A2-C3B0-7287-9D54-62A37790F7A0}"/>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4" name="Freeform 309">
              <a:extLst>
                <a:ext uri="{FF2B5EF4-FFF2-40B4-BE49-F238E27FC236}">
                  <a16:creationId xmlns:a16="http://schemas.microsoft.com/office/drawing/2014/main" id="{49245EC7-8C75-BC3C-0E3C-D3C4B10EE8AE}"/>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5" name="Freeform 310">
              <a:extLst>
                <a:ext uri="{FF2B5EF4-FFF2-40B4-BE49-F238E27FC236}">
                  <a16:creationId xmlns:a16="http://schemas.microsoft.com/office/drawing/2014/main" id="{824689DB-1B06-4BB9-A56E-66494E583207}"/>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6" name="Freeform 311">
              <a:extLst>
                <a:ext uri="{FF2B5EF4-FFF2-40B4-BE49-F238E27FC236}">
                  <a16:creationId xmlns:a16="http://schemas.microsoft.com/office/drawing/2014/main" id="{3BE7B605-3A1D-2E65-7612-1C07528E7025}"/>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7" name="Freeform 312">
              <a:extLst>
                <a:ext uri="{FF2B5EF4-FFF2-40B4-BE49-F238E27FC236}">
                  <a16:creationId xmlns:a16="http://schemas.microsoft.com/office/drawing/2014/main" id="{0D9073E3-7BA3-42A8-4519-2E1F40F482A6}"/>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8" name="Freeform 313">
              <a:extLst>
                <a:ext uri="{FF2B5EF4-FFF2-40B4-BE49-F238E27FC236}">
                  <a16:creationId xmlns:a16="http://schemas.microsoft.com/office/drawing/2014/main" id="{098704B5-3D90-ECF0-D47F-EFE1A5D26E90}"/>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59" name="Freeform 314">
              <a:extLst>
                <a:ext uri="{FF2B5EF4-FFF2-40B4-BE49-F238E27FC236}">
                  <a16:creationId xmlns:a16="http://schemas.microsoft.com/office/drawing/2014/main" id="{0185E74B-3E46-18C7-242D-4F441063A538}"/>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0" name="Freeform 315">
              <a:extLst>
                <a:ext uri="{FF2B5EF4-FFF2-40B4-BE49-F238E27FC236}">
                  <a16:creationId xmlns:a16="http://schemas.microsoft.com/office/drawing/2014/main" id="{7CF60624-0B06-C15B-A1B4-54169DACEB20}"/>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1" name="Freeform 316">
              <a:extLst>
                <a:ext uri="{FF2B5EF4-FFF2-40B4-BE49-F238E27FC236}">
                  <a16:creationId xmlns:a16="http://schemas.microsoft.com/office/drawing/2014/main" id="{E4E54F02-D74B-73FE-AC0D-EBCB403D6524}"/>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2" name="Freeform 317">
              <a:extLst>
                <a:ext uri="{FF2B5EF4-FFF2-40B4-BE49-F238E27FC236}">
                  <a16:creationId xmlns:a16="http://schemas.microsoft.com/office/drawing/2014/main" id="{314B0C20-C8AD-4419-EAD0-3C75221BEB14}"/>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3" name="Freeform 318">
              <a:extLst>
                <a:ext uri="{FF2B5EF4-FFF2-40B4-BE49-F238E27FC236}">
                  <a16:creationId xmlns:a16="http://schemas.microsoft.com/office/drawing/2014/main" id="{817C3114-7A57-7AAB-E2E1-C2027703E0AD}"/>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4" name="Freeform 319">
              <a:extLst>
                <a:ext uri="{FF2B5EF4-FFF2-40B4-BE49-F238E27FC236}">
                  <a16:creationId xmlns:a16="http://schemas.microsoft.com/office/drawing/2014/main" id="{5B9A6B4E-6D15-7DC1-3BB2-007FCDF81639}"/>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228"/>
            </a:p>
          </p:txBody>
        </p:sp>
        <p:sp>
          <p:nvSpPr>
            <p:cNvPr id="265" name="Freeform 320">
              <a:extLst>
                <a:ext uri="{FF2B5EF4-FFF2-40B4-BE49-F238E27FC236}">
                  <a16:creationId xmlns:a16="http://schemas.microsoft.com/office/drawing/2014/main" id="{545A5B84-4AF0-40AA-D64D-75375E4F990B}"/>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6" name="Freeform 321">
              <a:extLst>
                <a:ext uri="{FF2B5EF4-FFF2-40B4-BE49-F238E27FC236}">
                  <a16:creationId xmlns:a16="http://schemas.microsoft.com/office/drawing/2014/main" id="{FDF18CBA-D06C-1DAC-25D7-621D178CEEF6}"/>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7" name="Freeform 322">
              <a:extLst>
                <a:ext uri="{FF2B5EF4-FFF2-40B4-BE49-F238E27FC236}">
                  <a16:creationId xmlns:a16="http://schemas.microsoft.com/office/drawing/2014/main" id="{2374A11A-CD24-870F-F0E0-EEA806F8DEAA}"/>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8" name="Freeform 323">
              <a:extLst>
                <a:ext uri="{FF2B5EF4-FFF2-40B4-BE49-F238E27FC236}">
                  <a16:creationId xmlns:a16="http://schemas.microsoft.com/office/drawing/2014/main" id="{B874F912-6416-B973-D321-E8B324AF03A4}"/>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69" name="Freeform 324">
              <a:extLst>
                <a:ext uri="{FF2B5EF4-FFF2-40B4-BE49-F238E27FC236}">
                  <a16:creationId xmlns:a16="http://schemas.microsoft.com/office/drawing/2014/main" id="{6C3EBC1A-9F9E-5CF9-FF70-D0FDE859E847}"/>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0" name="Freeform 325">
              <a:extLst>
                <a:ext uri="{FF2B5EF4-FFF2-40B4-BE49-F238E27FC236}">
                  <a16:creationId xmlns:a16="http://schemas.microsoft.com/office/drawing/2014/main" id="{72603E63-430B-50D4-85AC-05DB72134A7C}"/>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1" name="Freeform 326">
              <a:extLst>
                <a:ext uri="{FF2B5EF4-FFF2-40B4-BE49-F238E27FC236}">
                  <a16:creationId xmlns:a16="http://schemas.microsoft.com/office/drawing/2014/main" id="{0E0EBD7E-095E-B639-7500-C1CD49DA4B61}"/>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2" name="Freeform 327">
              <a:extLst>
                <a:ext uri="{FF2B5EF4-FFF2-40B4-BE49-F238E27FC236}">
                  <a16:creationId xmlns:a16="http://schemas.microsoft.com/office/drawing/2014/main" id="{5BE732B6-17E8-B3B3-7CC2-86964B062833}"/>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3" name="Freeform 328">
              <a:extLst>
                <a:ext uri="{FF2B5EF4-FFF2-40B4-BE49-F238E27FC236}">
                  <a16:creationId xmlns:a16="http://schemas.microsoft.com/office/drawing/2014/main" id="{4E1102AC-AA8D-0024-7FF4-B34E62FD1824}"/>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4" name="Freeform 329">
              <a:extLst>
                <a:ext uri="{FF2B5EF4-FFF2-40B4-BE49-F238E27FC236}">
                  <a16:creationId xmlns:a16="http://schemas.microsoft.com/office/drawing/2014/main" id="{4AFFCCE3-8A1C-F6F3-7992-6C6915A274FA}"/>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5" name="Freeform 330">
              <a:extLst>
                <a:ext uri="{FF2B5EF4-FFF2-40B4-BE49-F238E27FC236}">
                  <a16:creationId xmlns:a16="http://schemas.microsoft.com/office/drawing/2014/main" id="{7C3BBDD8-B775-2EA4-340C-B8353A302F55}"/>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6" name="Freeform 331">
              <a:extLst>
                <a:ext uri="{FF2B5EF4-FFF2-40B4-BE49-F238E27FC236}">
                  <a16:creationId xmlns:a16="http://schemas.microsoft.com/office/drawing/2014/main" id="{AC718FE5-275C-012D-D8DB-C4050904EB0E}"/>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7" name="Freeform 332">
              <a:extLst>
                <a:ext uri="{FF2B5EF4-FFF2-40B4-BE49-F238E27FC236}">
                  <a16:creationId xmlns:a16="http://schemas.microsoft.com/office/drawing/2014/main" id="{F57F28F5-0FA6-1C18-B24A-3335726736E4}"/>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8" name="Freeform 333">
              <a:extLst>
                <a:ext uri="{FF2B5EF4-FFF2-40B4-BE49-F238E27FC236}">
                  <a16:creationId xmlns:a16="http://schemas.microsoft.com/office/drawing/2014/main" id="{ECC04437-F4AD-F4C4-D603-7CB315426396}"/>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79" name="Freeform 334">
              <a:extLst>
                <a:ext uri="{FF2B5EF4-FFF2-40B4-BE49-F238E27FC236}">
                  <a16:creationId xmlns:a16="http://schemas.microsoft.com/office/drawing/2014/main" id="{67C6275A-2322-76ED-CA41-6393DF48EBE8}"/>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0" name="Freeform 335">
              <a:extLst>
                <a:ext uri="{FF2B5EF4-FFF2-40B4-BE49-F238E27FC236}">
                  <a16:creationId xmlns:a16="http://schemas.microsoft.com/office/drawing/2014/main" id="{CFD6705C-E436-0658-9C26-22E019F032EC}"/>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1" name="Freeform 336">
              <a:extLst>
                <a:ext uri="{FF2B5EF4-FFF2-40B4-BE49-F238E27FC236}">
                  <a16:creationId xmlns:a16="http://schemas.microsoft.com/office/drawing/2014/main" id="{36AD55EF-4E95-7865-91EF-672B129A604B}"/>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2" name="Freeform 337">
              <a:extLst>
                <a:ext uri="{FF2B5EF4-FFF2-40B4-BE49-F238E27FC236}">
                  <a16:creationId xmlns:a16="http://schemas.microsoft.com/office/drawing/2014/main" id="{153DBC2E-EF19-71CC-EA8F-8980F21FC583}"/>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3" name="Freeform 338">
              <a:extLst>
                <a:ext uri="{FF2B5EF4-FFF2-40B4-BE49-F238E27FC236}">
                  <a16:creationId xmlns:a16="http://schemas.microsoft.com/office/drawing/2014/main" id="{DA0A2B1D-8C17-DE72-975A-F02EBCB077CC}"/>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4" name="Freeform 339">
              <a:extLst>
                <a:ext uri="{FF2B5EF4-FFF2-40B4-BE49-F238E27FC236}">
                  <a16:creationId xmlns:a16="http://schemas.microsoft.com/office/drawing/2014/main" id="{B533D0DF-45E4-C9BD-B627-4BD6A15F01B0}"/>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5" name="Freeform 340">
              <a:extLst>
                <a:ext uri="{FF2B5EF4-FFF2-40B4-BE49-F238E27FC236}">
                  <a16:creationId xmlns:a16="http://schemas.microsoft.com/office/drawing/2014/main" id="{852D5673-C7AF-2625-1992-CBEB52A80DBE}"/>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6" name="Freeform 341">
              <a:extLst>
                <a:ext uri="{FF2B5EF4-FFF2-40B4-BE49-F238E27FC236}">
                  <a16:creationId xmlns:a16="http://schemas.microsoft.com/office/drawing/2014/main" id="{567ABCEA-69F8-E26F-28E5-A441B85E856B}"/>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7" name="Freeform 342">
              <a:extLst>
                <a:ext uri="{FF2B5EF4-FFF2-40B4-BE49-F238E27FC236}">
                  <a16:creationId xmlns:a16="http://schemas.microsoft.com/office/drawing/2014/main" id="{4CABFB04-96EF-6156-7274-B1CE3BD121FD}"/>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8" name="Freeform 343">
              <a:extLst>
                <a:ext uri="{FF2B5EF4-FFF2-40B4-BE49-F238E27FC236}">
                  <a16:creationId xmlns:a16="http://schemas.microsoft.com/office/drawing/2014/main" id="{49C88E5C-778D-9525-DA22-6200298F6154}"/>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89" name="Freeform 344">
              <a:extLst>
                <a:ext uri="{FF2B5EF4-FFF2-40B4-BE49-F238E27FC236}">
                  <a16:creationId xmlns:a16="http://schemas.microsoft.com/office/drawing/2014/main" id="{B6E0C388-E0F5-A25D-D7A8-BF43F00117ED}"/>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0" name="Freeform 345">
              <a:extLst>
                <a:ext uri="{FF2B5EF4-FFF2-40B4-BE49-F238E27FC236}">
                  <a16:creationId xmlns:a16="http://schemas.microsoft.com/office/drawing/2014/main" id="{CF1E93C2-5A91-3EBE-20C1-92239B803309}"/>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1" name="Freeform 346">
              <a:extLst>
                <a:ext uri="{FF2B5EF4-FFF2-40B4-BE49-F238E27FC236}">
                  <a16:creationId xmlns:a16="http://schemas.microsoft.com/office/drawing/2014/main" id="{9883E5BC-BA92-83EE-445D-B5FDF46BD89B}"/>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2" name="Freeform 347">
              <a:extLst>
                <a:ext uri="{FF2B5EF4-FFF2-40B4-BE49-F238E27FC236}">
                  <a16:creationId xmlns:a16="http://schemas.microsoft.com/office/drawing/2014/main" id="{340556AD-ACA7-6306-75E0-8BCCCED37A84}"/>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3" name="Freeform 348">
              <a:extLst>
                <a:ext uri="{FF2B5EF4-FFF2-40B4-BE49-F238E27FC236}">
                  <a16:creationId xmlns:a16="http://schemas.microsoft.com/office/drawing/2014/main" id="{C3ABC3EA-19BD-70EC-6C67-7A0692D25F5D}"/>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4" name="Freeform 349">
              <a:extLst>
                <a:ext uri="{FF2B5EF4-FFF2-40B4-BE49-F238E27FC236}">
                  <a16:creationId xmlns:a16="http://schemas.microsoft.com/office/drawing/2014/main" id="{BC59E026-7399-F6BE-FBD3-9A69FFB9D02C}"/>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5" name="Freeform 350">
              <a:extLst>
                <a:ext uri="{FF2B5EF4-FFF2-40B4-BE49-F238E27FC236}">
                  <a16:creationId xmlns:a16="http://schemas.microsoft.com/office/drawing/2014/main" id="{5CA9D122-A522-3EFE-0322-C9DB3FCBFFEE}"/>
                </a:ext>
              </a:extLst>
            </p:cNvPr>
            <p:cNvSpPr>
              <a:spLocks noEditPoints="1"/>
            </p:cNvSpPr>
            <p:nvPr userDrawn="1"/>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6" name="Freeform 351">
              <a:extLst>
                <a:ext uri="{FF2B5EF4-FFF2-40B4-BE49-F238E27FC236}">
                  <a16:creationId xmlns:a16="http://schemas.microsoft.com/office/drawing/2014/main" id="{864E29E9-2853-A5E0-0417-BBE70A183D06}"/>
                </a:ext>
              </a:extLst>
            </p:cNvPr>
            <p:cNvSpPr>
              <a:spLocks noEditPoints="1"/>
            </p:cNvSpPr>
            <p:nvPr userDrawn="1"/>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7" name="Freeform 352">
              <a:extLst>
                <a:ext uri="{FF2B5EF4-FFF2-40B4-BE49-F238E27FC236}">
                  <a16:creationId xmlns:a16="http://schemas.microsoft.com/office/drawing/2014/main" id="{185B7240-C9A9-6EC7-DF07-75FAF58170F7}"/>
                </a:ext>
              </a:extLst>
            </p:cNvPr>
            <p:cNvSpPr>
              <a:spLocks/>
            </p:cNvSpPr>
            <p:nvPr userDrawn="1"/>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8" name="Freeform 353">
              <a:extLst>
                <a:ext uri="{FF2B5EF4-FFF2-40B4-BE49-F238E27FC236}">
                  <a16:creationId xmlns:a16="http://schemas.microsoft.com/office/drawing/2014/main" id="{546BA845-2057-8FD4-843F-7DD8F7919AF9}"/>
                </a:ext>
              </a:extLst>
            </p:cNvPr>
            <p:cNvSpPr>
              <a:spLocks/>
            </p:cNvSpPr>
            <p:nvPr userDrawn="1"/>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299" name="Freeform 354">
              <a:extLst>
                <a:ext uri="{FF2B5EF4-FFF2-40B4-BE49-F238E27FC236}">
                  <a16:creationId xmlns:a16="http://schemas.microsoft.com/office/drawing/2014/main" id="{50F75BB1-FD9A-52D6-BE20-A0F47CBEE691}"/>
                </a:ext>
              </a:extLst>
            </p:cNvPr>
            <p:cNvSpPr>
              <a:spLocks/>
            </p:cNvSpPr>
            <p:nvPr userDrawn="1"/>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0" name="Freeform 355">
              <a:extLst>
                <a:ext uri="{FF2B5EF4-FFF2-40B4-BE49-F238E27FC236}">
                  <a16:creationId xmlns:a16="http://schemas.microsoft.com/office/drawing/2014/main" id="{A0EB1A66-18EE-023D-B0D9-85D4C45BAE29}"/>
                </a:ext>
              </a:extLst>
            </p:cNvPr>
            <p:cNvSpPr>
              <a:spLocks/>
            </p:cNvSpPr>
            <p:nvPr userDrawn="1"/>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1" name="Freeform 356">
              <a:extLst>
                <a:ext uri="{FF2B5EF4-FFF2-40B4-BE49-F238E27FC236}">
                  <a16:creationId xmlns:a16="http://schemas.microsoft.com/office/drawing/2014/main" id="{9A02F466-A2FB-F5BD-1561-7EEFB9D9145B}"/>
                </a:ext>
              </a:extLst>
            </p:cNvPr>
            <p:cNvSpPr>
              <a:spLocks/>
            </p:cNvSpPr>
            <p:nvPr userDrawn="1"/>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2" name="Freeform 357">
              <a:extLst>
                <a:ext uri="{FF2B5EF4-FFF2-40B4-BE49-F238E27FC236}">
                  <a16:creationId xmlns:a16="http://schemas.microsoft.com/office/drawing/2014/main" id="{5860528E-E4E4-D417-04D9-02422A1F956E}"/>
                </a:ext>
              </a:extLst>
            </p:cNvPr>
            <p:cNvSpPr>
              <a:spLocks/>
            </p:cNvSpPr>
            <p:nvPr userDrawn="1"/>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3" name="Freeform 358">
              <a:extLst>
                <a:ext uri="{FF2B5EF4-FFF2-40B4-BE49-F238E27FC236}">
                  <a16:creationId xmlns:a16="http://schemas.microsoft.com/office/drawing/2014/main" id="{2550C59C-4869-11B1-0946-5BFEC728D382}"/>
                </a:ext>
              </a:extLst>
            </p:cNvPr>
            <p:cNvSpPr>
              <a:spLocks/>
            </p:cNvSpPr>
            <p:nvPr userDrawn="1"/>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4" name="Freeform 359">
              <a:extLst>
                <a:ext uri="{FF2B5EF4-FFF2-40B4-BE49-F238E27FC236}">
                  <a16:creationId xmlns:a16="http://schemas.microsoft.com/office/drawing/2014/main" id="{D501AF88-931F-7CFF-D698-9E52E86B9A2E}"/>
                </a:ext>
              </a:extLst>
            </p:cNvPr>
            <p:cNvSpPr>
              <a:spLocks/>
            </p:cNvSpPr>
            <p:nvPr userDrawn="1"/>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5" name="Freeform 360">
              <a:extLst>
                <a:ext uri="{FF2B5EF4-FFF2-40B4-BE49-F238E27FC236}">
                  <a16:creationId xmlns:a16="http://schemas.microsoft.com/office/drawing/2014/main" id="{9930CA02-7442-29E0-30E4-E44B7DBCFE18}"/>
                </a:ext>
              </a:extLst>
            </p:cNvPr>
            <p:cNvSpPr>
              <a:spLocks/>
            </p:cNvSpPr>
            <p:nvPr userDrawn="1"/>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28"/>
            </a:p>
          </p:txBody>
        </p:sp>
        <p:sp>
          <p:nvSpPr>
            <p:cNvPr id="306" name="Freeform 361">
              <a:extLst>
                <a:ext uri="{FF2B5EF4-FFF2-40B4-BE49-F238E27FC236}">
                  <a16:creationId xmlns:a16="http://schemas.microsoft.com/office/drawing/2014/main" id="{BADB1824-790E-D6CD-B828-82B38BFCFB3D}"/>
                </a:ext>
              </a:extLst>
            </p:cNvPr>
            <p:cNvSpPr>
              <a:spLocks/>
            </p:cNvSpPr>
            <p:nvPr userDrawn="1"/>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1228"/>
            </a:p>
          </p:txBody>
        </p:sp>
      </p:grpSp>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576026" y="1406549"/>
            <a:ext cx="3312187" cy="4229696"/>
          </a:xfrm>
          <a:prstGeom prst="rect">
            <a:avLst/>
          </a:prstGeom>
        </p:spPr>
        <p:txBody>
          <a:bodyPr vert="horz" lIns="0" tIns="45720" rIns="0" bIns="45720" rtlCol="0">
            <a:noAutofit/>
          </a:bodyPr>
          <a:lstStyle>
            <a:lvl1pPr>
              <a:defRPr lang="en-US" sz="1323" dirty="0" smtClean="0">
                <a:solidFill>
                  <a:schemeClr val="tx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323" dirty="0" smtClean="0">
                <a:solidFill>
                  <a:schemeClr val="tx2"/>
                </a:solidFill>
                <a:latin typeface="Avenir Next LT Pro" panose="020B0504020202020204" pitchFamily="34" charset="77"/>
              </a:defRPr>
            </a:lvl4pPr>
            <a:lvl5pPr>
              <a:defRPr lang="en-US" sz="1323"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9" name="Text Placeholder 11">
            <a:extLst>
              <a:ext uri="{FF2B5EF4-FFF2-40B4-BE49-F238E27FC236}">
                <a16:creationId xmlns:a16="http://schemas.microsoft.com/office/drawing/2014/main" id="{4DF024E1-586B-3043-8929-69F87EE1B29C}"/>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50" name="Text Placeholder 7">
            <a:extLst>
              <a:ext uri="{FF2B5EF4-FFF2-40B4-BE49-F238E27FC236}">
                <a16:creationId xmlns:a16="http://schemas.microsoft.com/office/drawing/2014/main" id="{B4ADF5C0-7E95-CEF6-6072-5ED171A25DA7}"/>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507" name="Text Placeholder 12">
            <a:extLst>
              <a:ext uri="{FF2B5EF4-FFF2-40B4-BE49-F238E27FC236}">
                <a16:creationId xmlns:a16="http://schemas.microsoft.com/office/drawing/2014/main" id="{D9C2CA6F-F6AA-EA22-D0DF-7790AD50583A}"/>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4047281336"/>
      </p:ext>
    </p:extLst>
  </p:cSld>
  <p:clrMapOvr>
    <a:masterClrMapping/>
  </p:clrMapOvr>
  <p:transition>
    <p:wip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1 - Headline, copy, 3 boxes, 2 photos - newsprint">
    <p:bg>
      <p:bgPr>
        <a:solidFill>
          <a:schemeClr val="bg1"/>
        </a:solidFill>
        <a:effectLst/>
      </p:bgPr>
    </p:bg>
    <p:spTree>
      <p:nvGrpSpPr>
        <p:cNvPr id="1" name=""/>
        <p:cNvGrpSpPr/>
        <p:nvPr/>
      </p:nvGrpSpPr>
      <p:grpSpPr>
        <a:xfrm>
          <a:off x="0" y="0"/>
          <a:ext cx="0" cy="0"/>
          <a:chOff x="0" y="0"/>
          <a:chExt cx="0" cy="0"/>
        </a:xfrm>
      </p:grpSpPr>
      <p:sp>
        <p:nvSpPr>
          <p:cNvPr id="9" name="Rectangle 50">
            <a:extLst>
              <a:ext uri="{FF2B5EF4-FFF2-40B4-BE49-F238E27FC236}">
                <a16:creationId xmlns:a16="http://schemas.microsoft.com/office/drawing/2014/main" id="{D3CF9A40-6956-2FBB-7E26-4406A1F6D76B}"/>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3041121"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6" name="Text Placeholder 5">
            <a:extLst>
              <a:ext uri="{FF2B5EF4-FFF2-40B4-BE49-F238E27FC236}">
                <a16:creationId xmlns:a16="http://schemas.microsoft.com/office/drawing/2014/main" id="{43471A51-F19B-E8DA-E9B7-3711557ABB41}"/>
              </a:ext>
            </a:extLst>
          </p:cNvPr>
          <p:cNvSpPr>
            <a:spLocks noGrp="1"/>
          </p:cNvSpPr>
          <p:nvPr>
            <p:ph type="body" sz="quarter" idx="21"/>
          </p:nvPr>
        </p:nvSpPr>
        <p:spPr>
          <a:xfrm>
            <a:off x="576025" y="3072351"/>
            <a:ext cx="3041409" cy="2171791"/>
          </a:xfrm>
          <a:prstGeom prst="rect">
            <a:avLst/>
          </a:prstGeom>
        </p:spPr>
        <p:txBody>
          <a:bodyPr lIns="0"/>
          <a:lstStyle>
            <a:lvl1pPr marL="0" indent="0">
              <a:buNone/>
              <a:defRPr>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3" name="Rectangle 2">
            <a:extLst>
              <a:ext uri="{FF2B5EF4-FFF2-40B4-BE49-F238E27FC236}">
                <a16:creationId xmlns:a16="http://schemas.microsoft.com/office/drawing/2014/main" id="{796B6840-8ACC-9DC2-06B5-1953605282F0}"/>
              </a:ext>
            </a:extLst>
          </p:cNvPr>
          <p:cNvSpPr/>
          <p:nvPr userDrawn="1"/>
        </p:nvSpPr>
        <p:spPr>
          <a:xfrm>
            <a:off x="4032171" y="0"/>
            <a:ext cx="7488317"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 name="AutoShape 3">
            <a:extLst>
              <a:ext uri="{FF2B5EF4-FFF2-40B4-BE49-F238E27FC236}">
                <a16:creationId xmlns:a16="http://schemas.microsoft.com/office/drawing/2014/main" id="{85277FFF-F67C-FA1F-EB83-5263F6FA4C31}"/>
              </a:ext>
            </a:extLst>
          </p:cNvPr>
          <p:cNvSpPr>
            <a:spLocks/>
          </p:cNvSpPr>
          <p:nvPr userDrawn="1"/>
        </p:nvSpPr>
        <p:spPr bwMode="auto">
          <a:xfrm>
            <a:off x="4298262" y="893867"/>
            <a:ext cx="4551118" cy="194421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1">
              <a:lumMod val="95000"/>
            </a:schemeClr>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5" name="AutoShape 4">
            <a:extLst>
              <a:ext uri="{FF2B5EF4-FFF2-40B4-BE49-F238E27FC236}">
                <a16:creationId xmlns:a16="http://schemas.microsoft.com/office/drawing/2014/main" id="{A957B494-0CC8-B8E6-A9AC-054F79D7DFAB}"/>
              </a:ext>
            </a:extLst>
          </p:cNvPr>
          <p:cNvSpPr>
            <a:spLocks/>
          </p:cNvSpPr>
          <p:nvPr userDrawn="1"/>
        </p:nvSpPr>
        <p:spPr bwMode="auto">
          <a:xfrm>
            <a:off x="4298262" y="3086735"/>
            <a:ext cx="4551118" cy="24987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1">
              <a:lumMod val="95000"/>
            </a:schemeClr>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8" name="AutoShape 5">
            <a:extLst>
              <a:ext uri="{FF2B5EF4-FFF2-40B4-BE49-F238E27FC236}">
                <a16:creationId xmlns:a16="http://schemas.microsoft.com/office/drawing/2014/main" id="{C7054EF2-7DC0-6E04-8242-76D430BE9E78}"/>
              </a:ext>
            </a:extLst>
          </p:cNvPr>
          <p:cNvSpPr>
            <a:spLocks/>
          </p:cNvSpPr>
          <p:nvPr userDrawn="1"/>
        </p:nvSpPr>
        <p:spPr bwMode="auto">
          <a:xfrm>
            <a:off x="9062558" y="893867"/>
            <a:ext cx="2169796" cy="46924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bg1">
              <a:lumMod val="95000"/>
            </a:schemeClr>
          </a:solidFill>
          <a:ln w="25400" cap="flat" cmpd="sng">
            <a:noFill/>
            <a:prstDash val="solid"/>
            <a:miter lim="0"/>
            <a:headEnd/>
            <a:tailEnd/>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10" name="AutoShape 12">
            <a:extLst>
              <a:ext uri="{FF2B5EF4-FFF2-40B4-BE49-F238E27FC236}">
                <a16:creationId xmlns:a16="http://schemas.microsoft.com/office/drawing/2014/main" id="{4709E113-4223-68F2-1A92-D5D8D50DBD36}"/>
              </a:ext>
            </a:extLst>
          </p:cNvPr>
          <p:cNvSpPr>
            <a:spLocks/>
          </p:cNvSpPr>
          <p:nvPr userDrawn="1"/>
        </p:nvSpPr>
        <p:spPr bwMode="auto">
          <a:xfrm>
            <a:off x="4450296" y="2314768"/>
            <a:ext cx="991529" cy="318836"/>
          </a:xfrm>
          <a:prstGeom prst="roundRect">
            <a:avLst>
              <a:gd name="adj" fmla="val 9116"/>
            </a:avLst>
          </a:prstGeom>
          <a:solidFill>
            <a:schemeClr val="accent3"/>
          </a:solidFill>
          <a:ln w="25400" cap="flat" cmpd="sng">
            <a:noFill/>
            <a:prstDash val="solid"/>
            <a:miter lim="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1" name="AutoShape 15">
            <a:extLst>
              <a:ext uri="{FF2B5EF4-FFF2-40B4-BE49-F238E27FC236}">
                <a16:creationId xmlns:a16="http://schemas.microsoft.com/office/drawing/2014/main" id="{866DAF30-CC58-9453-F3EA-43BDEECBE7EA}"/>
              </a:ext>
            </a:extLst>
          </p:cNvPr>
          <p:cNvSpPr>
            <a:spLocks/>
          </p:cNvSpPr>
          <p:nvPr userDrawn="1"/>
        </p:nvSpPr>
        <p:spPr bwMode="auto">
          <a:xfrm>
            <a:off x="7662850" y="5080329"/>
            <a:ext cx="991529" cy="318836"/>
          </a:xfrm>
          <a:prstGeom prst="roundRect">
            <a:avLst>
              <a:gd name="adj" fmla="val 9116"/>
            </a:avLst>
          </a:prstGeom>
          <a:solidFill>
            <a:schemeClr val="accent5">
              <a:lumMod val="50000"/>
            </a:schemeClr>
          </a:solidFill>
          <a:ln w="25400" cap="flat" cmpd="sng">
            <a:noFill/>
            <a:prstDash val="solid"/>
            <a:miter lim="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3" name="AutoShape 18">
            <a:extLst>
              <a:ext uri="{FF2B5EF4-FFF2-40B4-BE49-F238E27FC236}">
                <a16:creationId xmlns:a16="http://schemas.microsoft.com/office/drawing/2014/main" id="{3827F205-D9FB-907E-F87A-1B30326B2352}"/>
              </a:ext>
            </a:extLst>
          </p:cNvPr>
          <p:cNvSpPr>
            <a:spLocks/>
          </p:cNvSpPr>
          <p:nvPr userDrawn="1"/>
        </p:nvSpPr>
        <p:spPr bwMode="auto">
          <a:xfrm>
            <a:off x="10029299" y="2862335"/>
            <a:ext cx="991529" cy="318836"/>
          </a:xfrm>
          <a:prstGeom prst="roundRect">
            <a:avLst>
              <a:gd name="adj" fmla="val 9116"/>
            </a:avLst>
          </a:prstGeom>
          <a:solidFill>
            <a:schemeClr val="accent2"/>
          </a:solidFill>
          <a:ln w="25400" cap="flat" cmpd="sng">
            <a:noFill/>
            <a:prstDash val="solid"/>
            <a:miter lim="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8" name="Text Placeholder 17">
            <a:extLst>
              <a:ext uri="{FF2B5EF4-FFF2-40B4-BE49-F238E27FC236}">
                <a16:creationId xmlns:a16="http://schemas.microsoft.com/office/drawing/2014/main" id="{D54F8347-0E48-9FE8-9812-9DB588351BE8}"/>
              </a:ext>
            </a:extLst>
          </p:cNvPr>
          <p:cNvSpPr>
            <a:spLocks noGrp="1"/>
          </p:cNvSpPr>
          <p:nvPr>
            <p:ph type="body" sz="quarter" idx="22" hasCustomPrompt="1"/>
          </p:nvPr>
        </p:nvSpPr>
        <p:spPr>
          <a:xfrm>
            <a:off x="4450689" y="2314564"/>
            <a:ext cx="991542" cy="319508"/>
          </a:xfrm>
          <a:prstGeom prst="rect">
            <a:avLst/>
          </a:prstGeom>
        </p:spPr>
        <p:txBody>
          <a:bodyPr anchor="ctr" anchorCtr="0"/>
          <a:lstStyle>
            <a:lvl1pPr marL="0" indent="0" algn="ctr">
              <a:buNone/>
              <a:defRPr sz="1039">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1</a:t>
            </a:r>
          </a:p>
        </p:txBody>
      </p:sp>
      <p:sp>
        <p:nvSpPr>
          <p:cNvPr id="19" name="Text Placeholder 17">
            <a:extLst>
              <a:ext uri="{FF2B5EF4-FFF2-40B4-BE49-F238E27FC236}">
                <a16:creationId xmlns:a16="http://schemas.microsoft.com/office/drawing/2014/main" id="{284241C3-9607-4641-D0A0-BC67FED4C301}"/>
              </a:ext>
            </a:extLst>
          </p:cNvPr>
          <p:cNvSpPr>
            <a:spLocks noGrp="1"/>
          </p:cNvSpPr>
          <p:nvPr>
            <p:ph type="body" sz="quarter" idx="23" hasCustomPrompt="1"/>
          </p:nvPr>
        </p:nvSpPr>
        <p:spPr>
          <a:xfrm>
            <a:off x="7656280" y="5079657"/>
            <a:ext cx="991542" cy="319508"/>
          </a:xfrm>
          <a:prstGeom prst="rect">
            <a:avLst/>
          </a:prstGeom>
        </p:spPr>
        <p:txBody>
          <a:bodyPr anchor="ctr" anchorCtr="0"/>
          <a:lstStyle>
            <a:lvl1pPr marL="0" indent="0" algn="ctr">
              <a:buNone/>
              <a:defRPr sz="1039">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2</a:t>
            </a:r>
          </a:p>
        </p:txBody>
      </p:sp>
      <p:sp>
        <p:nvSpPr>
          <p:cNvPr id="20" name="Text Placeholder 17">
            <a:extLst>
              <a:ext uri="{FF2B5EF4-FFF2-40B4-BE49-F238E27FC236}">
                <a16:creationId xmlns:a16="http://schemas.microsoft.com/office/drawing/2014/main" id="{551F5560-4FE7-FED4-DDEB-CC40E5FFFCA6}"/>
              </a:ext>
            </a:extLst>
          </p:cNvPr>
          <p:cNvSpPr>
            <a:spLocks noGrp="1"/>
          </p:cNvSpPr>
          <p:nvPr>
            <p:ph type="body" sz="quarter" idx="24" hasCustomPrompt="1"/>
          </p:nvPr>
        </p:nvSpPr>
        <p:spPr>
          <a:xfrm>
            <a:off x="10029287" y="2860864"/>
            <a:ext cx="991542" cy="319508"/>
          </a:xfrm>
          <a:prstGeom prst="rect">
            <a:avLst/>
          </a:prstGeom>
        </p:spPr>
        <p:txBody>
          <a:bodyPr anchor="ctr" anchorCtr="0"/>
          <a:lstStyle>
            <a:lvl1pPr marL="0" indent="0" algn="ctr">
              <a:buNone/>
              <a:defRPr sz="1039">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3</a:t>
            </a:r>
          </a:p>
        </p:txBody>
      </p:sp>
      <p:sp>
        <p:nvSpPr>
          <p:cNvPr id="22" name="Picture Placeholder 21">
            <a:extLst>
              <a:ext uri="{FF2B5EF4-FFF2-40B4-BE49-F238E27FC236}">
                <a16:creationId xmlns:a16="http://schemas.microsoft.com/office/drawing/2014/main" id="{C13DBA41-7D9B-74DB-29FA-E89D10563CB5}"/>
              </a:ext>
            </a:extLst>
          </p:cNvPr>
          <p:cNvSpPr>
            <a:spLocks noGrp="1"/>
          </p:cNvSpPr>
          <p:nvPr>
            <p:ph type="pic" sz="quarter" idx="25"/>
          </p:nvPr>
        </p:nvSpPr>
        <p:spPr>
          <a:xfrm>
            <a:off x="9061885" y="3415593"/>
            <a:ext cx="2170591" cy="2170558"/>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3" name="Picture Placeholder 21">
            <a:extLst>
              <a:ext uri="{FF2B5EF4-FFF2-40B4-BE49-F238E27FC236}">
                <a16:creationId xmlns:a16="http://schemas.microsoft.com/office/drawing/2014/main" id="{FEBDAD93-9454-7D60-FE03-968DD43BFA1E}"/>
              </a:ext>
            </a:extLst>
          </p:cNvPr>
          <p:cNvSpPr>
            <a:spLocks noGrp="1"/>
          </p:cNvSpPr>
          <p:nvPr>
            <p:ph type="pic" sz="quarter" idx="26"/>
          </p:nvPr>
        </p:nvSpPr>
        <p:spPr>
          <a:xfrm>
            <a:off x="6905139" y="893867"/>
            <a:ext cx="1944240" cy="1944210"/>
          </a:xfrm>
          <a:prstGeom prst="rect">
            <a:avLst/>
          </a:prstGeom>
          <a:solidFill>
            <a:schemeClr val="accent6"/>
          </a:solidFill>
          <a:ln>
            <a:noFill/>
          </a:ln>
        </p:spPr>
        <p:txBody>
          <a:bodyPr/>
          <a:lstStyle>
            <a:lvl1pPr>
              <a:defRPr>
                <a:latin typeface="Avenir Next LT Pro" panose="020B0504020202020204" pitchFamily="34" charset="77"/>
              </a:defRPr>
            </a:lvl1pPr>
          </a:lstStyle>
          <a:p>
            <a:endParaRPr lang="en-US"/>
          </a:p>
        </p:txBody>
      </p:sp>
      <p:sp>
        <p:nvSpPr>
          <p:cNvPr id="24" name="Text Placeholder 39">
            <a:extLst>
              <a:ext uri="{FF2B5EF4-FFF2-40B4-BE49-F238E27FC236}">
                <a16:creationId xmlns:a16="http://schemas.microsoft.com/office/drawing/2014/main" id="{0307B865-7A9A-75CA-D138-A4E3788DC95C}"/>
              </a:ext>
            </a:extLst>
          </p:cNvPr>
          <p:cNvSpPr>
            <a:spLocks noGrp="1"/>
          </p:cNvSpPr>
          <p:nvPr>
            <p:ph type="body" sz="quarter" idx="11" hasCustomPrompt="1"/>
          </p:nvPr>
        </p:nvSpPr>
        <p:spPr>
          <a:xfrm>
            <a:off x="4458532" y="1047205"/>
            <a:ext cx="2233428" cy="279865"/>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1</a:t>
            </a:r>
          </a:p>
        </p:txBody>
      </p:sp>
      <p:sp>
        <p:nvSpPr>
          <p:cNvPr id="25" name="Text Placeholder 41">
            <a:extLst>
              <a:ext uri="{FF2B5EF4-FFF2-40B4-BE49-F238E27FC236}">
                <a16:creationId xmlns:a16="http://schemas.microsoft.com/office/drawing/2014/main" id="{C55BC8A1-E046-CDE1-770D-DF9AFBDAEDFA}"/>
              </a:ext>
            </a:extLst>
          </p:cNvPr>
          <p:cNvSpPr>
            <a:spLocks noGrp="1"/>
          </p:cNvSpPr>
          <p:nvPr>
            <p:ph type="body" sz="quarter" idx="12" hasCustomPrompt="1"/>
          </p:nvPr>
        </p:nvSpPr>
        <p:spPr>
          <a:xfrm>
            <a:off x="4452670" y="1363713"/>
            <a:ext cx="2239291" cy="818951"/>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28" name="Text Placeholder 39">
            <a:extLst>
              <a:ext uri="{FF2B5EF4-FFF2-40B4-BE49-F238E27FC236}">
                <a16:creationId xmlns:a16="http://schemas.microsoft.com/office/drawing/2014/main" id="{E5CFED31-5D6D-F3E9-879D-5E938DAA0E0D}"/>
              </a:ext>
            </a:extLst>
          </p:cNvPr>
          <p:cNvSpPr>
            <a:spLocks noGrp="1"/>
          </p:cNvSpPr>
          <p:nvPr>
            <p:ph type="body" sz="quarter" idx="27" hasCustomPrompt="1"/>
          </p:nvPr>
        </p:nvSpPr>
        <p:spPr>
          <a:xfrm>
            <a:off x="4458533" y="3283624"/>
            <a:ext cx="4183493" cy="279865"/>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2</a:t>
            </a:r>
          </a:p>
        </p:txBody>
      </p:sp>
      <p:sp>
        <p:nvSpPr>
          <p:cNvPr id="31" name="Text Placeholder 41">
            <a:extLst>
              <a:ext uri="{FF2B5EF4-FFF2-40B4-BE49-F238E27FC236}">
                <a16:creationId xmlns:a16="http://schemas.microsoft.com/office/drawing/2014/main" id="{CEEF4E16-33C3-164B-6945-6E4ECE88B4E4}"/>
              </a:ext>
            </a:extLst>
          </p:cNvPr>
          <p:cNvSpPr>
            <a:spLocks noGrp="1"/>
          </p:cNvSpPr>
          <p:nvPr>
            <p:ph type="body" sz="quarter" idx="28" hasCustomPrompt="1"/>
          </p:nvPr>
        </p:nvSpPr>
        <p:spPr>
          <a:xfrm>
            <a:off x="4452670" y="3600132"/>
            <a:ext cx="4194478" cy="1347625"/>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sp>
        <p:nvSpPr>
          <p:cNvPr id="32" name="Text Placeholder 39">
            <a:extLst>
              <a:ext uri="{FF2B5EF4-FFF2-40B4-BE49-F238E27FC236}">
                <a16:creationId xmlns:a16="http://schemas.microsoft.com/office/drawing/2014/main" id="{4328DFE7-7EE4-DCEE-CD7B-85000494B31C}"/>
              </a:ext>
            </a:extLst>
          </p:cNvPr>
          <p:cNvSpPr>
            <a:spLocks noGrp="1"/>
          </p:cNvSpPr>
          <p:nvPr>
            <p:ph type="body" sz="quarter" idx="29" hasCustomPrompt="1"/>
          </p:nvPr>
        </p:nvSpPr>
        <p:spPr>
          <a:xfrm>
            <a:off x="9214869" y="1047205"/>
            <a:ext cx="1807079" cy="279865"/>
          </a:xfrm>
          <a:prstGeom prst="rect">
            <a:avLst/>
          </a:prstGeom>
        </p:spPr>
        <p:txBody>
          <a:bodyPr lIns="0"/>
          <a:lstStyle>
            <a:lvl1pPr marL="0" indent="0">
              <a:buNone/>
              <a:defRPr sz="1323" b="1" i="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TLE 03</a:t>
            </a:r>
          </a:p>
        </p:txBody>
      </p:sp>
      <p:sp>
        <p:nvSpPr>
          <p:cNvPr id="33" name="Text Placeholder 41">
            <a:extLst>
              <a:ext uri="{FF2B5EF4-FFF2-40B4-BE49-F238E27FC236}">
                <a16:creationId xmlns:a16="http://schemas.microsoft.com/office/drawing/2014/main" id="{45CA5DCB-B71D-0181-4749-7B8F1DF3C09F}"/>
              </a:ext>
            </a:extLst>
          </p:cNvPr>
          <p:cNvSpPr>
            <a:spLocks noGrp="1"/>
          </p:cNvSpPr>
          <p:nvPr>
            <p:ph type="body" sz="quarter" idx="30" hasCustomPrompt="1"/>
          </p:nvPr>
        </p:nvSpPr>
        <p:spPr>
          <a:xfrm>
            <a:off x="9209006" y="1363713"/>
            <a:ext cx="1811823" cy="1389641"/>
          </a:xfrm>
          <a:prstGeom prst="rect">
            <a:avLst/>
          </a:prstGeom>
        </p:spPr>
        <p:txBody>
          <a:bodyPr lIns="0"/>
          <a:lstStyle>
            <a:lvl1pPr marL="0" indent="0">
              <a:buNone/>
              <a:defRPr sz="1039">
                <a:solidFill>
                  <a:schemeClr val="tx2"/>
                </a:solidFill>
                <a:latin typeface="Avenir Next LT Pro" panose="020B0504020202020204" pitchFamily="34" charset="77"/>
              </a:defRPr>
            </a:lvl1pPr>
            <a:lvl2pPr marL="160504" indent="0">
              <a:buNone/>
              <a:defRPr sz="1039">
                <a:solidFill>
                  <a:schemeClr val="bg1"/>
                </a:solidFill>
              </a:defRPr>
            </a:lvl2pPr>
            <a:lvl3pPr marL="325506" indent="0">
              <a:buNone/>
              <a:defRPr sz="1039">
                <a:solidFill>
                  <a:schemeClr val="bg1"/>
                </a:solidFill>
              </a:defRPr>
            </a:lvl3pPr>
            <a:lvl4pPr marL="486009" indent="0">
              <a:buNone/>
              <a:defRPr sz="1039">
                <a:solidFill>
                  <a:schemeClr val="bg1"/>
                </a:solidFill>
              </a:defRPr>
            </a:lvl4pPr>
            <a:lvl5pPr marL="651012" indent="0">
              <a:buNone/>
              <a:defRPr sz="1039">
                <a:solidFill>
                  <a:schemeClr val="bg1"/>
                </a:solidFill>
              </a:defRPr>
            </a:lvl5pPr>
          </a:lstStyle>
          <a:p>
            <a:pPr lvl="0"/>
            <a:r>
              <a:rPr lang="en-US" dirty="0"/>
              <a:t>Click to edit text</a:t>
            </a:r>
          </a:p>
        </p:txBody>
      </p:sp>
      <p:pic>
        <p:nvPicPr>
          <p:cNvPr id="7" name="Picture 6">
            <a:extLst>
              <a:ext uri="{FF2B5EF4-FFF2-40B4-BE49-F238E27FC236}">
                <a16:creationId xmlns:a16="http://schemas.microsoft.com/office/drawing/2014/main" id="{0276181F-2852-9DF9-6478-C59AA611F02E}"/>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1755028406"/>
      </p:ext>
    </p:extLst>
  </p:cSld>
  <p:clrMapOvr>
    <a:masterClrMapping/>
  </p:clrMapOvr>
  <p:transition>
    <p:wip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2 - Headline, copy, callout number - white">
    <p:bg>
      <p:bgPr>
        <a:solidFill>
          <a:schemeClr val="bg1"/>
        </a:solidFill>
        <a:effectLst/>
      </p:bgPr>
    </p:bg>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5DC1ADCF-3957-29AB-E360-224CB14AAA6C}"/>
              </a:ext>
            </a:extLst>
          </p:cNvPr>
          <p:cNvSpPr>
            <a:spLocks noChangeArrowheads="1"/>
          </p:cNvSpPr>
          <p:nvPr userDrawn="1"/>
        </p:nvSpPr>
        <p:spPr bwMode="auto">
          <a:xfrm>
            <a:off x="576025" y="6084008"/>
            <a:ext cx="4986890" cy="324961"/>
          </a:xfrm>
          <a:prstGeom prst="rect">
            <a:avLst/>
          </a:prstGeom>
          <a:solidFill>
            <a:schemeClr val="bg1"/>
          </a:solidFill>
          <a:ln w="12700" algn="ctr">
            <a:noFill/>
            <a:miter lim="800000"/>
            <a:headEnd/>
            <a:tailEnd/>
          </a:ln>
          <a:effectLst/>
        </p:spPr>
        <p:txBody>
          <a:bodyPr wrap="square" lIns="0" anchor="ctr">
            <a:spAutoFit/>
          </a:bodyPr>
          <a:lstStyle/>
          <a:p>
            <a:r>
              <a:rPr lang="en-US" sz="756" b="1" dirty="0">
                <a:solidFill>
                  <a:schemeClr val="accent1"/>
                </a:solidFill>
                <a:latin typeface="Avenir Next LT Pro" panose="020B0504020202020204" pitchFamily="34" charset="77"/>
              </a:rPr>
              <a:t>For Use with Financial Professionals and Institutional Investors Only. </a:t>
            </a:r>
            <a:br>
              <a:rPr lang="en-US" sz="756" b="1" dirty="0">
                <a:solidFill>
                  <a:schemeClr val="accent1"/>
                </a:solidFill>
                <a:latin typeface="Avenir Next LT Pro" panose="020B0504020202020204" pitchFamily="34" charset="77"/>
              </a:rPr>
            </a:br>
            <a:r>
              <a:rPr lang="en-US" sz="756" b="1" dirty="0">
                <a:solidFill>
                  <a:schemeClr val="accent1"/>
                </a:solidFill>
                <a:latin typeface="Avenir Next LT Pro" panose="020B0504020202020204" pitchFamily="34" charset="77"/>
              </a:rPr>
              <a:t>Not for Use with the General Public.</a:t>
            </a: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3041121" cy="436231"/>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6" name="Text Placeholder 5">
            <a:extLst>
              <a:ext uri="{FF2B5EF4-FFF2-40B4-BE49-F238E27FC236}">
                <a16:creationId xmlns:a16="http://schemas.microsoft.com/office/drawing/2014/main" id="{43471A51-F19B-E8DA-E9B7-3711557ABB41}"/>
              </a:ext>
            </a:extLst>
          </p:cNvPr>
          <p:cNvSpPr>
            <a:spLocks noGrp="1"/>
          </p:cNvSpPr>
          <p:nvPr>
            <p:ph type="body" sz="quarter" idx="21"/>
          </p:nvPr>
        </p:nvSpPr>
        <p:spPr>
          <a:xfrm>
            <a:off x="576025" y="3072351"/>
            <a:ext cx="3041409" cy="2171791"/>
          </a:xfrm>
          <a:prstGeom prst="rect">
            <a:avLst/>
          </a:prstGeom>
        </p:spPr>
        <p:txBody>
          <a:bodyPr lIns="0"/>
          <a:lstStyle>
            <a:lvl1pPr marL="0" indent="0">
              <a:buNone/>
              <a:defRPr>
                <a:solidFill>
                  <a:schemeClr val="tx2"/>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7" name="Rectangle 6">
            <a:extLst>
              <a:ext uri="{FF2B5EF4-FFF2-40B4-BE49-F238E27FC236}">
                <a16:creationId xmlns:a16="http://schemas.microsoft.com/office/drawing/2014/main" id="{F0FA7697-649A-BE2A-5E8E-B73517A6EDD6}"/>
              </a:ext>
            </a:extLst>
          </p:cNvPr>
          <p:cNvSpPr/>
          <p:nvPr userDrawn="1"/>
        </p:nvSpPr>
        <p:spPr>
          <a:xfrm>
            <a:off x="4723400" y="0"/>
            <a:ext cx="67970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9" name="Rectangle 8">
            <a:extLst>
              <a:ext uri="{FF2B5EF4-FFF2-40B4-BE49-F238E27FC236}">
                <a16:creationId xmlns:a16="http://schemas.microsoft.com/office/drawing/2014/main" id="{BAA43713-E930-22FB-183B-442EDD0CE923}"/>
              </a:ext>
            </a:extLst>
          </p:cNvPr>
          <p:cNvSpPr/>
          <p:nvPr userDrawn="1"/>
        </p:nvSpPr>
        <p:spPr>
          <a:xfrm>
            <a:off x="4723400" y="5285789"/>
            <a:ext cx="6797088" cy="1194386"/>
          </a:xfrm>
          <a:prstGeom prst="rect">
            <a:avLst/>
          </a:prstGeom>
          <a:pattFill prst="wdUpDiag">
            <a:fgClr>
              <a:schemeClr val="accent1"/>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5" name="Text Placeholder 14">
            <a:extLst>
              <a:ext uri="{FF2B5EF4-FFF2-40B4-BE49-F238E27FC236}">
                <a16:creationId xmlns:a16="http://schemas.microsoft.com/office/drawing/2014/main" id="{9024D958-C518-AE0F-B6B6-F65E81E79327}"/>
              </a:ext>
            </a:extLst>
          </p:cNvPr>
          <p:cNvSpPr>
            <a:spLocks noGrp="1"/>
          </p:cNvSpPr>
          <p:nvPr>
            <p:ph type="body" sz="quarter" idx="22" hasCustomPrompt="1"/>
          </p:nvPr>
        </p:nvSpPr>
        <p:spPr>
          <a:xfrm>
            <a:off x="5368547" y="2971444"/>
            <a:ext cx="5575915" cy="2583070"/>
          </a:xfrm>
          <a:prstGeom prst="rect">
            <a:avLst/>
          </a:prstGeom>
        </p:spPr>
        <p:txBody>
          <a:bodyPr lIns="0" rIns="0"/>
          <a:lstStyle>
            <a:lvl1pPr marL="0" indent="0">
              <a:buNone/>
              <a:defRPr sz="18804" b="1">
                <a:solidFill>
                  <a:schemeClr val="accent2"/>
                </a:solidFill>
                <a:latin typeface="Avenir Next LT Pro" panose="020B0504020202020204" pitchFamily="34" charset="77"/>
              </a:defRPr>
            </a:lvl1pPr>
          </a:lstStyle>
          <a:p>
            <a:pPr lvl="0"/>
            <a:r>
              <a:rPr lang="en-US" dirty="0"/>
              <a:t>XX%</a:t>
            </a:r>
          </a:p>
        </p:txBody>
      </p:sp>
      <p:sp>
        <p:nvSpPr>
          <p:cNvPr id="16" name="Text Placeholder 5">
            <a:extLst>
              <a:ext uri="{FF2B5EF4-FFF2-40B4-BE49-F238E27FC236}">
                <a16:creationId xmlns:a16="http://schemas.microsoft.com/office/drawing/2014/main" id="{74EE9D69-0A09-18D7-5EED-6D47A6628449}"/>
              </a:ext>
            </a:extLst>
          </p:cNvPr>
          <p:cNvSpPr>
            <a:spLocks noGrp="1"/>
          </p:cNvSpPr>
          <p:nvPr>
            <p:ph type="body" sz="quarter" idx="23"/>
          </p:nvPr>
        </p:nvSpPr>
        <p:spPr>
          <a:xfrm>
            <a:off x="7764523" y="702867"/>
            <a:ext cx="3041409" cy="1870876"/>
          </a:xfrm>
          <a:prstGeom prst="rect">
            <a:avLst/>
          </a:prstGeom>
        </p:spPr>
        <p:txBody>
          <a:bodyPr lIns="0"/>
          <a:lstStyle>
            <a:lvl1pPr marL="0" indent="0">
              <a:buNone/>
              <a:defRPr sz="1134">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Tree>
    <p:extLst>
      <p:ext uri="{BB962C8B-B14F-4D97-AF65-F5344CB8AC3E}">
        <p14:creationId xmlns:p14="http://schemas.microsoft.com/office/powerpoint/2010/main" val="689357222"/>
      </p:ext>
    </p:extLst>
  </p:cSld>
  <p:clrMapOvr>
    <a:masterClrMapping/>
  </p:clrMapOvr>
  <p:transition>
    <p:wip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5 - 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Agenda Title</a:t>
            </a:r>
          </a:p>
        </p:txBody>
      </p:sp>
      <p:sp>
        <p:nvSpPr>
          <p:cNvPr id="5" name="Text Placeholder 4">
            <a:extLst>
              <a:ext uri="{FF2B5EF4-FFF2-40B4-BE49-F238E27FC236}">
                <a16:creationId xmlns:a16="http://schemas.microsoft.com/office/drawing/2014/main" id="{274EF2A0-C0B1-E140-94E2-BB81208F425A}"/>
              </a:ext>
            </a:extLst>
          </p:cNvPr>
          <p:cNvSpPr>
            <a:spLocks noGrp="1"/>
          </p:cNvSpPr>
          <p:nvPr>
            <p:ph type="body" sz="quarter" idx="10" hasCustomPrompt="1"/>
          </p:nvPr>
        </p:nvSpPr>
        <p:spPr>
          <a:xfrm>
            <a:off x="9516402" y="1266034"/>
            <a:ext cx="1428060" cy="281170"/>
          </a:xfrm>
          <a:prstGeom prst="rect">
            <a:avLst/>
          </a:prstGeom>
        </p:spPr>
        <p:txBody>
          <a:bodyPr lIns="0"/>
          <a:lstStyle>
            <a:lvl1pPr marL="0" inden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NOTE</a:t>
            </a:r>
          </a:p>
        </p:txBody>
      </p:sp>
      <p:sp>
        <p:nvSpPr>
          <p:cNvPr id="6" name="Text Placeholder 4">
            <a:extLst>
              <a:ext uri="{FF2B5EF4-FFF2-40B4-BE49-F238E27FC236}">
                <a16:creationId xmlns:a16="http://schemas.microsoft.com/office/drawing/2014/main" id="{291685FE-66AD-8547-B737-30E62ABA3E51}"/>
              </a:ext>
            </a:extLst>
          </p:cNvPr>
          <p:cNvSpPr>
            <a:spLocks noGrp="1"/>
          </p:cNvSpPr>
          <p:nvPr>
            <p:ph type="body" sz="quarter" idx="11" hasCustomPrompt="1"/>
          </p:nvPr>
        </p:nvSpPr>
        <p:spPr>
          <a:xfrm>
            <a:off x="9516402" y="1717547"/>
            <a:ext cx="1428060" cy="4006608"/>
          </a:xfrm>
          <a:prstGeom prst="rect">
            <a:avLst/>
          </a:prstGeom>
        </p:spPr>
        <p:txBody>
          <a:bodyPr lIns="0" tIns="0"/>
          <a:lstStyle>
            <a:lvl1pPr marL="0" indent="0">
              <a:spcBef>
                <a:spcPts val="1134"/>
              </a:spcBef>
              <a:buNone/>
              <a:defRPr sz="1134" b="0" spc="0">
                <a:solidFill>
                  <a:schemeClr val="accent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a:spcBef>
                <a:spcPts val="1200"/>
              </a:spcBef>
            </a:pPr>
            <a:r>
              <a:rPr lang="en-US" sz="1134" dirty="0" err="1">
                <a:solidFill>
                  <a:srgbClr val="00485E"/>
                </a:solidFill>
              </a:rPr>
              <a:t>Quis</a:t>
            </a:r>
            <a:r>
              <a:rPr lang="en-US" sz="1134" dirty="0">
                <a:solidFill>
                  <a:srgbClr val="00485E"/>
                </a:solidFill>
              </a:rPr>
              <a:t> </a:t>
            </a:r>
            <a:r>
              <a:rPr lang="en-US" sz="1134" dirty="0" err="1">
                <a:solidFill>
                  <a:srgbClr val="00485E"/>
                </a:solidFill>
              </a:rPr>
              <a:t>nostrud</a:t>
            </a:r>
            <a:r>
              <a:rPr lang="en-US" sz="1134" dirty="0">
                <a:solidFill>
                  <a:srgbClr val="00485E"/>
                </a:solidFill>
              </a:rPr>
              <a:t> exercitation </a:t>
            </a:r>
            <a:r>
              <a:rPr lang="en-US" sz="1134" dirty="0" err="1">
                <a:solidFill>
                  <a:srgbClr val="00485E"/>
                </a:solidFill>
              </a:rPr>
              <a:t>ullamco</a:t>
            </a:r>
            <a:r>
              <a:rPr lang="en-US" sz="1134" dirty="0">
                <a:solidFill>
                  <a:srgbClr val="00485E"/>
                </a:solidFill>
              </a:rPr>
              <a:t> </a:t>
            </a:r>
            <a:r>
              <a:rPr lang="en-US" sz="1134" dirty="0" err="1">
                <a:solidFill>
                  <a:srgbClr val="00485E"/>
                </a:solidFill>
              </a:rPr>
              <a:t>laboris</a:t>
            </a:r>
            <a:r>
              <a:rPr lang="en-US" sz="1134" dirty="0">
                <a:solidFill>
                  <a:srgbClr val="00485E"/>
                </a:solidFill>
              </a:rPr>
              <a:t> nisi </a:t>
            </a:r>
            <a:r>
              <a:rPr lang="en-US" sz="1134" dirty="0" err="1">
                <a:solidFill>
                  <a:srgbClr val="00485E"/>
                </a:solidFill>
              </a:rPr>
              <a:t>ut</a:t>
            </a:r>
            <a:r>
              <a:rPr lang="en-US" sz="1134" dirty="0">
                <a:solidFill>
                  <a:srgbClr val="00485E"/>
                </a:solidFill>
              </a:rPr>
              <a:t> </a:t>
            </a:r>
            <a:r>
              <a:rPr lang="en-US" sz="1134" dirty="0" err="1">
                <a:solidFill>
                  <a:srgbClr val="00485E"/>
                </a:solidFill>
              </a:rPr>
              <a:t>aliquip</a:t>
            </a:r>
            <a:r>
              <a:rPr lang="en-US" sz="1134" dirty="0">
                <a:solidFill>
                  <a:srgbClr val="00485E"/>
                </a:solidFill>
              </a:rPr>
              <a:t> ex </a:t>
            </a:r>
            <a:r>
              <a:rPr lang="en-US" sz="1134" dirty="0" err="1">
                <a:solidFill>
                  <a:srgbClr val="00485E"/>
                </a:solidFill>
              </a:rPr>
              <a:t>ea</a:t>
            </a:r>
            <a:r>
              <a:rPr lang="en-US" sz="1134" dirty="0">
                <a:solidFill>
                  <a:srgbClr val="00485E"/>
                </a:solidFill>
              </a:rPr>
              <a:t> </a:t>
            </a:r>
            <a:r>
              <a:rPr lang="en-US" sz="1134" dirty="0" err="1">
                <a:solidFill>
                  <a:srgbClr val="00485E"/>
                </a:solidFill>
              </a:rPr>
              <a:t>commodo</a:t>
            </a:r>
            <a:r>
              <a:rPr lang="en-US" sz="1134" dirty="0">
                <a:solidFill>
                  <a:srgbClr val="00485E"/>
                </a:solidFill>
              </a:rPr>
              <a:t> </a:t>
            </a:r>
            <a:r>
              <a:rPr lang="en-US" sz="1134" dirty="0" err="1">
                <a:solidFill>
                  <a:srgbClr val="00485E"/>
                </a:solidFill>
              </a:rPr>
              <a:t>consequat</a:t>
            </a:r>
            <a:r>
              <a:rPr lang="en-US" sz="1134" dirty="0">
                <a:solidFill>
                  <a:srgbClr val="00485E"/>
                </a:solidFill>
              </a:rPr>
              <a:t> </a:t>
            </a:r>
            <a:r>
              <a:rPr lang="en-US" sz="1134" dirty="0" err="1">
                <a:solidFill>
                  <a:srgbClr val="00485E"/>
                </a:solidFill>
              </a:rPr>
              <a:t>duis</a:t>
            </a:r>
            <a:r>
              <a:rPr lang="en-US" sz="1134" dirty="0">
                <a:solidFill>
                  <a:srgbClr val="00485E"/>
                </a:solidFill>
              </a:rPr>
              <a:t> </a:t>
            </a:r>
            <a:br>
              <a:rPr lang="en-US" sz="1134" dirty="0">
                <a:solidFill>
                  <a:srgbClr val="00485E"/>
                </a:solidFill>
              </a:rPr>
            </a:br>
            <a:r>
              <a:rPr lang="en-US" sz="1134" dirty="0" err="1">
                <a:solidFill>
                  <a:srgbClr val="00485E"/>
                </a:solidFill>
              </a:rPr>
              <a:t>erat</a:t>
            </a:r>
            <a:r>
              <a:rPr lang="en-US" sz="1134" dirty="0">
                <a:solidFill>
                  <a:srgbClr val="00485E"/>
                </a:solidFill>
              </a:rPr>
              <a:t> diam.</a:t>
            </a:r>
          </a:p>
        </p:txBody>
      </p:sp>
      <p:sp>
        <p:nvSpPr>
          <p:cNvPr id="7" name="Text Placeholder 4">
            <a:extLst>
              <a:ext uri="{FF2B5EF4-FFF2-40B4-BE49-F238E27FC236}">
                <a16:creationId xmlns:a16="http://schemas.microsoft.com/office/drawing/2014/main" id="{59ACC2F0-EED5-0A49-AEC2-4E08EAA876FD}"/>
              </a:ext>
            </a:extLst>
          </p:cNvPr>
          <p:cNvSpPr>
            <a:spLocks noGrp="1"/>
          </p:cNvSpPr>
          <p:nvPr>
            <p:ph type="body" sz="quarter" idx="12" hasCustomPrompt="1"/>
          </p:nvPr>
        </p:nvSpPr>
        <p:spPr>
          <a:xfrm>
            <a:off x="576026" y="1266034"/>
            <a:ext cx="1428060" cy="281170"/>
          </a:xfrm>
          <a:prstGeom prst="rect">
            <a:avLst/>
          </a:prstGeom>
        </p:spPr>
        <p:txBody>
          <a:bodyPr lIns="0"/>
          <a:lstStyle>
            <a:lvl1pPr marL="0" inden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ME</a:t>
            </a:r>
          </a:p>
        </p:txBody>
      </p:sp>
      <p:sp>
        <p:nvSpPr>
          <p:cNvPr id="8" name="Text Placeholder 4">
            <a:extLst>
              <a:ext uri="{FF2B5EF4-FFF2-40B4-BE49-F238E27FC236}">
                <a16:creationId xmlns:a16="http://schemas.microsoft.com/office/drawing/2014/main" id="{06C4BB88-7B66-A54E-A240-A8217286D25F}"/>
              </a:ext>
            </a:extLst>
          </p:cNvPr>
          <p:cNvSpPr>
            <a:spLocks noGrp="1"/>
          </p:cNvSpPr>
          <p:nvPr>
            <p:ph type="body" sz="quarter" idx="13" hasCustomPrompt="1"/>
          </p:nvPr>
        </p:nvSpPr>
        <p:spPr>
          <a:xfrm>
            <a:off x="2823121" y="1266034"/>
            <a:ext cx="1428060" cy="281170"/>
          </a:xfrm>
          <a:prstGeom prst="rect">
            <a:avLst/>
          </a:prstGeom>
        </p:spPr>
        <p:txBody>
          <a:bodyPr lIns="0"/>
          <a:lstStyle>
            <a:lvl1pPr marL="0" inden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EVENT</a:t>
            </a:r>
          </a:p>
        </p:txBody>
      </p:sp>
      <p:sp>
        <p:nvSpPr>
          <p:cNvPr id="9" name="Text Placeholder 4">
            <a:extLst>
              <a:ext uri="{FF2B5EF4-FFF2-40B4-BE49-F238E27FC236}">
                <a16:creationId xmlns:a16="http://schemas.microsoft.com/office/drawing/2014/main" id="{572BDFD8-4068-D646-8AA4-E1917B8A0DD9}"/>
              </a:ext>
            </a:extLst>
          </p:cNvPr>
          <p:cNvSpPr>
            <a:spLocks noGrp="1"/>
          </p:cNvSpPr>
          <p:nvPr>
            <p:ph type="body" sz="quarter" idx="14" hasCustomPrompt="1"/>
          </p:nvPr>
        </p:nvSpPr>
        <p:spPr>
          <a:xfrm>
            <a:off x="5070216" y="1266034"/>
            <a:ext cx="1428060" cy="281170"/>
          </a:xfrm>
          <a:prstGeom prst="rect">
            <a:avLst/>
          </a:prstGeom>
        </p:spPr>
        <p:txBody>
          <a:bodyPr lIns="0"/>
          <a:lstStyle>
            <a:lvl1pPr marL="0" inden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PEAKER</a:t>
            </a:r>
          </a:p>
        </p:txBody>
      </p:sp>
      <p:sp>
        <p:nvSpPr>
          <p:cNvPr id="11" name="Table Placeholder 10">
            <a:extLst>
              <a:ext uri="{FF2B5EF4-FFF2-40B4-BE49-F238E27FC236}">
                <a16:creationId xmlns:a16="http://schemas.microsoft.com/office/drawing/2014/main" id="{43467FB2-7488-B44C-8665-15184934DD99}"/>
              </a:ext>
            </a:extLst>
          </p:cNvPr>
          <p:cNvSpPr>
            <a:spLocks noGrp="1"/>
          </p:cNvSpPr>
          <p:nvPr>
            <p:ph type="tbl" sz="quarter" idx="15" hasCustomPrompt="1"/>
          </p:nvPr>
        </p:nvSpPr>
        <p:spPr>
          <a:xfrm>
            <a:off x="576025" y="1717547"/>
            <a:ext cx="8536862" cy="4006608"/>
          </a:xfrm>
          <a:prstGeom prst="rect">
            <a:avLst/>
          </a:prstGeom>
          <a:solidFill>
            <a:schemeClr val="bg1">
              <a:lumMod val="95000"/>
            </a:schemeClr>
          </a:solidFill>
        </p:spPr>
        <p:txBody>
          <a:bodyPr/>
          <a:lstStyle>
            <a:lvl1pPr marL="0" indent="0">
              <a:buNone/>
              <a:defRPr sz="1134">
                <a:solidFill>
                  <a:schemeClr val="tx1"/>
                </a:solidFill>
                <a:latin typeface="Avenir Next LT Pro" panose="020B0504020202020204" pitchFamily="34" charset="77"/>
              </a:defRPr>
            </a:lvl1pPr>
          </a:lstStyle>
          <a:p>
            <a:r>
              <a:rPr lang="en-US" dirty="0"/>
              <a:t>Insert Agenda Tab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1134" spc="283">
                <a:solidFill>
                  <a:schemeClr val="accent5">
                    <a:lumMod val="50000"/>
                  </a:schemeClr>
                </a:solidFill>
                <a:latin typeface="Avenir Next LT Pro" panose="020B0504020202020204" pitchFamily="34" charset="77"/>
              </a:defRPr>
            </a:lvl1pPr>
          </a:lstStyle>
          <a:p>
            <a:pPr lvl="0"/>
            <a:r>
              <a:rPr lang="en-US" dirty="0"/>
              <a:t>DATE/TIME</a:t>
            </a:r>
          </a:p>
        </p:txBody>
      </p:sp>
    </p:spTree>
    <p:extLst>
      <p:ext uri="{BB962C8B-B14F-4D97-AF65-F5344CB8AC3E}">
        <p14:creationId xmlns:p14="http://schemas.microsoft.com/office/powerpoint/2010/main" val="4016673869"/>
      </p:ext>
    </p:extLst>
  </p:cSld>
  <p:clrMapOvr>
    <a:masterClrMapping/>
  </p:clrMapOvr>
  <p:transition>
    <p:wip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3 - Standard use - section title, headline, subhead, copy, sourc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576026" y="1406549"/>
            <a:ext cx="10368438" cy="4229696"/>
          </a:xfrm>
          <a:prstGeom prst="rect">
            <a:avLst/>
          </a:prstGeom>
        </p:spPr>
        <p:txBody>
          <a:bodyPr vert="horz" lIns="0" tIns="45720" rIns="0" bIns="45720" rtlCol="0">
            <a:noAutofit/>
          </a:bodyPr>
          <a:lstStyle>
            <a:lvl1pPr>
              <a:defRPr lang="en-US" sz="1323" dirty="0" smtClean="0">
                <a:solidFill>
                  <a:schemeClr val="tx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323" dirty="0" smtClean="0">
                <a:solidFill>
                  <a:schemeClr val="tx2"/>
                </a:solidFill>
                <a:latin typeface="Avenir Next LT Pro" panose="020B0504020202020204" pitchFamily="34" charset="77"/>
              </a:defRPr>
            </a:lvl4pPr>
            <a:lvl5pPr>
              <a:defRPr lang="en-US" sz="1323"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6" name="Text Placeholder 12">
            <a:extLst>
              <a:ext uri="{FF2B5EF4-FFF2-40B4-BE49-F238E27FC236}">
                <a16:creationId xmlns:a16="http://schemas.microsoft.com/office/drawing/2014/main" id="{448311D2-78B8-685F-D5C9-5C213BE1B162}"/>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716970785"/>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576263" y="1008000"/>
            <a:ext cx="10368000" cy="432000"/>
          </a:xfrm>
        </p:spPr>
        <p:txBody>
          <a:bodyPr/>
          <a:lstStyle>
            <a:lvl1pPr>
              <a:defRPr sz="1400" b="0" spc="0" baseline="0">
                <a:solidFill>
                  <a:srgbClr val="808183"/>
                </a:solidFill>
                <a:latin typeface="+mn-lt"/>
              </a:defRPr>
            </a:lvl1pPr>
          </a:lstStyle>
          <a:p>
            <a:pPr lvl="0"/>
            <a:r>
              <a:rPr lang="en-US" dirty="0"/>
              <a:t>Click to edit Master text styles</a:t>
            </a:r>
          </a:p>
        </p:txBody>
      </p:sp>
      <p:sp>
        <p:nvSpPr>
          <p:cNvPr id="3" name="Slide Number Placeholder 2"/>
          <p:cNvSpPr>
            <a:spLocks noGrp="1"/>
          </p:cNvSpPr>
          <p:nvPr>
            <p:ph type="sldNum" sz="quarter" idx="12"/>
          </p:nvPr>
        </p:nvSpPr>
        <p:spPr/>
        <p:txBody>
          <a:bodyPr/>
          <a:lstStyle/>
          <a:p>
            <a:fld id="{0F961903-03AF-4EAC-BF2C-945F8C5557D1}" type="slidenum">
              <a:rPr lang="en-GB" smtClean="0"/>
              <a:pPr/>
              <a:t>‹#›</a:t>
            </a:fld>
            <a:endParaRPr lang="en-GB" dirty="0"/>
          </a:p>
        </p:txBody>
      </p:sp>
      <p:sp>
        <p:nvSpPr>
          <p:cNvPr id="2" name="Title 1">
            <a:extLst>
              <a:ext uri="{FF2B5EF4-FFF2-40B4-BE49-F238E27FC236}">
                <a16:creationId xmlns:a16="http://schemas.microsoft.com/office/drawing/2014/main" id="{1A8E6A65-862B-881A-615F-57A23AB8CB94}"/>
              </a:ext>
            </a:extLst>
          </p:cNvPr>
          <p:cNvSpPr>
            <a:spLocks noGrp="1"/>
          </p:cNvSpPr>
          <p:nvPr>
            <p:ph type="title"/>
          </p:nvPr>
        </p:nvSpPr>
        <p:spPr/>
        <p:txBody>
          <a:bodyPr/>
          <a:lstStyle>
            <a:lvl1pPr>
              <a:defRPr b="0"/>
            </a:lvl1pPr>
          </a:lstStyle>
          <a:p>
            <a:r>
              <a:rPr lang="en-US" dirty="0"/>
              <a:t>Click to edit Master title style</a:t>
            </a:r>
            <a:endParaRPr lang="en-GB" dirty="0"/>
          </a:p>
        </p:txBody>
      </p:sp>
      <p:sp>
        <p:nvSpPr>
          <p:cNvPr id="5" name="Footer Placeholder 4">
            <a:extLst>
              <a:ext uri="{FF2B5EF4-FFF2-40B4-BE49-F238E27FC236}">
                <a16:creationId xmlns:a16="http://schemas.microsoft.com/office/drawing/2014/main" id="{D7D23CC4-232B-B9F5-1EB0-51916BB5E112}"/>
              </a:ext>
            </a:extLst>
          </p:cNvPr>
          <p:cNvSpPr>
            <a:spLocks noGrp="1"/>
          </p:cNvSpPr>
          <p:nvPr>
            <p:ph type="ftr" sz="quarter" idx="1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Text Placeholder 7">
            <a:extLst>
              <a:ext uri="{FF2B5EF4-FFF2-40B4-BE49-F238E27FC236}">
                <a16:creationId xmlns:a16="http://schemas.microsoft.com/office/drawing/2014/main" id="{65983727-D59D-C28F-4585-39E0889471C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380427706"/>
      </p:ext>
    </p:extLst>
  </p:cSld>
  <p:clrMapOvr>
    <a:masterClrMapping/>
  </p:clrMapOvr>
  <p:extLst>
    <p:ext uri="{DCECCB84-F9BA-43D5-87BE-67443E8EF086}">
      <p15:sldGuideLst xmlns:p15="http://schemas.microsoft.com/office/powerpoint/2012/main">
        <p15:guide id="1" pos="3530">
          <p15:clr>
            <a:srgbClr val="FBAE40"/>
          </p15:clr>
        </p15:guide>
        <p15:guide id="2" pos="2553">
          <p15:clr>
            <a:srgbClr val="FBAE40"/>
          </p15:clr>
        </p15:guide>
        <p15:guide id="3" pos="2358">
          <p15:clr>
            <a:srgbClr val="FBAE40"/>
          </p15:clr>
        </p15:guide>
        <p15:guide id="4" pos="1771">
          <p15:clr>
            <a:srgbClr val="FBAE40"/>
          </p15:clr>
        </p15:guide>
        <p15:guide id="5" pos="1967">
          <p15:clr>
            <a:srgbClr val="FBAE40"/>
          </p15:clr>
        </p15:guide>
        <p15:guide id="6" pos="3727">
          <p15:clr>
            <a:srgbClr val="FBAE40"/>
          </p15:clr>
        </p15:guide>
        <p15:guide id="7" pos="4704">
          <p15:clr>
            <a:srgbClr val="FBAE40"/>
          </p15:clr>
        </p15:guide>
        <p15:guide id="8" pos="4899">
          <p15:clr>
            <a:srgbClr val="FBAE40"/>
          </p15:clr>
        </p15:guide>
        <p15:guide id="9" pos="5290">
          <p15:clr>
            <a:srgbClr val="FBAE40"/>
          </p15:clr>
        </p15:guide>
        <p15:guide id="10" pos="548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4 - Photo, 4 rows">
    <p:spTree>
      <p:nvGrpSpPr>
        <p:cNvPr id="1" name=""/>
        <p:cNvGrpSpPr/>
        <p:nvPr/>
      </p:nvGrpSpPr>
      <p:grpSpPr>
        <a:xfrm>
          <a:off x="0" y="0"/>
          <a:ext cx="0" cy="0"/>
          <a:chOff x="0" y="0"/>
          <a:chExt cx="0" cy="0"/>
        </a:xfrm>
      </p:grpSpPr>
      <p:sp>
        <p:nvSpPr>
          <p:cNvPr id="6" name="Pentagon 5">
            <a:extLst>
              <a:ext uri="{FF2B5EF4-FFF2-40B4-BE49-F238E27FC236}">
                <a16:creationId xmlns:a16="http://schemas.microsoft.com/office/drawing/2014/main" id="{281516EF-421D-F144-98AE-D7B78824480F}"/>
              </a:ext>
            </a:extLst>
          </p:cNvPr>
          <p:cNvSpPr/>
          <p:nvPr userDrawn="1"/>
        </p:nvSpPr>
        <p:spPr>
          <a:xfrm>
            <a:off x="5214537" y="1527472"/>
            <a:ext cx="5729928" cy="76028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5" name="Pentagon 24">
            <a:extLst>
              <a:ext uri="{FF2B5EF4-FFF2-40B4-BE49-F238E27FC236}">
                <a16:creationId xmlns:a16="http://schemas.microsoft.com/office/drawing/2014/main" id="{55DC1F1D-501D-C74A-9495-AD1C35BC4C0E}"/>
              </a:ext>
            </a:extLst>
          </p:cNvPr>
          <p:cNvSpPr/>
          <p:nvPr userDrawn="1"/>
        </p:nvSpPr>
        <p:spPr>
          <a:xfrm>
            <a:off x="5214537" y="2573395"/>
            <a:ext cx="5729928" cy="76028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7" name="Pentagon 26">
            <a:extLst>
              <a:ext uri="{FF2B5EF4-FFF2-40B4-BE49-F238E27FC236}">
                <a16:creationId xmlns:a16="http://schemas.microsoft.com/office/drawing/2014/main" id="{422CAEF5-AD0D-B947-A2C0-35CDBC19A33A}"/>
              </a:ext>
            </a:extLst>
          </p:cNvPr>
          <p:cNvSpPr/>
          <p:nvPr userDrawn="1"/>
        </p:nvSpPr>
        <p:spPr>
          <a:xfrm>
            <a:off x="5214537" y="3619318"/>
            <a:ext cx="5729928" cy="76028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0" name="Pentagon 29">
            <a:extLst>
              <a:ext uri="{FF2B5EF4-FFF2-40B4-BE49-F238E27FC236}">
                <a16:creationId xmlns:a16="http://schemas.microsoft.com/office/drawing/2014/main" id="{167AC00A-2CBB-EB41-8105-2D5B11934C0A}"/>
              </a:ext>
            </a:extLst>
          </p:cNvPr>
          <p:cNvSpPr/>
          <p:nvPr userDrawn="1"/>
        </p:nvSpPr>
        <p:spPr>
          <a:xfrm>
            <a:off x="5214537" y="4665240"/>
            <a:ext cx="5729928" cy="76028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16" name="Picture Placeholder 7">
            <a:extLst>
              <a:ext uri="{FF2B5EF4-FFF2-40B4-BE49-F238E27FC236}">
                <a16:creationId xmlns:a16="http://schemas.microsoft.com/office/drawing/2014/main" id="{46DA7B60-9C8A-3443-BFAB-926A6229CEC3}"/>
              </a:ext>
            </a:extLst>
          </p:cNvPr>
          <p:cNvSpPr>
            <a:spLocks noGrp="1"/>
          </p:cNvSpPr>
          <p:nvPr>
            <p:ph type="pic" sz="quarter" idx="17"/>
          </p:nvPr>
        </p:nvSpPr>
        <p:spPr>
          <a:xfrm>
            <a:off x="576025" y="1410038"/>
            <a:ext cx="4411687" cy="4122111"/>
          </a:xfrm>
          <a:prstGeom prst="rect">
            <a:avLst/>
          </a:prstGeom>
          <a:solidFill>
            <a:schemeClr val="accent6">
              <a:lumMod val="60000"/>
              <a:lumOff val="40000"/>
            </a:schemeClr>
          </a:solidFill>
        </p:spPr>
        <p:txBody>
          <a:bodyPr/>
          <a:lstStyle>
            <a:lvl1pPr>
              <a:defRPr>
                <a:latin typeface="Avenir Next LT Pro" panose="020B0504020202020204" pitchFamily="34" charset="77"/>
              </a:defRPr>
            </a:lvl1pPr>
          </a:lstStyle>
          <a:p>
            <a:endParaRPr lang="en-US"/>
          </a:p>
        </p:txBody>
      </p:sp>
      <p:sp>
        <p:nvSpPr>
          <p:cNvPr id="4" name="TextBox 3">
            <a:extLst>
              <a:ext uri="{FF2B5EF4-FFF2-40B4-BE49-F238E27FC236}">
                <a16:creationId xmlns:a16="http://schemas.microsoft.com/office/drawing/2014/main" id="{F7219A1F-B147-6D46-9B25-D18EDD48AF1A}"/>
              </a:ext>
            </a:extLst>
          </p:cNvPr>
          <p:cNvSpPr txBox="1"/>
          <p:nvPr userDrawn="1"/>
        </p:nvSpPr>
        <p:spPr>
          <a:xfrm>
            <a:off x="5366123" y="1516916"/>
            <a:ext cx="727135" cy="767522"/>
          </a:xfrm>
          <a:prstGeom prst="rect">
            <a:avLst/>
          </a:prstGeom>
          <a:noFill/>
          <a:ln>
            <a:noFill/>
          </a:ln>
        </p:spPr>
        <p:txBody>
          <a:bodyPr wrap="square" rtlCol="0" anchor="ctr" anchorCtr="0">
            <a:noAutofit/>
          </a:bodyPr>
          <a:lstStyle/>
          <a:p>
            <a:pPr marL="0" indent="0">
              <a:spcBef>
                <a:spcPts val="1134"/>
              </a:spcBef>
              <a:buFont typeface="Arial" pitchFamily="34" charset="0"/>
              <a:buNone/>
            </a:pPr>
            <a:r>
              <a:rPr lang="en-US" sz="3780" b="1" i="0" dirty="0">
                <a:solidFill>
                  <a:schemeClr val="accent2"/>
                </a:solidFill>
                <a:latin typeface="Avenir Next LT Pro" panose="020B0504020202020204" pitchFamily="34" charset="77"/>
              </a:rPr>
              <a:t>1</a:t>
            </a:r>
          </a:p>
        </p:txBody>
      </p:sp>
      <p:sp>
        <p:nvSpPr>
          <p:cNvPr id="15" name="TextBox 14">
            <a:extLst>
              <a:ext uri="{FF2B5EF4-FFF2-40B4-BE49-F238E27FC236}">
                <a16:creationId xmlns:a16="http://schemas.microsoft.com/office/drawing/2014/main" id="{43726947-4E42-5A4E-B65D-2C691C1A9A9D}"/>
              </a:ext>
            </a:extLst>
          </p:cNvPr>
          <p:cNvSpPr txBox="1"/>
          <p:nvPr userDrawn="1"/>
        </p:nvSpPr>
        <p:spPr>
          <a:xfrm>
            <a:off x="5366123" y="2555566"/>
            <a:ext cx="727135" cy="767522"/>
          </a:xfrm>
          <a:prstGeom prst="rect">
            <a:avLst/>
          </a:prstGeom>
          <a:noFill/>
          <a:ln>
            <a:noFill/>
          </a:ln>
        </p:spPr>
        <p:txBody>
          <a:bodyPr wrap="square" rtlCol="0" anchor="ctr" anchorCtr="0">
            <a:noAutofit/>
          </a:bodyPr>
          <a:lstStyle/>
          <a:p>
            <a:pPr marL="0" indent="0">
              <a:spcBef>
                <a:spcPts val="1134"/>
              </a:spcBef>
              <a:buFont typeface="Arial" pitchFamily="34" charset="0"/>
              <a:buNone/>
            </a:pPr>
            <a:r>
              <a:rPr lang="en-US" sz="3780" b="1" i="0" dirty="0">
                <a:solidFill>
                  <a:schemeClr val="accent2"/>
                </a:solidFill>
                <a:latin typeface="Avenir Next LT Pro" panose="020B0504020202020204" pitchFamily="34" charset="77"/>
              </a:rPr>
              <a:t>2</a:t>
            </a:r>
          </a:p>
        </p:txBody>
      </p:sp>
      <p:sp>
        <p:nvSpPr>
          <p:cNvPr id="20" name="TextBox 19">
            <a:extLst>
              <a:ext uri="{FF2B5EF4-FFF2-40B4-BE49-F238E27FC236}">
                <a16:creationId xmlns:a16="http://schemas.microsoft.com/office/drawing/2014/main" id="{7E669A21-471E-354A-8D38-3D5E2837EEEE}"/>
              </a:ext>
            </a:extLst>
          </p:cNvPr>
          <p:cNvSpPr txBox="1"/>
          <p:nvPr userDrawn="1"/>
        </p:nvSpPr>
        <p:spPr>
          <a:xfrm>
            <a:off x="5366123" y="3613042"/>
            <a:ext cx="727135" cy="767522"/>
          </a:xfrm>
          <a:prstGeom prst="rect">
            <a:avLst/>
          </a:prstGeom>
          <a:noFill/>
          <a:ln>
            <a:noFill/>
          </a:ln>
        </p:spPr>
        <p:txBody>
          <a:bodyPr wrap="square" rtlCol="0" anchor="ctr" anchorCtr="0">
            <a:noAutofit/>
          </a:bodyPr>
          <a:lstStyle/>
          <a:p>
            <a:pPr marL="0" indent="0">
              <a:spcBef>
                <a:spcPts val="1134"/>
              </a:spcBef>
              <a:buFont typeface="Arial" pitchFamily="34" charset="0"/>
              <a:buNone/>
            </a:pPr>
            <a:r>
              <a:rPr lang="en-US" sz="3780" b="1" i="0" dirty="0">
                <a:solidFill>
                  <a:schemeClr val="accent2"/>
                </a:solidFill>
                <a:latin typeface="Avenir Next LT Pro" panose="020B0504020202020204" pitchFamily="34" charset="77"/>
              </a:rPr>
              <a:t>3</a:t>
            </a:r>
          </a:p>
        </p:txBody>
      </p:sp>
      <p:sp>
        <p:nvSpPr>
          <p:cNvPr id="21" name="TextBox 20">
            <a:extLst>
              <a:ext uri="{FF2B5EF4-FFF2-40B4-BE49-F238E27FC236}">
                <a16:creationId xmlns:a16="http://schemas.microsoft.com/office/drawing/2014/main" id="{E8B2738C-AAAB-C54E-BD9D-7CD9C87FD65E}"/>
              </a:ext>
            </a:extLst>
          </p:cNvPr>
          <p:cNvSpPr txBox="1"/>
          <p:nvPr userDrawn="1"/>
        </p:nvSpPr>
        <p:spPr>
          <a:xfrm>
            <a:off x="5366123" y="4658000"/>
            <a:ext cx="727135" cy="767522"/>
          </a:xfrm>
          <a:prstGeom prst="rect">
            <a:avLst/>
          </a:prstGeom>
          <a:noFill/>
          <a:ln>
            <a:noFill/>
          </a:ln>
        </p:spPr>
        <p:txBody>
          <a:bodyPr wrap="square" rtlCol="0" anchor="ctr" anchorCtr="0">
            <a:noAutofit/>
          </a:bodyPr>
          <a:lstStyle/>
          <a:p>
            <a:pPr marL="0" indent="0">
              <a:spcBef>
                <a:spcPts val="1134"/>
              </a:spcBef>
              <a:buFont typeface="Arial" pitchFamily="34" charset="0"/>
              <a:buNone/>
            </a:pPr>
            <a:r>
              <a:rPr lang="en-US" sz="3780" b="1" i="0" dirty="0">
                <a:solidFill>
                  <a:schemeClr val="accent2"/>
                </a:solidFill>
                <a:latin typeface="Avenir Next LT Pro" panose="020B0504020202020204" pitchFamily="34" charset="77"/>
              </a:rPr>
              <a:t>4</a:t>
            </a:r>
          </a:p>
        </p:txBody>
      </p:sp>
      <p:sp>
        <p:nvSpPr>
          <p:cNvPr id="8" name="Text Placeholder 7">
            <a:extLst>
              <a:ext uri="{FF2B5EF4-FFF2-40B4-BE49-F238E27FC236}">
                <a16:creationId xmlns:a16="http://schemas.microsoft.com/office/drawing/2014/main" id="{BE071823-C49C-3940-A639-1262FBCE66BE}"/>
              </a:ext>
            </a:extLst>
          </p:cNvPr>
          <p:cNvSpPr>
            <a:spLocks noGrp="1"/>
          </p:cNvSpPr>
          <p:nvPr>
            <p:ph type="body" sz="quarter" idx="18" hasCustomPrompt="1"/>
          </p:nvPr>
        </p:nvSpPr>
        <p:spPr>
          <a:xfrm>
            <a:off x="6093258" y="1534388"/>
            <a:ext cx="4441689" cy="753175"/>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1" name="Text Placeholder 7">
            <a:extLst>
              <a:ext uri="{FF2B5EF4-FFF2-40B4-BE49-F238E27FC236}">
                <a16:creationId xmlns:a16="http://schemas.microsoft.com/office/drawing/2014/main" id="{AD1C7BC5-C958-CC4F-A934-FC6BF65366A4}"/>
              </a:ext>
            </a:extLst>
          </p:cNvPr>
          <p:cNvSpPr>
            <a:spLocks noGrp="1"/>
          </p:cNvSpPr>
          <p:nvPr>
            <p:ph type="body" sz="quarter" idx="19" hasCustomPrompt="1"/>
          </p:nvPr>
        </p:nvSpPr>
        <p:spPr>
          <a:xfrm>
            <a:off x="6093258" y="2580501"/>
            <a:ext cx="4441689" cy="753175"/>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2" name="Text Placeholder 7">
            <a:extLst>
              <a:ext uri="{FF2B5EF4-FFF2-40B4-BE49-F238E27FC236}">
                <a16:creationId xmlns:a16="http://schemas.microsoft.com/office/drawing/2014/main" id="{7A4E2A65-1656-F942-9593-CE1D61BBD7FF}"/>
              </a:ext>
            </a:extLst>
          </p:cNvPr>
          <p:cNvSpPr>
            <a:spLocks noGrp="1"/>
          </p:cNvSpPr>
          <p:nvPr>
            <p:ph type="body" sz="quarter" idx="20" hasCustomPrompt="1"/>
          </p:nvPr>
        </p:nvSpPr>
        <p:spPr>
          <a:xfrm>
            <a:off x="6093258" y="3626425"/>
            <a:ext cx="4441689" cy="753175"/>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3" name="Text Placeholder 7">
            <a:extLst>
              <a:ext uri="{FF2B5EF4-FFF2-40B4-BE49-F238E27FC236}">
                <a16:creationId xmlns:a16="http://schemas.microsoft.com/office/drawing/2014/main" id="{F5C8D701-2672-994E-B011-FA30D530143E}"/>
              </a:ext>
            </a:extLst>
          </p:cNvPr>
          <p:cNvSpPr>
            <a:spLocks noGrp="1"/>
          </p:cNvSpPr>
          <p:nvPr>
            <p:ph type="body" sz="quarter" idx="21" hasCustomPrompt="1"/>
          </p:nvPr>
        </p:nvSpPr>
        <p:spPr>
          <a:xfrm>
            <a:off x="6093258" y="4672348"/>
            <a:ext cx="4441689" cy="753175"/>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7" name="Text Placeholder 11">
            <a:extLst>
              <a:ext uri="{FF2B5EF4-FFF2-40B4-BE49-F238E27FC236}">
                <a16:creationId xmlns:a16="http://schemas.microsoft.com/office/drawing/2014/main" id="{11185312-7232-D80D-A861-B49298AA53BC}"/>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BDB2F286-A0CF-9689-DA86-4040FE86CB30}"/>
              </a:ext>
            </a:extLst>
          </p:cNvPr>
          <p:cNvSpPr>
            <a:spLocks noGrp="1"/>
          </p:cNvSpPr>
          <p:nvPr>
            <p:ph type="body" sz="quarter" idx="22"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019836EC-913C-31DF-5D30-346BEA1B9B67}"/>
              </a:ext>
            </a:extLst>
          </p:cNvPr>
          <p:cNvSpPr>
            <a:spLocks noGrp="1"/>
          </p:cNvSpPr>
          <p:nvPr>
            <p:ph type="body" sz="quarter" idx="23"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926094921"/>
      </p:ext>
    </p:extLst>
  </p:cSld>
  <p:clrMapOvr>
    <a:masterClrMapping/>
  </p:clrMapOvr>
  <p:transition>
    <p:wip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5 - 2 col, 2 rows, with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accent1"/>
                </a:solidFill>
                <a:latin typeface="Avenir Next LT Pro" panose="020B0504020202020204" pitchFamily="34" charset="77"/>
              </a:defRPr>
            </a:lvl1pPr>
          </a:lstStyle>
          <a:p>
            <a:r>
              <a:rPr lang="en-US" dirty="0"/>
              <a:t>Click to Edit Master Title Style (Title Case)</a:t>
            </a:r>
          </a:p>
        </p:txBody>
      </p:sp>
      <p:sp>
        <p:nvSpPr>
          <p:cNvPr id="10" name="Picture Placeholder 9">
            <a:extLst>
              <a:ext uri="{FF2B5EF4-FFF2-40B4-BE49-F238E27FC236}">
                <a16:creationId xmlns:a16="http://schemas.microsoft.com/office/drawing/2014/main" id="{09854543-5654-F545-944C-ED554F59D2D8}"/>
              </a:ext>
            </a:extLst>
          </p:cNvPr>
          <p:cNvSpPr>
            <a:spLocks noGrp="1"/>
          </p:cNvSpPr>
          <p:nvPr>
            <p:ph type="pic" sz="quarter" idx="17"/>
          </p:nvPr>
        </p:nvSpPr>
        <p:spPr>
          <a:xfrm>
            <a:off x="576025" y="1588542"/>
            <a:ext cx="1651570" cy="1651545"/>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17" name="Picture Placeholder 9">
            <a:extLst>
              <a:ext uri="{FF2B5EF4-FFF2-40B4-BE49-F238E27FC236}">
                <a16:creationId xmlns:a16="http://schemas.microsoft.com/office/drawing/2014/main" id="{FFB42B3A-23C0-A442-9B00-645F85486BC6}"/>
              </a:ext>
            </a:extLst>
          </p:cNvPr>
          <p:cNvSpPr>
            <a:spLocks noGrp="1"/>
          </p:cNvSpPr>
          <p:nvPr>
            <p:ph type="pic" sz="quarter" idx="18"/>
          </p:nvPr>
        </p:nvSpPr>
        <p:spPr>
          <a:xfrm>
            <a:off x="576025" y="3471609"/>
            <a:ext cx="1651570" cy="1651545"/>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14" name="Text Placeholder 13">
            <a:extLst>
              <a:ext uri="{FF2B5EF4-FFF2-40B4-BE49-F238E27FC236}">
                <a16:creationId xmlns:a16="http://schemas.microsoft.com/office/drawing/2014/main" id="{E8059490-5EA9-7B44-AAE6-5BBED26CC54F}"/>
              </a:ext>
            </a:extLst>
          </p:cNvPr>
          <p:cNvSpPr>
            <a:spLocks noGrp="1"/>
          </p:cNvSpPr>
          <p:nvPr>
            <p:ph type="body" sz="quarter" idx="19"/>
          </p:nvPr>
        </p:nvSpPr>
        <p:spPr>
          <a:xfrm>
            <a:off x="2227595" y="1588543"/>
            <a:ext cx="3381064" cy="1651544"/>
          </a:xfrm>
          <a:prstGeom prst="rect">
            <a:avLst/>
          </a:prstGeom>
          <a:noFill/>
          <a:ln>
            <a:noFill/>
          </a:ln>
        </p:spPr>
        <p:txBody>
          <a:bodyPr lIns="182880" tIns="91440" rIns="274320" bIns="91440"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3">
            <a:extLst>
              <a:ext uri="{FF2B5EF4-FFF2-40B4-BE49-F238E27FC236}">
                <a16:creationId xmlns:a16="http://schemas.microsoft.com/office/drawing/2014/main" id="{5542ACAA-9F38-0245-8DAF-B48EF3577A95}"/>
              </a:ext>
            </a:extLst>
          </p:cNvPr>
          <p:cNvSpPr>
            <a:spLocks noGrp="1"/>
          </p:cNvSpPr>
          <p:nvPr>
            <p:ph type="body" sz="quarter" idx="20"/>
          </p:nvPr>
        </p:nvSpPr>
        <p:spPr>
          <a:xfrm>
            <a:off x="2227595" y="3471609"/>
            <a:ext cx="3381064" cy="1651544"/>
          </a:xfrm>
          <a:prstGeom prst="rect">
            <a:avLst/>
          </a:prstGeom>
          <a:noFill/>
          <a:ln>
            <a:noFill/>
          </a:ln>
        </p:spPr>
        <p:txBody>
          <a:bodyPr lIns="182880" tIns="91440" rIns="274320" bIns="91440"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icture Placeholder 9">
            <a:extLst>
              <a:ext uri="{FF2B5EF4-FFF2-40B4-BE49-F238E27FC236}">
                <a16:creationId xmlns:a16="http://schemas.microsoft.com/office/drawing/2014/main" id="{2690E5F8-2F92-6343-B1AC-BF179381486A}"/>
              </a:ext>
            </a:extLst>
          </p:cNvPr>
          <p:cNvSpPr>
            <a:spLocks noGrp="1"/>
          </p:cNvSpPr>
          <p:nvPr>
            <p:ph type="pic" sz="quarter" idx="21"/>
          </p:nvPr>
        </p:nvSpPr>
        <p:spPr>
          <a:xfrm>
            <a:off x="5911830" y="1588542"/>
            <a:ext cx="1651570" cy="1651545"/>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20" name="Picture Placeholder 9">
            <a:extLst>
              <a:ext uri="{FF2B5EF4-FFF2-40B4-BE49-F238E27FC236}">
                <a16:creationId xmlns:a16="http://schemas.microsoft.com/office/drawing/2014/main" id="{7AE42FCB-928D-7E40-AF33-401414349FF2}"/>
              </a:ext>
            </a:extLst>
          </p:cNvPr>
          <p:cNvSpPr>
            <a:spLocks noGrp="1"/>
          </p:cNvSpPr>
          <p:nvPr>
            <p:ph type="pic" sz="quarter" idx="22"/>
          </p:nvPr>
        </p:nvSpPr>
        <p:spPr>
          <a:xfrm>
            <a:off x="5911830" y="3471609"/>
            <a:ext cx="1651570" cy="1651545"/>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a:p>
        </p:txBody>
      </p:sp>
      <p:sp>
        <p:nvSpPr>
          <p:cNvPr id="21" name="Text Placeholder 13">
            <a:extLst>
              <a:ext uri="{FF2B5EF4-FFF2-40B4-BE49-F238E27FC236}">
                <a16:creationId xmlns:a16="http://schemas.microsoft.com/office/drawing/2014/main" id="{6EA8275B-3E51-F940-A360-39E382AFF65E}"/>
              </a:ext>
            </a:extLst>
          </p:cNvPr>
          <p:cNvSpPr>
            <a:spLocks noGrp="1"/>
          </p:cNvSpPr>
          <p:nvPr>
            <p:ph type="body" sz="quarter" idx="23"/>
          </p:nvPr>
        </p:nvSpPr>
        <p:spPr>
          <a:xfrm>
            <a:off x="7563400" y="1588543"/>
            <a:ext cx="3381064" cy="1651544"/>
          </a:xfrm>
          <a:prstGeom prst="rect">
            <a:avLst/>
          </a:prstGeom>
          <a:noFill/>
          <a:ln>
            <a:noFill/>
          </a:ln>
        </p:spPr>
        <p:txBody>
          <a:bodyPr lIns="182880" tIns="91440" rIns="274320" bIns="91440"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3">
            <a:extLst>
              <a:ext uri="{FF2B5EF4-FFF2-40B4-BE49-F238E27FC236}">
                <a16:creationId xmlns:a16="http://schemas.microsoft.com/office/drawing/2014/main" id="{BD4945C9-85C3-7645-92DB-4CD5478BAB8D}"/>
              </a:ext>
            </a:extLst>
          </p:cNvPr>
          <p:cNvSpPr>
            <a:spLocks noGrp="1"/>
          </p:cNvSpPr>
          <p:nvPr>
            <p:ph type="body" sz="quarter" idx="24"/>
          </p:nvPr>
        </p:nvSpPr>
        <p:spPr>
          <a:xfrm>
            <a:off x="7563400" y="3471609"/>
            <a:ext cx="3381064" cy="1651544"/>
          </a:xfrm>
          <a:prstGeom prst="rect">
            <a:avLst/>
          </a:prstGeom>
          <a:noFill/>
          <a:ln>
            <a:noFill/>
          </a:ln>
        </p:spPr>
        <p:txBody>
          <a:bodyPr lIns="182880" tIns="91440" rIns="274320" bIns="91440"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B2F5AFA6-070C-2C4E-CBFC-52A61DD442B1}"/>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302C1E88-D415-B251-D4A3-1EE32597DF8D}"/>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A1302124-252C-72E6-6B13-ED09B1112D67}"/>
              </a:ext>
            </a:extLst>
          </p:cNvPr>
          <p:cNvSpPr>
            <a:spLocks noGrp="1"/>
          </p:cNvSpPr>
          <p:nvPr>
            <p:ph type="body" sz="quarter" idx="26"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251660151"/>
      </p:ext>
    </p:extLst>
  </p:cSld>
  <p:clrMapOvr>
    <a:masterClrMapping/>
  </p:clrMapOvr>
  <p:transition>
    <p:wip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1 - 3 col, title and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6024" y="2108218"/>
            <a:ext cx="3317901" cy="3073196"/>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7620805" y="2108218"/>
            <a:ext cx="3318111" cy="3073196"/>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101294" y="2108218"/>
            <a:ext cx="3317901" cy="3073196"/>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6024" y="1728260"/>
            <a:ext cx="3317901"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098304" y="1728260"/>
            <a:ext cx="3323671"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7614824" y="1728260"/>
            <a:ext cx="3323882"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BAE91B1D-F362-460E-E600-F16E2C844263}"/>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A32B19BF-F21A-85F3-3E71-EF702FB7EFAA}"/>
              </a:ext>
            </a:extLst>
          </p:cNvPr>
          <p:cNvSpPr>
            <a:spLocks noGrp="1"/>
          </p:cNvSpPr>
          <p:nvPr>
            <p:ph type="body" sz="quarter" idx="31"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15A27052-B609-D12A-559B-36FF56E95244}"/>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030090160"/>
      </p:ext>
    </p:extLst>
  </p:cSld>
  <p:clrMapOvr>
    <a:masterClrMapping/>
  </p:clrMapOvr>
  <p:transition>
    <p:wip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3 - 3 col,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6024" y="2828297"/>
            <a:ext cx="3317901" cy="2616597"/>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7620805" y="2828297"/>
            <a:ext cx="3318111" cy="2616597"/>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101294" y="2828297"/>
            <a:ext cx="3317901" cy="2616597"/>
          </a:xfrm>
          <a:prstGeom prst="rect">
            <a:avLst/>
          </a:prstGeom>
          <a:noFill/>
        </p:spPr>
        <p:txBody>
          <a:bodyPr vert="horz" lIns="0" tIns="0" rIns="91440" bIns="4572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6024" y="2448339"/>
            <a:ext cx="3317901"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098304" y="2448339"/>
            <a:ext cx="3323671"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7614824" y="2448339"/>
            <a:ext cx="3323882" cy="232656"/>
          </a:xfrm>
          <a:prstGeom prst="rect">
            <a:avLst/>
          </a:prstGeom>
        </p:spPr>
        <p:txBody>
          <a:bodyPr lIns="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2" name="Picture Placeholder 11">
            <a:extLst>
              <a:ext uri="{FF2B5EF4-FFF2-40B4-BE49-F238E27FC236}">
                <a16:creationId xmlns:a16="http://schemas.microsoft.com/office/drawing/2014/main" id="{386714ED-43BB-0D40-B96C-475B5753D3A4}"/>
              </a:ext>
            </a:extLst>
          </p:cNvPr>
          <p:cNvSpPr>
            <a:spLocks noGrp="1"/>
          </p:cNvSpPr>
          <p:nvPr userDrawn="1">
            <p:ph type="pic" sz="quarter" idx="31" hasCustomPrompt="1"/>
          </p:nvPr>
        </p:nvSpPr>
        <p:spPr>
          <a:xfrm>
            <a:off x="1937809" y="1644596"/>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7" name="Picture Placeholder 11">
            <a:extLst>
              <a:ext uri="{FF2B5EF4-FFF2-40B4-BE49-F238E27FC236}">
                <a16:creationId xmlns:a16="http://schemas.microsoft.com/office/drawing/2014/main" id="{7E5A99AF-B30B-3647-8C74-33D7AABF7EFE}"/>
              </a:ext>
            </a:extLst>
          </p:cNvPr>
          <p:cNvSpPr>
            <a:spLocks noGrp="1"/>
          </p:cNvSpPr>
          <p:nvPr userDrawn="1">
            <p:ph type="pic" sz="quarter" idx="32" hasCustomPrompt="1"/>
          </p:nvPr>
        </p:nvSpPr>
        <p:spPr>
          <a:xfrm>
            <a:off x="5462972" y="1644596"/>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8" name="Picture Placeholder 11">
            <a:extLst>
              <a:ext uri="{FF2B5EF4-FFF2-40B4-BE49-F238E27FC236}">
                <a16:creationId xmlns:a16="http://schemas.microsoft.com/office/drawing/2014/main" id="{AEF74D7E-DBD4-9F4D-8D6E-4B797CE4D329}"/>
              </a:ext>
            </a:extLst>
          </p:cNvPr>
          <p:cNvSpPr>
            <a:spLocks noGrp="1"/>
          </p:cNvSpPr>
          <p:nvPr userDrawn="1">
            <p:ph type="pic" sz="quarter" idx="33" hasCustomPrompt="1"/>
          </p:nvPr>
        </p:nvSpPr>
        <p:spPr>
          <a:xfrm>
            <a:off x="8979599" y="1644596"/>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 name="Text Placeholder 11">
            <a:extLst>
              <a:ext uri="{FF2B5EF4-FFF2-40B4-BE49-F238E27FC236}">
                <a16:creationId xmlns:a16="http://schemas.microsoft.com/office/drawing/2014/main" id="{855F6009-C28F-6C99-33DD-D55A219F3CA0}"/>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51F89D62-EF01-E92F-6393-A80533F969F7}"/>
              </a:ext>
            </a:extLst>
          </p:cNvPr>
          <p:cNvSpPr>
            <a:spLocks noGrp="1"/>
          </p:cNvSpPr>
          <p:nvPr>
            <p:ph type="body" sz="quarter" idx="34"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8B88E5F6-F705-FA7F-995B-475CB2696F10}"/>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424422734"/>
      </p:ext>
    </p:extLst>
  </p:cSld>
  <p:clrMapOvr>
    <a:masterClrMapping/>
  </p:clrMapOvr>
  <p:transition>
    <p:wip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5 - 3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33" name="Content Placeholder 2">
            <a:extLst>
              <a:ext uri="{FF2B5EF4-FFF2-40B4-BE49-F238E27FC236}">
                <a16:creationId xmlns:a16="http://schemas.microsoft.com/office/drawing/2014/main" id="{9E76AC87-5B3A-8A4D-83EC-F9144BBA639A}"/>
              </a:ext>
            </a:extLst>
          </p:cNvPr>
          <p:cNvSpPr>
            <a:spLocks noGrp="1"/>
          </p:cNvSpPr>
          <p:nvPr>
            <p:ph sz="quarter" idx="17"/>
          </p:nvPr>
        </p:nvSpPr>
        <p:spPr>
          <a:xfrm>
            <a:off x="3782901" y="1594913"/>
            <a:ext cx="7161561" cy="1158595"/>
          </a:xfrm>
          <a:prstGeom prst="rect">
            <a:avLst/>
          </a:prstGeom>
          <a:noFill/>
        </p:spPr>
        <p:txBody>
          <a:bodyPr vert="horz" lIns="182880" tIns="45720" rIns="182880" bIns="45720" rtlCol="0" anchor="ctr" anchorCtr="0">
            <a:noAutofit/>
          </a:bodyPr>
          <a:lstStyle>
            <a:lvl1pPr>
              <a:defRPr lang="en-US" sz="1323" dirty="0" smtClean="0">
                <a:solidFill>
                  <a:schemeClr val="tx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134" dirty="0" smtClean="0"/>
            </a:lvl4pPr>
            <a:lvl5pPr>
              <a:defRPr lang="en-US" sz="1134" dirty="0"/>
            </a:lvl5pPr>
          </a:lstStyle>
          <a:p>
            <a:pPr lvl="0"/>
            <a:r>
              <a:rPr lang="en-US" dirty="0"/>
              <a:t>Click to edit Master text styles</a:t>
            </a:r>
          </a:p>
          <a:p>
            <a:pPr lvl="1"/>
            <a:r>
              <a:rPr lang="en-US" dirty="0"/>
              <a:t>Second level</a:t>
            </a:r>
          </a:p>
          <a:p>
            <a:pPr lvl="2"/>
            <a:r>
              <a:rPr lang="en-US" dirty="0"/>
              <a:t>Third level</a:t>
            </a:r>
          </a:p>
        </p:txBody>
      </p:sp>
      <p:sp>
        <p:nvSpPr>
          <p:cNvPr id="34" name="Text Placeholder 7">
            <a:extLst>
              <a:ext uri="{FF2B5EF4-FFF2-40B4-BE49-F238E27FC236}">
                <a16:creationId xmlns:a16="http://schemas.microsoft.com/office/drawing/2014/main" id="{38559A78-21DB-9E4D-8E8E-84767E2F65E9}"/>
              </a:ext>
            </a:extLst>
          </p:cNvPr>
          <p:cNvSpPr>
            <a:spLocks noGrp="1"/>
          </p:cNvSpPr>
          <p:nvPr>
            <p:ph type="body" sz="quarter" idx="24" hasCustomPrompt="1"/>
          </p:nvPr>
        </p:nvSpPr>
        <p:spPr>
          <a:xfrm>
            <a:off x="576025" y="1594913"/>
            <a:ext cx="2988648" cy="1158595"/>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5" name="Content Placeholder 2">
            <a:extLst>
              <a:ext uri="{FF2B5EF4-FFF2-40B4-BE49-F238E27FC236}">
                <a16:creationId xmlns:a16="http://schemas.microsoft.com/office/drawing/2014/main" id="{FAF00C7D-B824-3F47-A084-7A46A5AEBDF5}"/>
              </a:ext>
            </a:extLst>
          </p:cNvPr>
          <p:cNvSpPr>
            <a:spLocks noGrp="1"/>
          </p:cNvSpPr>
          <p:nvPr>
            <p:ph sz="quarter" idx="25"/>
          </p:nvPr>
        </p:nvSpPr>
        <p:spPr>
          <a:xfrm>
            <a:off x="3782901" y="2896480"/>
            <a:ext cx="7161561" cy="1158595"/>
          </a:xfrm>
          <a:prstGeom prst="rect">
            <a:avLst/>
          </a:prstGeom>
          <a:noFill/>
        </p:spPr>
        <p:txBody>
          <a:bodyPr vert="horz" lIns="182880" tIns="45720" rIns="182880" bIns="45720" rtlCol="0" anchor="ctr" anchorCtr="0">
            <a:noAutofit/>
          </a:bodyPr>
          <a:lstStyle>
            <a:lvl1pPr>
              <a:defRPr lang="en-US" sz="1323" dirty="0" smtClean="0">
                <a:solidFill>
                  <a:schemeClr val="tx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134" dirty="0" smtClean="0"/>
            </a:lvl4pPr>
            <a:lvl5pPr>
              <a:defRPr lang="en-US" sz="1134" dirty="0"/>
            </a:lvl5pPr>
          </a:lstStyle>
          <a:p>
            <a:pPr lvl="0"/>
            <a:r>
              <a:rPr lang="en-US" dirty="0"/>
              <a:t>Click to edit Master text styles</a:t>
            </a:r>
          </a:p>
          <a:p>
            <a:pPr lvl="1"/>
            <a:r>
              <a:rPr lang="en-US" dirty="0"/>
              <a:t>Second level</a:t>
            </a:r>
          </a:p>
          <a:p>
            <a:pPr lvl="2"/>
            <a:r>
              <a:rPr lang="en-US" dirty="0"/>
              <a:t>Third level</a:t>
            </a:r>
          </a:p>
        </p:txBody>
      </p:sp>
      <p:sp>
        <p:nvSpPr>
          <p:cNvPr id="36" name="Text Placeholder 7">
            <a:extLst>
              <a:ext uri="{FF2B5EF4-FFF2-40B4-BE49-F238E27FC236}">
                <a16:creationId xmlns:a16="http://schemas.microsoft.com/office/drawing/2014/main" id="{8CCA84D0-1605-1846-B354-9DDA9155E805}"/>
              </a:ext>
            </a:extLst>
          </p:cNvPr>
          <p:cNvSpPr>
            <a:spLocks noGrp="1"/>
          </p:cNvSpPr>
          <p:nvPr>
            <p:ph type="body" sz="quarter" idx="26" hasCustomPrompt="1"/>
          </p:nvPr>
        </p:nvSpPr>
        <p:spPr>
          <a:xfrm>
            <a:off x="576025" y="2896480"/>
            <a:ext cx="2988648" cy="1158595"/>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7" name="Content Placeholder 2">
            <a:extLst>
              <a:ext uri="{FF2B5EF4-FFF2-40B4-BE49-F238E27FC236}">
                <a16:creationId xmlns:a16="http://schemas.microsoft.com/office/drawing/2014/main" id="{5D5965A8-E6A2-D545-8AA1-B4BFE8FCD945}"/>
              </a:ext>
            </a:extLst>
          </p:cNvPr>
          <p:cNvSpPr>
            <a:spLocks noGrp="1"/>
          </p:cNvSpPr>
          <p:nvPr>
            <p:ph sz="quarter" idx="27"/>
          </p:nvPr>
        </p:nvSpPr>
        <p:spPr>
          <a:xfrm>
            <a:off x="3782901" y="4198049"/>
            <a:ext cx="7161561" cy="1158595"/>
          </a:xfrm>
          <a:prstGeom prst="rect">
            <a:avLst/>
          </a:prstGeom>
          <a:noFill/>
        </p:spPr>
        <p:txBody>
          <a:bodyPr vert="horz" lIns="182880" tIns="45720" rIns="182880" bIns="45720" rtlCol="0" anchor="ctr" anchorCtr="0">
            <a:noAutofit/>
          </a:bodyPr>
          <a:lstStyle>
            <a:lvl1pPr>
              <a:defRPr lang="en-US" sz="1323" dirty="0" smtClean="0">
                <a:solidFill>
                  <a:schemeClr val="tx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134" dirty="0" smtClean="0"/>
            </a:lvl4pPr>
            <a:lvl5pPr>
              <a:defRPr lang="en-US" sz="1134" dirty="0"/>
            </a:lvl5pPr>
          </a:lstStyle>
          <a:p>
            <a:pPr lvl="0"/>
            <a:r>
              <a:rPr lang="en-US" dirty="0"/>
              <a:t>Click to edit Master text styles</a:t>
            </a:r>
          </a:p>
          <a:p>
            <a:pPr lvl="1"/>
            <a:r>
              <a:rPr lang="en-US" dirty="0"/>
              <a:t>Second level</a:t>
            </a:r>
          </a:p>
          <a:p>
            <a:pPr lvl="2"/>
            <a:r>
              <a:rPr lang="en-US" dirty="0"/>
              <a:t>Third level</a:t>
            </a:r>
          </a:p>
        </p:txBody>
      </p:sp>
      <p:sp>
        <p:nvSpPr>
          <p:cNvPr id="38" name="Text Placeholder 7">
            <a:extLst>
              <a:ext uri="{FF2B5EF4-FFF2-40B4-BE49-F238E27FC236}">
                <a16:creationId xmlns:a16="http://schemas.microsoft.com/office/drawing/2014/main" id="{2508A9E7-E47F-B546-BC99-27EF736BA725}"/>
              </a:ext>
            </a:extLst>
          </p:cNvPr>
          <p:cNvSpPr>
            <a:spLocks noGrp="1"/>
          </p:cNvSpPr>
          <p:nvPr>
            <p:ph type="body" sz="quarter" idx="28" hasCustomPrompt="1"/>
          </p:nvPr>
        </p:nvSpPr>
        <p:spPr>
          <a:xfrm>
            <a:off x="576025" y="4198049"/>
            <a:ext cx="2988648" cy="1158595"/>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4" name="Text Placeholder 11">
            <a:extLst>
              <a:ext uri="{FF2B5EF4-FFF2-40B4-BE49-F238E27FC236}">
                <a16:creationId xmlns:a16="http://schemas.microsoft.com/office/drawing/2014/main" id="{5991F0AD-D1BC-A7EB-443B-D669E8639AA4}"/>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CD1C09AA-A8F6-32F6-F79B-615D914E961C}"/>
              </a:ext>
            </a:extLst>
          </p:cNvPr>
          <p:cNvSpPr>
            <a:spLocks noGrp="1"/>
          </p:cNvSpPr>
          <p:nvPr>
            <p:ph type="body" sz="quarter" idx="29"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B87D1938-FEFC-618C-4396-3124EE388FD1}"/>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64467623"/>
      </p:ext>
    </p:extLst>
  </p:cSld>
  <p:clrMapOvr>
    <a:masterClrMapping/>
  </p:clrMapOvr>
  <p:transition>
    <p:wip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6 - 4 rows,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576025" y="1571424"/>
            <a:ext cx="565654" cy="565644"/>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576025" y="2631292"/>
            <a:ext cx="565654" cy="565644"/>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576025" y="3702681"/>
            <a:ext cx="565654" cy="565644"/>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6" name="Picture Placeholder 11">
            <a:extLst>
              <a:ext uri="{FF2B5EF4-FFF2-40B4-BE49-F238E27FC236}">
                <a16:creationId xmlns:a16="http://schemas.microsoft.com/office/drawing/2014/main" id="{A02EA3FD-A346-5248-80C3-1881EC898622}"/>
              </a:ext>
            </a:extLst>
          </p:cNvPr>
          <p:cNvSpPr>
            <a:spLocks noGrp="1"/>
          </p:cNvSpPr>
          <p:nvPr>
            <p:ph type="pic" sz="quarter" idx="34" hasCustomPrompt="1"/>
          </p:nvPr>
        </p:nvSpPr>
        <p:spPr>
          <a:xfrm>
            <a:off x="576025" y="4808631"/>
            <a:ext cx="565654" cy="565644"/>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0" name="Text Placeholder 9">
            <a:extLst>
              <a:ext uri="{FF2B5EF4-FFF2-40B4-BE49-F238E27FC236}">
                <a16:creationId xmlns:a16="http://schemas.microsoft.com/office/drawing/2014/main" id="{7FF375CB-AE8C-2E49-9F05-67F1774A89BE}"/>
              </a:ext>
            </a:extLst>
          </p:cNvPr>
          <p:cNvSpPr>
            <a:spLocks noGrp="1"/>
          </p:cNvSpPr>
          <p:nvPr>
            <p:ph type="body" sz="quarter" idx="35" hasCustomPrompt="1"/>
          </p:nvPr>
        </p:nvSpPr>
        <p:spPr>
          <a:xfrm>
            <a:off x="1353658" y="1446039"/>
            <a:ext cx="1838528" cy="829523"/>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7" name="Text Placeholder 9">
            <a:extLst>
              <a:ext uri="{FF2B5EF4-FFF2-40B4-BE49-F238E27FC236}">
                <a16:creationId xmlns:a16="http://schemas.microsoft.com/office/drawing/2014/main" id="{A3E2DBF1-C7D3-5941-8DB4-FA9E100E94E9}"/>
              </a:ext>
            </a:extLst>
          </p:cNvPr>
          <p:cNvSpPr>
            <a:spLocks noGrp="1"/>
          </p:cNvSpPr>
          <p:nvPr>
            <p:ph type="body" sz="quarter" idx="36" hasCustomPrompt="1"/>
          </p:nvPr>
        </p:nvSpPr>
        <p:spPr>
          <a:xfrm>
            <a:off x="1353658" y="2506427"/>
            <a:ext cx="1838528" cy="829523"/>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8" name="Text Placeholder 9">
            <a:extLst>
              <a:ext uri="{FF2B5EF4-FFF2-40B4-BE49-F238E27FC236}">
                <a16:creationId xmlns:a16="http://schemas.microsoft.com/office/drawing/2014/main" id="{D9A3204F-500C-524E-8639-7C789A6F4DD9}"/>
              </a:ext>
            </a:extLst>
          </p:cNvPr>
          <p:cNvSpPr>
            <a:spLocks noGrp="1"/>
          </p:cNvSpPr>
          <p:nvPr>
            <p:ph type="body" sz="quarter" idx="37" hasCustomPrompt="1"/>
          </p:nvPr>
        </p:nvSpPr>
        <p:spPr>
          <a:xfrm>
            <a:off x="1353658" y="3577816"/>
            <a:ext cx="1838528" cy="829523"/>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9" name="Text Placeholder 9">
            <a:extLst>
              <a:ext uri="{FF2B5EF4-FFF2-40B4-BE49-F238E27FC236}">
                <a16:creationId xmlns:a16="http://schemas.microsoft.com/office/drawing/2014/main" id="{9106A030-854A-6E48-823B-3DC7EDD30E11}"/>
              </a:ext>
            </a:extLst>
          </p:cNvPr>
          <p:cNvSpPr>
            <a:spLocks noGrp="1"/>
          </p:cNvSpPr>
          <p:nvPr>
            <p:ph type="body" sz="quarter" idx="38" hasCustomPrompt="1"/>
          </p:nvPr>
        </p:nvSpPr>
        <p:spPr>
          <a:xfrm>
            <a:off x="1353658" y="4663766"/>
            <a:ext cx="1838528" cy="829523"/>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3399144" y="1446040"/>
            <a:ext cx="7545320"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3399144" y="2485848"/>
            <a:ext cx="7545320"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3399144" y="3577816"/>
            <a:ext cx="7545320"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3" name="Text Placeholder 29">
            <a:extLst>
              <a:ext uri="{FF2B5EF4-FFF2-40B4-BE49-F238E27FC236}">
                <a16:creationId xmlns:a16="http://schemas.microsoft.com/office/drawing/2014/main" id="{82E73EAA-B451-2349-BE06-C3B6A1AD052D}"/>
              </a:ext>
            </a:extLst>
          </p:cNvPr>
          <p:cNvSpPr>
            <a:spLocks noGrp="1"/>
          </p:cNvSpPr>
          <p:nvPr>
            <p:ph type="body" sz="quarter" idx="42"/>
          </p:nvPr>
        </p:nvSpPr>
        <p:spPr>
          <a:xfrm>
            <a:off x="3399144" y="4663525"/>
            <a:ext cx="7545320"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1">
            <a:extLst>
              <a:ext uri="{FF2B5EF4-FFF2-40B4-BE49-F238E27FC236}">
                <a16:creationId xmlns:a16="http://schemas.microsoft.com/office/drawing/2014/main" id="{1C63285D-C8B2-33F8-5BB0-9A5316E8B39D}"/>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8FCA00CF-D760-70FE-18E2-3185B0C1D72F}"/>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670D6219-FDE5-2E65-2451-EE200FF83E8B}"/>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4083461672"/>
      </p:ext>
    </p:extLst>
  </p:cSld>
  <p:clrMapOvr>
    <a:masterClrMapping/>
  </p:clrMapOvr>
  <p:transition>
    <p:wip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7 - 2 col, 3 rows, icon,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888038" y="1676877"/>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888038" y="3152168"/>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888038" y="4665357"/>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914132" y="1570694"/>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914132" y="3065194"/>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914132" y="4559692"/>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060257" y="1676877"/>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060257" y="3152168"/>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060257" y="4665357"/>
            <a:ext cx="632857" cy="632846"/>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3" name="Text Placeholder 29">
            <a:extLst>
              <a:ext uri="{FF2B5EF4-FFF2-40B4-BE49-F238E27FC236}">
                <a16:creationId xmlns:a16="http://schemas.microsoft.com/office/drawing/2014/main" id="{5D6F3C4E-4633-C546-A4C6-F4DFEF42E422}"/>
              </a:ext>
            </a:extLst>
          </p:cNvPr>
          <p:cNvSpPr>
            <a:spLocks noGrp="1"/>
          </p:cNvSpPr>
          <p:nvPr>
            <p:ph type="body" sz="quarter" idx="45"/>
          </p:nvPr>
        </p:nvSpPr>
        <p:spPr>
          <a:xfrm>
            <a:off x="7086351" y="1570694"/>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4" name="Text Placeholder 29">
            <a:extLst>
              <a:ext uri="{FF2B5EF4-FFF2-40B4-BE49-F238E27FC236}">
                <a16:creationId xmlns:a16="http://schemas.microsoft.com/office/drawing/2014/main" id="{16B754E6-731D-8245-995B-D502456C1927}"/>
              </a:ext>
            </a:extLst>
          </p:cNvPr>
          <p:cNvSpPr>
            <a:spLocks noGrp="1"/>
          </p:cNvSpPr>
          <p:nvPr>
            <p:ph type="body" sz="quarter" idx="46"/>
          </p:nvPr>
        </p:nvSpPr>
        <p:spPr>
          <a:xfrm>
            <a:off x="7086351" y="3065194"/>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5" name="Text Placeholder 29">
            <a:extLst>
              <a:ext uri="{FF2B5EF4-FFF2-40B4-BE49-F238E27FC236}">
                <a16:creationId xmlns:a16="http://schemas.microsoft.com/office/drawing/2014/main" id="{62C6C0CA-DCFA-C94B-B5B9-7AF32B564E61}"/>
              </a:ext>
            </a:extLst>
          </p:cNvPr>
          <p:cNvSpPr>
            <a:spLocks noGrp="1"/>
          </p:cNvSpPr>
          <p:nvPr>
            <p:ph type="body" sz="quarter" idx="47"/>
          </p:nvPr>
        </p:nvSpPr>
        <p:spPr>
          <a:xfrm>
            <a:off x="7086351" y="4559692"/>
            <a:ext cx="3474097" cy="829523"/>
          </a:xfrm>
          <a:prstGeom prst="rect">
            <a:avLst/>
          </a:prstGeom>
        </p:spPr>
        <p:txBody>
          <a:bodyPr anchor="ctr" anchorCtr="0"/>
          <a:lstStyle>
            <a:lvl1pPr>
              <a:defRPr sz="1134">
                <a:solidFill>
                  <a:schemeClr val="tx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2DF6EA55-EAEC-D49A-364E-33BBCB48E0C2}"/>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5C6E3739-F913-6803-B60F-A3094DB4BA62}"/>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35882009"/>
      </p:ext>
    </p:extLst>
  </p:cSld>
  <p:clrMapOvr>
    <a:masterClrMapping/>
  </p:clrMapOvr>
  <p:transition>
    <p:wip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1 - 2 col, 2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6024" y="1728679"/>
            <a:ext cx="5007044" cy="1622554"/>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5940302" y="1728679"/>
            <a:ext cx="4998352" cy="1622554"/>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6024" y="1413001"/>
            <a:ext cx="5007044" cy="315677"/>
          </a:xfrm>
          <a:prstGeom prst="rect">
            <a:avLst/>
          </a:prstGeom>
          <a:noFill/>
        </p:spPr>
        <p:txBody>
          <a:bodyPr lIns="9144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5937423" y="1413001"/>
            <a:ext cx="5007044" cy="315677"/>
          </a:xfrm>
          <a:prstGeom prst="rect">
            <a:avLst/>
          </a:prstGeom>
          <a:noFill/>
        </p:spPr>
        <p:txBody>
          <a:bodyPr lIns="9144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576024" y="3937543"/>
            <a:ext cx="5007044" cy="1622554"/>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5940302" y="3937543"/>
            <a:ext cx="4998352" cy="1622554"/>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576024" y="3621866"/>
            <a:ext cx="5007044" cy="315677"/>
          </a:xfrm>
          <a:prstGeom prst="rect">
            <a:avLst/>
          </a:prstGeom>
          <a:noFill/>
        </p:spPr>
        <p:txBody>
          <a:bodyPr lIns="9144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5937423" y="3621866"/>
            <a:ext cx="5007044" cy="315677"/>
          </a:xfrm>
          <a:prstGeom prst="rect">
            <a:avLst/>
          </a:prstGeom>
          <a:noFill/>
        </p:spPr>
        <p:txBody>
          <a:bodyPr lIns="91440" tIns="45720" rIns="91440" bIns="45720" anchor="ctr" anchorCtr="0">
            <a:noAutofit/>
          </a:bodyPr>
          <a:lstStyle>
            <a:lvl1pPr marL="0" indent="0" algn="ctr">
              <a:spcBef>
                <a:spcPts val="0"/>
              </a:spcBef>
              <a:buNone/>
              <a:defRPr sz="1323"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2835543B-2861-25AE-CD9E-4F8D2CBAA85F}"/>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95DD9CCE-4B36-F2EF-9B8C-4DD5C42B9D5D}"/>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915138004"/>
      </p:ext>
    </p:extLst>
  </p:cSld>
  <p:clrMapOvr>
    <a:masterClrMapping/>
  </p:clrMapOvr>
  <p:transition>
    <p:wip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2 - 3 col, 3 rows,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2643" y="1728679"/>
            <a:ext cx="3345356"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090945" y="1728679"/>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2643" y="1413001"/>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087566" y="1413001"/>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3" name="Content Placeholder 2">
            <a:extLst>
              <a:ext uri="{FF2B5EF4-FFF2-40B4-BE49-F238E27FC236}">
                <a16:creationId xmlns:a16="http://schemas.microsoft.com/office/drawing/2014/main" id="{E531E163-AB1A-DF4C-AFCF-325ADEDDCB17}"/>
              </a:ext>
            </a:extLst>
          </p:cNvPr>
          <p:cNvSpPr>
            <a:spLocks noGrp="1"/>
          </p:cNvSpPr>
          <p:nvPr>
            <p:ph sz="quarter" idx="30"/>
          </p:nvPr>
        </p:nvSpPr>
        <p:spPr>
          <a:xfrm>
            <a:off x="7602486" y="1728679"/>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14" name="Text Placeholder 11">
            <a:extLst>
              <a:ext uri="{FF2B5EF4-FFF2-40B4-BE49-F238E27FC236}">
                <a16:creationId xmlns:a16="http://schemas.microsoft.com/office/drawing/2014/main" id="{CD5A827B-DA68-4449-B54E-27652C26FD16}"/>
              </a:ext>
            </a:extLst>
          </p:cNvPr>
          <p:cNvSpPr>
            <a:spLocks noGrp="1"/>
          </p:cNvSpPr>
          <p:nvPr>
            <p:ph type="body" sz="quarter" idx="31" hasCustomPrompt="1"/>
          </p:nvPr>
        </p:nvSpPr>
        <p:spPr>
          <a:xfrm>
            <a:off x="7599108" y="1413001"/>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5" name="Content Placeholder 2">
            <a:extLst>
              <a:ext uri="{FF2B5EF4-FFF2-40B4-BE49-F238E27FC236}">
                <a16:creationId xmlns:a16="http://schemas.microsoft.com/office/drawing/2014/main" id="{03133BD0-4A00-BB44-9A92-03E73CDD05B7}"/>
              </a:ext>
            </a:extLst>
          </p:cNvPr>
          <p:cNvSpPr>
            <a:spLocks noGrp="1"/>
          </p:cNvSpPr>
          <p:nvPr>
            <p:ph sz="quarter" idx="32"/>
          </p:nvPr>
        </p:nvSpPr>
        <p:spPr>
          <a:xfrm>
            <a:off x="572643" y="3168718"/>
            <a:ext cx="3345356"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16" name="Content Placeholder 2">
            <a:extLst>
              <a:ext uri="{FF2B5EF4-FFF2-40B4-BE49-F238E27FC236}">
                <a16:creationId xmlns:a16="http://schemas.microsoft.com/office/drawing/2014/main" id="{7731CB01-D546-324F-9F9E-CC846AC40B6D}"/>
              </a:ext>
            </a:extLst>
          </p:cNvPr>
          <p:cNvSpPr>
            <a:spLocks noGrp="1"/>
          </p:cNvSpPr>
          <p:nvPr>
            <p:ph sz="quarter" idx="33"/>
          </p:nvPr>
        </p:nvSpPr>
        <p:spPr>
          <a:xfrm>
            <a:off x="4090945" y="3168718"/>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17" name="Text Placeholder 11">
            <a:extLst>
              <a:ext uri="{FF2B5EF4-FFF2-40B4-BE49-F238E27FC236}">
                <a16:creationId xmlns:a16="http://schemas.microsoft.com/office/drawing/2014/main" id="{5CAC88B1-E77E-3F43-9E30-F0341F60ECD9}"/>
              </a:ext>
            </a:extLst>
          </p:cNvPr>
          <p:cNvSpPr>
            <a:spLocks noGrp="1"/>
          </p:cNvSpPr>
          <p:nvPr>
            <p:ph type="body" sz="quarter" idx="34" hasCustomPrompt="1"/>
          </p:nvPr>
        </p:nvSpPr>
        <p:spPr>
          <a:xfrm>
            <a:off x="572643" y="285304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2" name="Text Placeholder 11">
            <a:extLst>
              <a:ext uri="{FF2B5EF4-FFF2-40B4-BE49-F238E27FC236}">
                <a16:creationId xmlns:a16="http://schemas.microsoft.com/office/drawing/2014/main" id="{1493DEAC-ADC9-F344-BE11-21CB2F3559C2}"/>
              </a:ext>
            </a:extLst>
          </p:cNvPr>
          <p:cNvSpPr>
            <a:spLocks noGrp="1"/>
          </p:cNvSpPr>
          <p:nvPr>
            <p:ph type="body" sz="quarter" idx="35" hasCustomPrompt="1"/>
          </p:nvPr>
        </p:nvSpPr>
        <p:spPr>
          <a:xfrm>
            <a:off x="4087566" y="285304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3" name="Content Placeholder 2">
            <a:extLst>
              <a:ext uri="{FF2B5EF4-FFF2-40B4-BE49-F238E27FC236}">
                <a16:creationId xmlns:a16="http://schemas.microsoft.com/office/drawing/2014/main" id="{C3129037-3EDB-B04C-AD37-B5CA44B7B277}"/>
              </a:ext>
            </a:extLst>
          </p:cNvPr>
          <p:cNvSpPr>
            <a:spLocks noGrp="1"/>
          </p:cNvSpPr>
          <p:nvPr>
            <p:ph sz="quarter" idx="36"/>
          </p:nvPr>
        </p:nvSpPr>
        <p:spPr>
          <a:xfrm>
            <a:off x="7602486" y="3168718"/>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24" name="Text Placeholder 11">
            <a:extLst>
              <a:ext uri="{FF2B5EF4-FFF2-40B4-BE49-F238E27FC236}">
                <a16:creationId xmlns:a16="http://schemas.microsoft.com/office/drawing/2014/main" id="{D8B70BE3-0C13-1A47-968F-2985DDF2C61C}"/>
              </a:ext>
            </a:extLst>
          </p:cNvPr>
          <p:cNvSpPr>
            <a:spLocks noGrp="1"/>
          </p:cNvSpPr>
          <p:nvPr>
            <p:ph type="body" sz="quarter" idx="37" hasCustomPrompt="1"/>
          </p:nvPr>
        </p:nvSpPr>
        <p:spPr>
          <a:xfrm>
            <a:off x="7599108" y="285304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5" name="Content Placeholder 2">
            <a:extLst>
              <a:ext uri="{FF2B5EF4-FFF2-40B4-BE49-F238E27FC236}">
                <a16:creationId xmlns:a16="http://schemas.microsoft.com/office/drawing/2014/main" id="{A615F1EA-ADB0-0D48-AF6D-28863A3876A6}"/>
              </a:ext>
            </a:extLst>
          </p:cNvPr>
          <p:cNvSpPr>
            <a:spLocks noGrp="1"/>
          </p:cNvSpPr>
          <p:nvPr>
            <p:ph sz="quarter" idx="38"/>
          </p:nvPr>
        </p:nvSpPr>
        <p:spPr>
          <a:xfrm>
            <a:off x="572643" y="4583048"/>
            <a:ext cx="3345356"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3CF176C0-3BE1-E449-8337-D0DF1EA66172}"/>
              </a:ext>
            </a:extLst>
          </p:cNvPr>
          <p:cNvSpPr>
            <a:spLocks noGrp="1"/>
          </p:cNvSpPr>
          <p:nvPr>
            <p:ph sz="quarter" idx="39"/>
          </p:nvPr>
        </p:nvSpPr>
        <p:spPr>
          <a:xfrm>
            <a:off x="4090945" y="4583048"/>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27" name="Text Placeholder 11">
            <a:extLst>
              <a:ext uri="{FF2B5EF4-FFF2-40B4-BE49-F238E27FC236}">
                <a16:creationId xmlns:a16="http://schemas.microsoft.com/office/drawing/2014/main" id="{45909B7F-7D14-8A42-92F8-6EAEE58C211E}"/>
              </a:ext>
            </a:extLst>
          </p:cNvPr>
          <p:cNvSpPr>
            <a:spLocks noGrp="1"/>
          </p:cNvSpPr>
          <p:nvPr>
            <p:ph type="body" sz="quarter" idx="40" hasCustomPrompt="1"/>
          </p:nvPr>
        </p:nvSpPr>
        <p:spPr>
          <a:xfrm>
            <a:off x="572643" y="426737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8" name="Text Placeholder 11">
            <a:extLst>
              <a:ext uri="{FF2B5EF4-FFF2-40B4-BE49-F238E27FC236}">
                <a16:creationId xmlns:a16="http://schemas.microsoft.com/office/drawing/2014/main" id="{91A16B60-2AA8-DF49-8F65-17B4BF0488AB}"/>
              </a:ext>
            </a:extLst>
          </p:cNvPr>
          <p:cNvSpPr>
            <a:spLocks noGrp="1"/>
          </p:cNvSpPr>
          <p:nvPr>
            <p:ph type="body" sz="quarter" idx="41" hasCustomPrompt="1"/>
          </p:nvPr>
        </p:nvSpPr>
        <p:spPr>
          <a:xfrm>
            <a:off x="4087566" y="426737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9" name="Content Placeholder 2">
            <a:extLst>
              <a:ext uri="{FF2B5EF4-FFF2-40B4-BE49-F238E27FC236}">
                <a16:creationId xmlns:a16="http://schemas.microsoft.com/office/drawing/2014/main" id="{1569701A-F362-CF4D-B0BA-27AD49FA6B6F}"/>
              </a:ext>
            </a:extLst>
          </p:cNvPr>
          <p:cNvSpPr>
            <a:spLocks noGrp="1"/>
          </p:cNvSpPr>
          <p:nvPr>
            <p:ph sz="quarter" idx="42"/>
          </p:nvPr>
        </p:nvSpPr>
        <p:spPr>
          <a:xfrm>
            <a:off x="7602486" y="4583048"/>
            <a:ext cx="3339549" cy="963860"/>
          </a:xfrm>
          <a:prstGeom prst="rect">
            <a:avLst/>
          </a:prstGeom>
          <a:noFill/>
        </p:spPr>
        <p:txBody>
          <a:bodyPr vert="horz" lIns="91440" tIns="91440" rIns="91440" bIns="0" rtlCol="0">
            <a:noAutofit/>
          </a:bodyPr>
          <a:lstStyle>
            <a:lvl1pPr>
              <a:defRPr lang="en-US" sz="1134" dirty="0" smtClean="0">
                <a:solidFill>
                  <a:schemeClr val="tx2"/>
                </a:solidFill>
                <a:latin typeface="Avenir Next LT Pro" panose="020B0504020202020204" pitchFamily="34" charset="77"/>
              </a:defRPr>
            </a:lvl1pPr>
            <a:lvl2pPr>
              <a:defRPr lang="en-US" sz="1134" dirty="0" smtClean="0"/>
            </a:lvl2pPr>
            <a:lvl3pPr>
              <a:defRPr lang="en-US" sz="1134" dirty="0" smtClean="0"/>
            </a:lvl3pPr>
            <a:lvl4pPr>
              <a:defRPr lang="en-US" sz="1134" dirty="0" smtClean="0"/>
            </a:lvl4pPr>
            <a:lvl5pPr>
              <a:defRPr lang="en-US" sz="1134" dirty="0"/>
            </a:lvl5pPr>
          </a:lstStyle>
          <a:p>
            <a:pPr lvl="0"/>
            <a:r>
              <a:rPr lang="en-US" dirty="0"/>
              <a:t>Click to edit Master text styles</a:t>
            </a:r>
          </a:p>
        </p:txBody>
      </p:sp>
      <p:sp>
        <p:nvSpPr>
          <p:cNvPr id="30" name="Text Placeholder 11">
            <a:extLst>
              <a:ext uri="{FF2B5EF4-FFF2-40B4-BE49-F238E27FC236}">
                <a16:creationId xmlns:a16="http://schemas.microsoft.com/office/drawing/2014/main" id="{D2C1AF17-2F29-9F4F-AE5E-278C16C6C5E6}"/>
              </a:ext>
            </a:extLst>
          </p:cNvPr>
          <p:cNvSpPr>
            <a:spLocks noGrp="1"/>
          </p:cNvSpPr>
          <p:nvPr>
            <p:ph type="body" sz="quarter" idx="43" hasCustomPrompt="1"/>
          </p:nvPr>
        </p:nvSpPr>
        <p:spPr>
          <a:xfrm>
            <a:off x="7599108" y="4267370"/>
            <a:ext cx="3345356" cy="315677"/>
          </a:xfrm>
          <a:prstGeom prst="rect">
            <a:avLst/>
          </a:prstGeom>
          <a:noFill/>
        </p:spPr>
        <p:txBody>
          <a:bodyPr lIns="91440" tIns="45720" rIns="91440" bIns="45720" anchor="ctr" anchorCtr="0">
            <a:noAutofit/>
          </a:bodyPr>
          <a:lstStyle>
            <a:lvl1pPr marL="0" indent="0" algn="ctr">
              <a:spcBef>
                <a:spcPts val="0"/>
              </a:spcBef>
              <a:buNone/>
              <a:defRPr sz="1134" b="1" i="0" spc="0" baseline="0">
                <a:solidFill>
                  <a:schemeClr val="accent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4" name="Text Placeholder 11">
            <a:extLst>
              <a:ext uri="{FF2B5EF4-FFF2-40B4-BE49-F238E27FC236}">
                <a16:creationId xmlns:a16="http://schemas.microsoft.com/office/drawing/2014/main" id="{7472A332-9BCE-68F0-25E2-03ECF26AA5A0}"/>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0" name="Text Placeholder 7">
            <a:extLst>
              <a:ext uri="{FF2B5EF4-FFF2-40B4-BE49-F238E27FC236}">
                <a16:creationId xmlns:a16="http://schemas.microsoft.com/office/drawing/2014/main" id="{40C36E20-A0FF-D77F-1BBB-27926ADED74C}"/>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BAED79BD-C9BB-E3B6-AD54-A8BF4FC6E646}"/>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986465442"/>
      </p:ext>
    </p:extLst>
  </p:cSld>
  <p:clrMapOvr>
    <a:masterClrMapping/>
  </p:clrMapOvr>
  <p:transition>
    <p:wip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4 - 3 rows, title, subtitle, callout #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12" name="Text Placeholder 7">
            <a:extLst>
              <a:ext uri="{FF2B5EF4-FFF2-40B4-BE49-F238E27FC236}">
                <a16:creationId xmlns:a16="http://schemas.microsoft.com/office/drawing/2014/main" id="{4059AF93-8BCE-084D-8715-66A98760E961}"/>
              </a:ext>
            </a:extLst>
          </p:cNvPr>
          <p:cNvSpPr>
            <a:spLocks noGrp="1"/>
          </p:cNvSpPr>
          <p:nvPr>
            <p:ph type="body" sz="quarter" idx="24" hasCustomPrompt="1"/>
          </p:nvPr>
        </p:nvSpPr>
        <p:spPr>
          <a:xfrm>
            <a:off x="957922" y="1708008"/>
            <a:ext cx="2721506" cy="622305"/>
          </a:xfrm>
          <a:prstGeom prst="rect">
            <a:avLst/>
          </a:prstGeom>
          <a:noFill/>
        </p:spPr>
        <p:txBody>
          <a:bodyPr lIns="91440" tIns="45720" rIns="91440" bIns="45720" anchor="t"/>
          <a:lstStyle>
            <a:lvl1pPr marL="0" indent="0">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4" name="Text Placeholder 7">
            <a:extLst>
              <a:ext uri="{FF2B5EF4-FFF2-40B4-BE49-F238E27FC236}">
                <a16:creationId xmlns:a16="http://schemas.microsoft.com/office/drawing/2014/main" id="{469AFCFE-19D3-204E-A080-9856C776D35C}"/>
              </a:ext>
            </a:extLst>
          </p:cNvPr>
          <p:cNvSpPr>
            <a:spLocks noGrp="1"/>
          </p:cNvSpPr>
          <p:nvPr>
            <p:ph type="body" sz="quarter" idx="26" hasCustomPrompt="1"/>
          </p:nvPr>
        </p:nvSpPr>
        <p:spPr>
          <a:xfrm>
            <a:off x="957922" y="2922240"/>
            <a:ext cx="2721506" cy="622305"/>
          </a:xfrm>
          <a:prstGeom prst="rect">
            <a:avLst/>
          </a:prstGeom>
          <a:noFill/>
        </p:spPr>
        <p:txBody>
          <a:bodyPr lIns="91440" tIns="45720" rIns="91440" bIns="45720" anchor="t"/>
          <a:lstStyle>
            <a:lvl1pPr marL="0" indent="0">
              <a:spcBef>
                <a:spcPts val="0"/>
              </a:spcBef>
              <a:buNone/>
              <a:defRPr sz="1323" b="1" i="0" spc="0">
                <a:solidFill>
                  <a:schemeClr val="accent5">
                    <a:lumMod val="50000"/>
                  </a:schemeClr>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5" name="Text Placeholder 7">
            <a:extLst>
              <a:ext uri="{FF2B5EF4-FFF2-40B4-BE49-F238E27FC236}">
                <a16:creationId xmlns:a16="http://schemas.microsoft.com/office/drawing/2014/main" id="{20F06885-BB58-284B-93F1-AAF59769A943}"/>
              </a:ext>
            </a:extLst>
          </p:cNvPr>
          <p:cNvSpPr>
            <a:spLocks noGrp="1"/>
          </p:cNvSpPr>
          <p:nvPr>
            <p:ph type="body" sz="quarter" idx="28" hasCustomPrompt="1"/>
          </p:nvPr>
        </p:nvSpPr>
        <p:spPr>
          <a:xfrm>
            <a:off x="957922" y="4122943"/>
            <a:ext cx="2721506" cy="622305"/>
          </a:xfrm>
          <a:prstGeom prst="rect">
            <a:avLst/>
          </a:prstGeom>
          <a:noFill/>
        </p:spPr>
        <p:txBody>
          <a:bodyPr lIns="91440" tIns="45720" rIns="91440" bIns="45720" anchor="t"/>
          <a:lstStyle>
            <a:lvl1pPr marL="0" indent="0">
              <a:spcBef>
                <a:spcPts val="0"/>
              </a:spcBef>
              <a:buNone/>
              <a:defRPr sz="1323" b="1" i="0" spc="0">
                <a:solidFill>
                  <a:schemeClr val="accent2"/>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6" name="Text Placeholder 7">
            <a:extLst>
              <a:ext uri="{FF2B5EF4-FFF2-40B4-BE49-F238E27FC236}">
                <a16:creationId xmlns:a16="http://schemas.microsoft.com/office/drawing/2014/main" id="{93F43F55-8F2C-0747-BECB-41CB83298203}"/>
              </a:ext>
            </a:extLst>
          </p:cNvPr>
          <p:cNvSpPr>
            <a:spLocks noGrp="1"/>
          </p:cNvSpPr>
          <p:nvPr>
            <p:ph type="body" sz="quarter" idx="29" hasCustomPrompt="1"/>
          </p:nvPr>
        </p:nvSpPr>
        <p:spPr>
          <a:xfrm>
            <a:off x="957922" y="2330313"/>
            <a:ext cx="2721506" cy="291079"/>
          </a:xfrm>
          <a:prstGeom prst="rect">
            <a:avLst/>
          </a:prstGeom>
          <a:noFill/>
        </p:spPr>
        <p:txBody>
          <a:bodyPr lIns="91440" tIns="45720" rIns="91440" bIns="45720" anchor="t"/>
          <a:lstStyle>
            <a:lvl1pPr marL="0" indent="0">
              <a:buNone/>
              <a:defRPr sz="1134">
                <a:solidFill>
                  <a:schemeClr val="accent1"/>
                </a:solidFill>
                <a:latin typeface="Avenir Next LT Pro" panose="020B0504020202020204" pitchFamily="34" charset="77"/>
              </a:defRPr>
            </a:lvl1pPr>
          </a:lstStyle>
          <a:p>
            <a:pPr lvl="0"/>
            <a:r>
              <a:rPr lang="en-US" dirty="0"/>
              <a:t>Subtitle</a:t>
            </a:r>
          </a:p>
        </p:txBody>
      </p:sp>
      <p:sp>
        <p:nvSpPr>
          <p:cNvPr id="17" name="Text Placeholder 7">
            <a:extLst>
              <a:ext uri="{FF2B5EF4-FFF2-40B4-BE49-F238E27FC236}">
                <a16:creationId xmlns:a16="http://schemas.microsoft.com/office/drawing/2014/main" id="{B38C6718-BCFF-2243-876B-3BBA3D0DE238}"/>
              </a:ext>
            </a:extLst>
          </p:cNvPr>
          <p:cNvSpPr>
            <a:spLocks noGrp="1"/>
          </p:cNvSpPr>
          <p:nvPr>
            <p:ph type="body" sz="quarter" idx="30" hasCustomPrompt="1"/>
          </p:nvPr>
        </p:nvSpPr>
        <p:spPr>
          <a:xfrm>
            <a:off x="957922" y="3544545"/>
            <a:ext cx="2721506" cy="291079"/>
          </a:xfrm>
          <a:prstGeom prst="rect">
            <a:avLst/>
          </a:prstGeom>
          <a:noFill/>
        </p:spPr>
        <p:txBody>
          <a:bodyPr lIns="91440" tIns="45720" rIns="91440" bIns="45720" anchor="t"/>
          <a:lstStyle>
            <a:lvl1pPr marL="0" indent="0">
              <a:buNone/>
              <a:defRPr sz="1134">
                <a:solidFill>
                  <a:schemeClr val="tx2">
                    <a:lumMod val="75000"/>
                    <a:lumOff val="25000"/>
                  </a:schemeClr>
                </a:solidFill>
                <a:latin typeface="Avenir Next LT Pro" panose="020B0504020202020204" pitchFamily="34" charset="77"/>
              </a:defRPr>
            </a:lvl1pPr>
          </a:lstStyle>
          <a:p>
            <a:pPr lvl="0"/>
            <a:r>
              <a:rPr lang="en-US" dirty="0"/>
              <a:t>Subtitle</a:t>
            </a:r>
          </a:p>
        </p:txBody>
      </p:sp>
      <p:sp>
        <p:nvSpPr>
          <p:cNvPr id="18" name="Text Placeholder 7">
            <a:extLst>
              <a:ext uri="{FF2B5EF4-FFF2-40B4-BE49-F238E27FC236}">
                <a16:creationId xmlns:a16="http://schemas.microsoft.com/office/drawing/2014/main" id="{5BCBBEE0-FB51-AA4D-8767-E10F00180ED4}"/>
              </a:ext>
            </a:extLst>
          </p:cNvPr>
          <p:cNvSpPr>
            <a:spLocks noGrp="1"/>
          </p:cNvSpPr>
          <p:nvPr>
            <p:ph type="body" sz="quarter" idx="31" hasCustomPrompt="1"/>
          </p:nvPr>
        </p:nvSpPr>
        <p:spPr>
          <a:xfrm>
            <a:off x="957922" y="4745247"/>
            <a:ext cx="2721506" cy="291079"/>
          </a:xfrm>
          <a:prstGeom prst="rect">
            <a:avLst/>
          </a:prstGeom>
          <a:noFill/>
        </p:spPr>
        <p:txBody>
          <a:bodyPr lIns="91440" tIns="45720" rIns="91440" bIns="45720" anchor="t"/>
          <a:lstStyle>
            <a:lvl1pPr marL="0" indent="0">
              <a:buNone/>
              <a:defRPr sz="1134">
                <a:solidFill>
                  <a:schemeClr val="accent2"/>
                </a:solidFill>
                <a:latin typeface="Avenir Next LT Pro" panose="020B0504020202020204" pitchFamily="34" charset="77"/>
              </a:defRPr>
            </a:lvl1pPr>
          </a:lstStyle>
          <a:p>
            <a:pPr lvl="0"/>
            <a:r>
              <a:rPr lang="en-US" dirty="0"/>
              <a:t>Subtitle</a:t>
            </a:r>
          </a:p>
        </p:txBody>
      </p:sp>
      <p:sp>
        <p:nvSpPr>
          <p:cNvPr id="21" name="Text Placeholder 7">
            <a:extLst>
              <a:ext uri="{FF2B5EF4-FFF2-40B4-BE49-F238E27FC236}">
                <a16:creationId xmlns:a16="http://schemas.microsoft.com/office/drawing/2014/main" id="{3CCF564A-AAA8-2045-B62D-DDADEA55A9F6}"/>
              </a:ext>
            </a:extLst>
          </p:cNvPr>
          <p:cNvSpPr>
            <a:spLocks noGrp="1"/>
          </p:cNvSpPr>
          <p:nvPr userDrawn="1">
            <p:ph type="body" sz="quarter" idx="32" hasCustomPrompt="1"/>
          </p:nvPr>
        </p:nvSpPr>
        <p:spPr>
          <a:xfrm>
            <a:off x="4386678" y="1708008"/>
            <a:ext cx="2721506" cy="622305"/>
          </a:xfrm>
          <a:prstGeom prst="rect">
            <a:avLst/>
          </a:prstGeom>
          <a:noFill/>
        </p:spPr>
        <p:txBody>
          <a:bodyPr lIns="91440" tIns="45720" rIns="91440" bIns="45720" anchor="t"/>
          <a:lstStyle>
            <a:lvl1pPr marL="0" indent="0">
              <a:buNone/>
              <a:defRPr sz="3780" b="1">
                <a:solidFill>
                  <a:schemeClr val="accent1"/>
                </a:solidFill>
                <a:latin typeface="Avenir Next LT Pro" panose="020B0504020202020204" pitchFamily="34" charset="77"/>
              </a:defRPr>
            </a:lvl1pPr>
          </a:lstStyle>
          <a:p>
            <a:pPr lvl="0"/>
            <a:r>
              <a:rPr lang="en-US" dirty="0"/>
              <a:t>XX.X%</a:t>
            </a:r>
          </a:p>
        </p:txBody>
      </p:sp>
      <p:sp>
        <p:nvSpPr>
          <p:cNvPr id="22" name="Text Placeholder 7">
            <a:extLst>
              <a:ext uri="{FF2B5EF4-FFF2-40B4-BE49-F238E27FC236}">
                <a16:creationId xmlns:a16="http://schemas.microsoft.com/office/drawing/2014/main" id="{E260F899-2637-6F46-938D-D4C1FB3BBDD8}"/>
              </a:ext>
            </a:extLst>
          </p:cNvPr>
          <p:cNvSpPr>
            <a:spLocks noGrp="1"/>
          </p:cNvSpPr>
          <p:nvPr userDrawn="1">
            <p:ph type="body" sz="quarter" idx="33" hasCustomPrompt="1"/>
          </p:nvPr>
        </p:nvSpPr>
        <p:spPr>
          <a:xfrm>
            <a:off x="4386678" y="2922240"/>
            <a:ext cx="2721506" cy="622305"/>
          </a:xfrm>
          <a:prstGeom prst="rect">
            <a:avLst/>
          </a:prstGeom>
          <a:noFill/>
        </p:spPr>
        <p:txBody>
          <a:bodyPr lIns="91440" tIns="45720" rIns="91440" bIns="45720" anchor="t"/>
          <a:lstStyle>
            <a:lvl1pPr marL="0" indent="0">
              <a:buNone/>
              <a:defRPr sz="3780" b="1">
                <a:solidFill>
                  <a:schemeClr val="accent5">
                    <a:lumMod val="50000"/>
                  </a:schemeClr>
                </a:solidFill>
                <a:latin typeface="Avenir Next LT Pro" panose="020B0504020202020204" pitchFamily="34" charset="77"/>
              </a:defRPr>
            </a:lvl1pPr>
          </a:lstStyle>
          <a:p>
            <a:pPr lvl="0"/>
            <a:r>
              <a:rPr lang="en-US" dirty="0"/>
              <a:t>XX.X%</a:t>
            </a:r>
          </a:p>
        </p:txBody>
      </p:sp>
      <p:sp>
        <p:nvSpPr>
          <p:cNvPr id="23" name="Text Placeholder 7">
            <a:extLst>
              <a:ext uri="{FF2B5EF4-FFF2-40B4-BE49-F238E27FC236}">
                <a16:creationId xmlns:a16="http://schemas.microsoft.com/office/drawing/2014/main" id="{586C772B-1D48-7446-85AE-C36171867E5F}"/>
              </a:ext>
            </a:extLst>
          </p:cNvPr>
          <p:cNvSpPr>
            <a:spLocks noGrp="1"/>
          </p:cNvSpPr>
          <p:nvPr userDrawn="1">
            <p:ph type="body" sz="quarter" idx="34" hasCustomPrompt="1"/>
          </p:nvPr>
        </p:nvSpPr>
        <p:spPr>
          <a:xfrm>
            <a:off x="4386678" y="4122943"/>
            <a:ext cx="2721506" cy="622305"/>
          </a:xfrm>
          <a:prstGeom prst="rect">
            <a:avLst/>
          </a:prstGeom>
          <a:noFill/>
        </p:spPr>
        <p:txBody>
          <a:bodyPr lIns="91440" tIns="45720" rIns="91440" bIns="45720" anchor="t"/>
          <a:lstStyle>
            <a:lvl1pPr marL="0" indent="0">
              <a:buNone/>
              <a:defRPr sz="3780" b="1">
                <a:solidFill>
                  <a:schemeClr val="accent2"/>
                </a:solidFill>
                <a:latin typeface="Avenir Next LT Pro" panose="020B0504020202020204" pitchFamily="34" charset="77"/>
              </a:defRPr>
            </a:lvl1pPr>
          </a:lstStyle>
          <a:p>
            <a:pPr lvl="0"/>
            <a:r>
              <a:rPr lang="en-US" dirty="0"/>
              <a:t>XX.X%</a:t>
            </a:r>
          </a:p>
        </p:txBody>
      </p:sp>
      <p:sp>
        <p:nvSpPr>
          <p:cNvPr id="24" name="Text Placeholder 7">
            <a:extLst>
              <a:ext uri="{FF2B5EF4-FFF2-40B4-BE49-F238E27FC236}">
                <a16:creationId xmlns:a16="http://schemas.microsoft.com/office/drawing/2014/main" id="{ADAB3E57-053A-7242-9029-EAAD9AE9B2DF}"/>
              </a:ext>
            </a:extLst>
          </p:cNvPr>
          <p:cNvSpPr>
            <a:spLocks noGrp="1"/>
          </p:cNvSpPr>
          <p:nvPr userDrawn="1">
            <p:ph type="body" sz="quarter" idx="35" hasCustomPrompt="1"/>
          </p:nvPr>
        </p:nvSpPr>
        <p:spPr>
          <a:xfrm>
            <a:off x="4386678" y="2330313"/>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25" name="Text Placeholder 7">
            <a:extLst>
              <a:ext uri="{FF2B5EF4-FFF2-40B4-BE49-F238E27FC236}">
                <a16:creationId xmlns:a16="http://schemas.microsoft.com/office/drawing/2014/main" id="{9767543D-1A84-AC41-A5BF-98D1FFB39D1B}"/>
              </a:ext>
            </a:extLst>
          </p:cNvPr>
          <p:cNvSpPr>
            <a:spLocks noGrp="1"/>
          </p:cNvSpPr>
          <p:nvPr userDrawn="1">
            <p:ph type="body" sz="quarter" idx="36" hasCustomPrompt="1"/>
          </p:nvPr>
        </p:nvSpPr>
        <p:spPr>
          <a:xfrm>
            <a:off x="4386678" y="3544545"/>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26" name="Text Placeholder 7">
            <a:extLst>
              <a:ext uri="{FF2B5EF4-FFF2-40B4-BE49-F238E27FC236}">
                <a16:creationId xmlns:a16="http://schemas.microsoft.com/office/drawing/2014/main" id="{991A1611-7C9B-5F42-8A0D-4F3FA5560A3E}"/>
              </a:ext>
            </a:extLst>
          </p:cNvPr>
          <p:cNvSpPr>
            <a:spLocks noGrp="1"/>
          </p:cNvSpPr>
          <p:nvPr userDrawn="1">
            <p:ph type="body" sz="quarter" idx="37" hasCustomPrompt="1"/>
          </p:nvPr>
        </p:nvSpPr>
        <p:spPr>
          <a:xfrm>
            <a:off x="4386678" y="4745247"/>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27" name="Text Placeholder 7">
            <a:extLst>
              <a:ext uri="{FF2B5EF4-FFF2-40B4-BE49-F238E27FC236}">
                <a16:creationId xmlns:a16="http://schemas.microsoft.com/office/drawing/2014/main" id="{31482FF8-3432-1743-A778-D4B5934BD206}"/>
              </a:ext>
            </a:extLst>
          </p:cNvPr>
          <p:cNvSpPr>
            <a:spLocks noGrp="1"/>
          </p:cNvSpPr>
          <p:nvPr userDrawn="1">
            <p:ph type="body" sz="quarter" idx="38" hasCustomPrompt="1"/>
          </p:nvPr>
        </p:nvSpPr>
        <p:spPr>
          <a:xfrm>
            <a:off x="7815434" y="1708008"/>
            <a:ext cx="2721506" cy="622305"/>
          </a:xfrm>
          <a:prstGeom prst="rect">
            <a:avLst/>
          </a:prstGeom>
          <a:noFill/>
        </p:spPr>
        <p:txBody>
          <a:bodyPr lIns="91440" tIns="45720" rIns="91440" bIns="45720" anchor="t"/>
          <a:lstStyle>
            <a:lvl1pPr marL="0" indent="0">
              <a:buNone/>
              <a:defRPr sz="3780" b="1">
                <a:solidFill>
                  <a:schemeClr val="accent1"/>
                </a:solidFill>
                <a:latin typeface="Avenir Next LT Pro" panose="020B0504020202020204" pitchFamily="34" charset="77"/>
              </a:defRPr>
            </a:lvl1pPr>
          </a:lstStyle>
          <a:p>
            <a:pPr lvl="0"/>
            <a:r>
              <a:rPr lang="en-US" dirty="0"/>
              <a:t>XX.X%</a:t>
            </a:r>
          </a:p>
        </p:txBody>
      </p:sp>
      <p:sp>
        <p:nvSpPr>
          <p:cNvPr id="28" name="Text Placeholder 7">
            <a:extLst>
              <a:ext uri="{FF2B5EF4-FFF2-40B4-BE49-F238E27FC236}">
                <a16:creationId xmlns:a16="http://schemas.microsoft.com/office/drawing/2014/main" id="{3C2FBCD0-5D29-3D4F-801C-47A3CC7A205E}"/>
              </a:ext>
            </a:extLst>
          </p:cNvPr>
          <p:cNvSpPr>
            <a:spLocks noGrp="1"/>
          </p:cNvSpPr>
          <p:nvPr userDrawn="1">
            <p:ph type="body" sz="quarter" idx="39" hasCustomPrompt="1"/>
          </p:nvPr>
        </p:nvSpPr>
        <p:spPr>
          <a:xfrm>
            <a:off x="7815434" y="2922240"/>
            <a:ext cx="2721506" cy="622305"/>
          </a:xfrm>
          <a:prstGeom prst="rect">
            <a:avLst/>
          </a:prstGeom>
          <a:noFill/>
        </p:spPr>
        <p:txBody>
          <a:bodyPr lIns="91440" tIns="45720" rIns="91440" bIns="45720" anchor="t"/>
          <a:lstStyle>
            <a:lvl1pPr marL="0" indent="0">
              <a:buNone/>
              <a:defRPr sz="3780" b="1">
                <a:solidFill>
                  <a:schemeClr val="accent5">
                    <a:lumMod val="50000"/>
                  </a:schemeClr>
                </a:solidFill>
                <a:latin typeface="Avenir Next LT Pro" panose="020B0504020202020204" pitchFamily="34" charset="77"/>
              </a:defRPr>
            </a:lvl1pPr>
          </a:lstStyle>
          <a:p>
            <a:pPr lvl="0"/>
            <a:r>
              <a:rPr lang="en-US" dirty="0"/>
              <a:t>XX.X%</a:t>
            </a:r>
          </a:p>
        </p:txBody>
      </p:sp>
      <p:sp>
        <p:nvSpPr>
          <p:cNvPr id="29" name="Text Placeholder 7">
            <a:extLst>
              <a:ext uri="{FF2B5EF4-FFF2-40B4-BE49-F238E27FC236}">
                <a16:creationId xmlns:a16="http://schemas.microsoft.com/office/drawing/2014/main" id="{4A9866B5-352F-374B-9B26-07AD3E2018CE}"/>
              </a:ext>
            </a:extLst>
          </p:cNvPr>
          <p:cNvSpPr>
            <a:spLocks noGrp="1"/>
          </p:cNvSpPr>
          <p:nvPr userDrawn="1">
            <p:ph type="body" sz="quarter" idx="40" hasCustomPrompt="1"/>
          </p:nvPr>
        </p:nvSpPr>
        <p:spPr>
          <a:xfrm>
            <a:off x="7815434" y="4122943"/>
            <a:ext cx="2721506" cy="622305"/>
          </a:xfrm>
          <a:prstGeom prst="rect">
            <a:avLst/>
          </a:prstGeom>
          <a:noFill/>
        </p:spPr>
        <p:txBody>
          <a:bodyPr lIns="91440" tIns="45720" rIns="91440" bIns="45720" anchor="t"/>
          <a:lstStyle>
            <a:lvl1pPr marL="0" indent="0">
              <a:buNone/>
              <a:defRPr sz="3780" b="1">
                <a:solidFill>
                  <a:schemeClr val="accent2"/>
                </a:solidFill>
                <a:latin typeface="Avenir Next LT Pro" panose="020B0504020202020204" pitchFamily="34" charset="77"/>
              </a:defRPr>
            </a:lvl1pPr>
          </a:lstStyle>
          <a:p>
            <a:pPr lvl="0"/>
            <a:r>
              <a:rPr lang="en-US" dirty="0"/>
              <a:t>XX.X%</a:t>
            </a:r>
          </a:p>
        </p:txBody>
      </p:sp>
      <p:sp>
        <p:nvSpPr>
          <p:cNvPr id="30" name="Text Placeholder 7">
            <a:extLst>
              <a:ext uri="{FF2B5EF4-FFF2-40B4-BE49-F238E27FC236}">
                <a16:creationId xmlns:a16="http://schemas.microsoft.com/office/drawing/2014/main" id="{659B7183-4339-C54D-B428-1E0A7198DAF2}"/>
              </a:ext>
            </a:extLst>
          </p:cNvPr>
          <p:cNvSpPr>
            <a:spLocks noGrp="1"/>
          </p:cNvSpPr>
          <p:nvPr userDrawn="1">
            <p:ph type="body" sz="quarter" idx="41" hasCustomPrompt="1"/>
          </p:nvPr>
        </p:nvSpPr>
        <p:spPr>
          <a:xfrm>
            <a:off x="7815434" y="2330313"/>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31" name="Text Placeholder 7">
            <a:extLst>
              <a:ext uri="{FF2B5EF4-FFF2-40B4-BE49-F238E27FC236}">
                <a16:creationId xmlns:a16="http://schemas.microsoft.com/office/drawing/2014/main" id="{DF21D733-8794-9B4A-94B4-ED2D166A8F26}"/>
              </a:ext>
            </a:extLst>
          </p:cNvPr>
          <p:cNvSpPr>
            <a:spLocks noGrp="1"/>
          </p:cNvSpPr>
          <p:nvPr userDrawn="1">
            <p:ph type="body" sz="quarter" idx="42" hasCustomPrompt="1"/>
          </p:nvPr>
        </p:nvSpPr>
        <p:spPr>
          <a:xfrm>
            <a:off x="7815434" y="3544545"/>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32" name="Text Placeholder 7">
            <a:extLst>
              <a:ext uri="{FF2B5EF4-FFF2-40B4-BE49-F238E27FC236}">
                <a16:creationId xmlns:a16="http://schemas.microsoft.com/office/drawing/2014/main" id="{A6304067-EBC1-4D4A-884A-48F03372C151}"/>
              </a:ext>
            </a:extLst>
          </p:cNvPr>
          <p:cNvSpPr>
            <a:spLocks noGrp="1"/>
          </p:cNvSpPr>
          <p:nvPr userDrawn="1">
            <p:ph type="body" sz="quarter" idx="43" hasCustomPrompt="1"/>
          </p:nvPr>
        </p:nvSpPr>
        <p:spPr>
          <a:xfrm>
            <a:off x="7815434" y="4745247"/>
            <a:ext cx="2721506" cy="291079"/>
          </a:xfrm>
          <a:prstGeom prst="rect">
            <a:avLst/>
          </a:prstGeom>
          <a:noFill/>
        </p:spPr>
        <p:txBody>
          <a:bodyPr lIns="91440" tIns="45720" rIns="91440" bIns="45720" anchor="t"/>
          <a:lstStyle>
            <a:lvl1pPr marL="0" indent="0">
              <a:buNone/>
              <a:defRPr sz="1134">
                <a:solidFill>
                  <a:schemeClr val="tx2"/>
                </a:solidFill>
                <a:latin typeface="Avenir Next LT Pro" panose="020B0504020202020204" pitchFamily="34" charset="77"/>
              </a:defRPr>
            </a:lvl1pPr>
          </a:lstStyle>
          <a:p>
            <a:pPr lvl="0"/>
            <a:r>
              <a:rPr lang="en-US" dirty="0"/>
              <a:t>Subtext</a:t>
            </a:r>
          </a:p>
        </p:txBody>
      </p:sp>
      <p:sp>
        <p:nvSpPr>
          <p:cNvPr id="4" name="Text Placeholder 11">
            <a:extLst>
              <a:ext uri="{FF2B5EF4-FFF2-40B4-BE49-F238E27FC236}">
                <a16:creationId xmlns:a16="http://schemas.microsoft.com/office/drawing/2014/main" id="{64D60497-0B35-BE08-5472-9A6D2EA4A56C}"/>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5EB2A84A-0412-B856-D1E1-916BF5DC1262}"/>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F64F3870-FEBB-A790-2D87-48ADF21828BF}"/>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918059506"/>
      </p:ext>
    </p:extLst>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8E82600F-EA60-1E7B-8DEB-0F7F0075A3F4}"/>
              </a:ext>
            </a:extLst>
          </p:cNvPr>
          <p:cNvSpPr>
            <a:spLocks noGrp="1"/>
          </p:cNvSpPr>
          <p:nvPr>
            <p:ph type="ftr" sz="quarter" idx="1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6" name="Source">
            <a:extLst>
              <a:ext uri="{FF2B5EF4-FFF2-40B4-BE49-F238E27FC236}">
                <a16:creationId xmlns:a16="http://schemas.microsoft.com/office/drawing/2014/main" id="{53152456-ECA5-A368-F4FD-84FA2B739FEF}"/>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9B157674-0817-06DF-ED64-8B78FA157FC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51382156"/>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5 - Simple timeline with icon, title,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391355" y="2673019"/>
            <a:ext cx="1943752" cy="334510"/>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665135" y="2673019"/>
            <a:ext cx="1943752" cy="334510"/>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5938677" y="2673019"/>
            <a:ext cx="1943752" cy="334510"/>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212220" y="2673019"/>
            <a:ext cx="1943752" cy="334510"/>
          </a:xfrm>
          <a:prstGeom prst="rect">
            <a:avLst/>
          </a:prstGeom>
        </p:spPr>
        <p:txBody>
          <a:bodyPr lIns="0"/>
          <a:lstStyle>
            <a:lvl1pPr>
              <a:buNone/>
              <a:defRPr b="1" i="0">
                <a:solidFill>
                  <a:schemeClr val="accent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391355" y="3112610"/>
            <a:ext cx="1943752"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665135" y="3112610"/>
            <a:ext cx="1943752"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5938677" y="3112610"/>
            <a:ext cx="1943752"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212220" y="3112610"/>
            <a:ext cx="1943752"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391355" y="1725382"/>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665147" y="1725382"/>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5938939" y="1725382"/>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212732" y="1725382"/>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278959" y="2050615"/>
            <a:ext cx="1163569"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552751" y="2050615"/>
            <a:ext cx="1163569"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6826543" y="2050615"/>
            <a:ext cx="1163569"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944AA8DD-1432-1068-A560-4B5B5104D078}"/>
              </a:ext>
            </a:extLst>
          </p:cNvPr>
          <p:cNvSpPr>
            <a:spLocks noGrp="1"/>
          </p:cNvSpPr>
          <p:nvPr>
            <p:ph type="body" sz="quarter" idx="29"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C37FC764-92B6-5EA5-1329-087022294009}"/>
              </a:ext>
            </a:extLst>
          </p:cNvPr>
          <p:cNvSpPr>
            <a:spLocks noGrp="1"/>
          </p:cNvSpPr>
          <p:nvPr>
            <p:ph type="body" sz="quarter" idx="30"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635378331"/>
      </p:ext>
    </p:extLst>
  </p:cSld>
  <p:clrMapOvr>
    <a:masterClrMapping/>
  </p:clrMapOvr>
  <p:transition>
    <p:wip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7 - Project 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19149" y="2055378"/>
            <a:ext cx="1696864" cy="266868"/>
          </a:xfrm>
          <a:prstGeom prst="rect">
            <a:avLst/>
          </a:prstGeom>
          <a:noFill/>
        </p:spPr>
        <p:txBody>
          <a:bodyPr wrap="square" lIns="91440" tIns="45720" rIns="91440" bIns="45720" anchor="t" anchorCtr="0">
            <a:spAutoFit/>
          </a:bodyPr>
          <a:lstStyle>
            <a:lvl1pPr marL="0" indent="0" algn="l">
              <a:spcBef>
                <a:spcPts val="0"/>
              </a:spcBef>
              <a:buNone/>
              <a:defRPr sz="1134" b="1" i="0" spc="0" baseline="0">
                <a:solidFill>
                  <a:schemeClr val="accent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31778"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764275" y="3123016"/>
            <a:ext cx="10157083" cy="153147"/>
          </a:xfrm>
          <a:prstGeom prst="rightArrow">
            <a:avLst>
              <a:gd name="adj1" fmla="val 8216"/>
              <a:gd name="adj2" fmla="val 75644"/>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t" anchorCtr="0" forceAA="0" compatLnSpc="1">
            <a:prstTxWarp prst="textNoShape">
              <a:avLst/>
            </a:prstTxWarp>
            <a:noAutofit/>
          </a:bodyPr>
          <a:lstStyle/>
          <a:p>
            <a:pPr algn="ctr">
              <a:lnSpc>
                <a:spcPct val="90000"/>
              </a:lnSpc>
            </a:pPr>
            <a:endParaRPr lang="en-US" sz="1701" b="1" dirty="0">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3781730" y="2908770"/>
            <a:ext cx="82" cy="581641"/>
          </a:xfrm>
          <a:prstGeom prst="rect">
            <a:avLst/>
          </a:prstGeom>
          <a:noFill/>
        </p:spPr>
        <p:txBody>
          <a:bodyPr wrap="square" lIns="86402" tIns="43201" rIns="86402" bIns="43201" rtlCol="0" anchor="t">
            <a:noAutofit/>
          </a:bodyPr>
          <a:lstStyle/>
          <a:p>
            <a:pPr>
              <a:spcBef>
                <a:spcPts val="1134"/>
              </a:spcBef>
            </a:pPr>
            <a:endParaRPr lang="en-US" sz="3780" dirty="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831762"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3820991"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5776940"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7762519"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9732053"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8718691" y="2055378"/>
            <a:ext cx="1801139" cy="266868"/>
          </a:xfrm>
          <a:prstGeom prst="rect">
            <a:avLst/>
          </a:prstGeom>
          <a:noFill/>
        </p:spPr>
        <p:txBody>
          <a:bodyPr wrap="square" lIns="91440" tIns="45720" rIns="91440" bIns="45720" anchor="t" anchorCtr="0">
            <a:spAutoFit/>
          </a:bodyPr>
          <a:lstStyle>
            <a:lvl1pPr marL="0" indent="0" algn="r">
              <a:spcBef>
                <a:spcPts val="0"/>
              </a:spcBef>
              <a:buNone/>
              <a:defRPr sz="1134" b="1" i="0" spc="0" baseline="0">
                <a:solidFill>
                  <a:schemeClr val="accent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19148"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021007"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008377"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4976956"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4964326"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6962535"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6949905"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8932069"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8919439"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716013" y="4100616"/>
            <a:ext cx="216009" cy="216006"/>
            <a:chOff x="5068956" y="4549940"/>
            <a:chExt cx="529870" cy="529870"/>
          </a:xfrm>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671962" y="4100616"/>
            <a:ext cx="216009" cy="216006"/>
            <a:chOff x="5068956" y="4549940"/>
            <a:chExt cx="529870" cy="529870"/>
          </a:xfrm>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6641495" y="4100616"/>
            <a:ext cx="216009" cy="216006"/>
            <a:chOff x="5068956" y="4549940"/>
            <a:chExt cx="529870" cy="529870"/>
          </a:xfrm>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8610686" y="4100616"/>
            <a:ext cx="216009" cy="216006"/>
            <a:chOff x="5068956" y="4549940"/>
            <a:chExt cx="529870" cy="529870"/>
          </a:xfrm>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FF1EB1C8-A12D-0861-836B-5BCEE010960B}"/>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499163D2-1ADC-3D34-2B6F-7F15EC320FF8}"/>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652892722"/>
      </p:ext>
    </p:extLst>
  </p:cSld>
  <p:clrMapOvr>
    <a:masterClrMapping/>
  </p:clrMapOvr>
  <p:transition>
    <p:wip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9 - Copy, desk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pic>
        <p:nvPicPr>
          <p:cNvPr id="6" name="Picture 5">
            <a:extLst>
              <a:ext uri="{FF2B5EF4-FFF2-40B4-BE49-F238E27FC236}">
                <a16:creationId xmlns:a16="http://schemas.microsoft.com/office/drawing/2014/main" id="{43D2C786-26F2-804A-9AF7-E05CB6D34242}"/>
              </a:ext>
            </a:extLst>
          </p:cNvPr>
          <p:cNvPicPr>
            <a:picLocks noChangeAspect="1"/>
          </p:cNvPicPr>
          <p:nvPr userDrawn="1"/>
        </p:nvPicPr>
        <p:blipFill>
          <a:blip r:embed="rId2"/>
          <a:stretch>
            <a:fillRect/>
          </a:stretch>
        </p:blipFill>
        <p:spPr>
          <a:xfrm>
            <a:off x="4763949" y="1245984"/>
            <a:ext cx="6180515" cy="4478170"/>
          </a:xfrm>
          <a:prstGeom prst="rect">
            <a:avLst/>
          </a:prstGeom>
        </p:spPr>
      </p:pic>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576024" y="1534912"/>
            <a:ext cx="3997670" cy="4004738"/>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11">
            <a:extLst>
              <a:ext uri="{FF2B5EF4-FFF2-40B4-BE49-F238E27FC236}">
                <a16:creationId xmlns:a16="http://schemas.microsoft.com/office/drawing/2014/main" id="{705268D3-6915-4846-A37C-8F84AA9E5154}"/>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3431C0E0-8631-008B-AB64-96E0338CE825}"/>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E7AA403D-0909-3135-F3FF-BECE60EE0920}"/>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15407111"/>
      </p:ext>
    </p:extLst>
  </p:cSld>
  <p:clrMapOvr>
    <a:masterClrMapping/>
  </p:clrMapOvr>
  <p:transition>
    <p:wip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1 - Copy, laptop scre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576024" y="1534912"/>
            <a:ext cx="3997670" cy="4004738"/>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91F6088E-2EB6-4C41-ACC6-1F986B3DB268}"/>
              </a:ext>
            </a:extLst>
          </p:cNvPr>
          <p:cNvPicPr>
            <a:picLocks noChangeAspect="1"/>
          </p:cNvPicPr>
          <p:nvPr userDrawn="1"/>
        </p:nvPicPr>
        <p:blipFill>
          <a:blip r:embed="rId2"/>
          <a:stretch>
            <a:fillRect/>
          </a:stretch>
        </p:blipFill>
        <p:spPr>
          <a:xfrm>
            <a:off x="4655015" y="1442252"/>
            <a:ext cx="6507600" cy="4075405"/>
          </a:xfrm>
          <a:prstGeom prst="rect">
            <a:avLst/>
          </a:prstGeom>
        </p:spPr>
      </p:pic>
      <p:sp>
        <p:nvSpPr>
          <p:cNvPr id="4" name="Text Placeholder 11">
            <a:extLst>
              <a:ext uri="{FF2B5EF4-FFF2-40B4-BE49-F238E27FC236}">
                <a16:creationId xmlns:a16="http://schemas.microsoft.com/office/drawing/2014/main" id="{58819256-C607-2D56-8299-95A2CAA7B9D9}"/>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9" name="Text Placeholder 7">
            <a:extLst>
              <a:ext uri="{FF2B5EF4-FFF2-40B4-BE49-F238E27FC236}">
                <a16:creationId xmlns:a16="http://schemas.microsoft.com/office/drawing/2014/main" id="{259C1370-45E6-32AD-9F39-5B981D8714F7}"/>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4F80703D-FAF2-9A7A-11FE-87325F37336B}"/>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141886948"/>
      </p:ext>
    </p:extLst>
  </p:cSld>
  <p:clrMapOvr>
    <a:masterClrMapping/>
  </p:clrMapOvr>
  <p:transition>
    <p:wip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52 - Copy, 3 mobile pho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pic>
        <p:nvPicPr>
          <p:cNvPr id="8" name="Picture 7">
            <a:extLst>
              <a:ext uri="{FF2B5EF4-FFF2-40B4-BE49-F238E27FC236}">
                <a16:creationId xmlns:a16="http://schemas.microsoft.com/office/drawing/2014/main" id="{0FD82E5F-1EF8-DB47-8260-B1099DCC04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490302" y="1287590"/>
            <a:ext cx="2180396" cy="4436565"/>
          </a:xfrm>
          <a:prstGeom prst="rect">
            <a:avLst/>
          </a:prstGeom>
        </p:spPr>
      </p:pic>
      <p:pic>
        <p:nvPicPr>
          <p:cNvPr id="9" name="Picture 8">
            <a:extLst>
              <a:ext uri="{FF2B5EF4-FFF2-40B4-BE49-F238E27FC236}">
                <a16:creationId xmlns:a16="http://schemas.microsoft.com/office/drawing/2014/main" id="{43822A83-E583-5C4E-A595-219495CAE4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34108" y="1287590"/>
            <a:ext cx="2180396" cy="4436565"/>
          </a:xfrm>
          <a:prstGeom prst="rect">
            <a:avLst/>
          </a:prstGeom>
        </p:spPr>
      </p:pic>
      <p:pic>
        <p:nvPicPr>
          <p:cNvPr id="10" name="Picture 9">
            <a:extLst>
              <a:ext uri="{FF2B5EF4-FFF2-40B4-BE49-F238E27FC236}">
                <a16:creationId xmlns:a16="http://schemas.microsoft.com/office/drawing/2014/main" id="{1D5E971E-DD71-8E45-B495-6C356E66C14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764066" y="1287590"/>
            <a:ext cx="2180396" cy="4436565"/>
          </a:xfrm>
          <a:prstGeom prst="rect">
            <a:avLst/>
          </a:prstGeom>
        </p:spPr>
      </p:pic>
      <p:sp>
        <p:nvSpPr>
          <p:cNvPr id="11" name="Text Placeholder 7">
            <a:extLst>
              <a:ext uri="{FF2B5EF4-FFF2-40B4-BE49-F238E27FC236}">
                <a16:creationId xmlns:a16="http://schemas.microsoft.com/office/drawing/2014/main" id="{4CC6103D-129E-3749-8D59-8E015BEE9FDB}"/>
              </a:ext>
            </a:extLst>
          </p:cNvPr>
          <p:cNvSpPr>
            <a:spLocks noGrp="1"/>
          </p:cNvSpPr>
          <p:nvPr>
            <p:ph type="body" sz="quarter" idx="17"/>
          </p:nvPr>
        </p:nvSpPr>
        <p:spPr>
          <a:xfrm>
            <a:off x="576025" y="1860051"/>
            <a:ext cx="2724115" cy="3588097"/>
          </a:xfrm>
          <a:prstGeom prst="rect">
            <a:avLst/>
          </a:prstGeom>
        </p:spPr>
        <p:txBody>
          <a:bodyPr/>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FC881385-C268-A94C-EF97-961BA3481636}"/>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963D9191-6796-7FEB-DE3F-943BA2F8D34B}"/>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FDB6A5CA-AA2C-5F5E-71DE-25065AB0AFB7}"/>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1776519205"/>
      </p:ext>
    </p:extLst>
  </p:cSld>
  <p:clrMapOvr>
    <a:masterClrMapping/>
  </p:clrMapOvr>
  <p:transition>
    <p:wip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5 - Copy, bleed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576026" y="432013"/>
            <a:ext cx="5184219" cy="436231"/>
          </a:xfrm>
        </p:spPr>
        <p:txBody>
          <a:bodyPr rIns="0"/>
          <a:lstStyle>
            <a:lvl1pPr>
              <a:defRPr>
                <a:latin typeface="Avenir Next LT Pro" panose="020B0504020202020204" pitchFamily="34" charset="77"/>
              </a:defRPr>
            </a:lvl1pPr>
          </a:lstStyle>
          <a:p>
            <a:r>
              <a:rPr lang="en-US" dirty="0"/>
              <a:t>Click to Edit Master Title Style</a:t>
            </a:r>
          </a:p>
        </p:txBody>
      </p:sp>
      <p:sp>
        <p:nvSpPr>
          <p:cNvPr id="5" name="Text Placeholder 12">
            <a:extLst>
              <a:ext uri="{FF2B5EF4-FFF2-40B4-BE49-F238E27FC236}">
                <a16:creationId xmlns:a16="http://schemas.microsoft.com/office/drawing/2014/main" id="{50EF91D2-C92D-BF4C-8720-D73AA44DADDF}"/>
              </a:ext>
            </a:extLst>
          </p:cNvPr>
          <p:cNvSpPr>
            <a:spLocks noGrp="1"/>
          </p:cNvSpPr>
          <p:nvPr>
            <p:ph type="body" sz="quarter" idx="16" hasCustomPrompt="1"/>
          </p:nvPr>
        </p:nvSpPr>
        <p:spPr bwMode="auto">
          <a:xfrm>
            <a:off x="576027" y="5724155"/>
            <a:ext cx="5184217"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5971695" y="0"/>
            <a:ext cx="5548793" cy="6480175"/>
          </a:xfrm>
          <a:prstGeom prst="rect">
            <a:avLst/>
          </a:prstGeom>
          <a:solidFill>
            <a:schemeClr val="accent6">
              <a:lumMod val="60000"/>
              <a:lumOff val="40000"/>
            </a:schemeClr>
          </a:solidFill>
          <a:ln>
            <a:noFill/>
          </a:ln>
        </p:spPr>
        <p:txBody>
          <a:bodyPr/>
          <a:lstStyle>
            <a:lvl1pPr>
              <a:defRPr>
                <a:latin typeface="Avenir Next LT Pro" panose="020B0504020202020204" pitchFamily="34" charset="77"/>
              </a:defRPr>
            </a:lvl1pPr>
          </a:lstStyle>
          <a:p>
            <a:endParaRPr lang="en-US" dirty="0"/>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576024" y="1416018"/>
            <a:ext cx="5184220" cy="4143133"/>
          </a:xfrm>
          <a:prstGeom prst="rect">
            <a:avLst/>
          </a:prstGeom>
          <a:noFill/>
        </p:spPr>
        <p:txBody>
          <a:bodyPr lIns="0" tIns="91440" rIns="365760"/>
          <a:lstStyle>
            <a:lvl1pPr>
              <a:defRPr>
                <a:solidFill>
                  <a:schemeClr val="tx2"/>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11">
            <a:extLst>
              <a:ext uri="{FF2B5EF4-FFF2-40B4-BE49-F238E27FC236}">
                <a16:creationId xmlns:a16="http://schemas.microsoft.com/office/drawing/2014/main" id="{6A5F61B2-676F-9904-489A-4E4DA8421936}"/>
              </a:ext>
            </a:extLst>
          </p:cNvPr>
          <p:cNvSpPr>
            <a:spLocks noGrp="1"/>
          </p:cNvSpPr>
          <p:nvPr>
            <p:ph type="body" sz="quarter" idx="11" hasCustomPrompt="1"/>
          </p:nvPr>
        </p:nvSpPr>
        <p:spPr>
          <a:xfrm>
            <a:off x="576026" y="920078"/>
            <a:ext cx="518421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7" name="Text Placeholder 7">
            <a:extLst>
              <a:ext uri="{FF2B5EF4-FFF2-40B4-BE49-F238E27FC236}">
                <a16:creationId xmlns:a16="http://schemas.microsoft.com/office/drawing/2014/main" id="{86400B4C-AEB1-87AA-5DAB-2A21A0877996}"/>
              </a:ext>
            </a:extLst>
          </p:cNvPr>
          <p:cNvSpPr>
            <a:spLocks noGrp="1"/>
          </p:cNvSpPr>
          <p:nvPr>
            <p:ph type="body" sz="quarter" idx="25" hasCustomPrompt="1"/>
          </p:nvPr>
        </p:nvSpPr>
        <p:spPr>
          <a:xfrm>
            <a:off x="576024" y="196506"/>
            <a:ext cx="5184218"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188404695"/>
      </p:ext>
    </p:extLst>
  </p:cSld>
  <p:clrMapOvr>
    <a:masterClrMapping/>
  </p:clrMapOvr>
  <p:transition>
    <p:wip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7 - 4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latin typeface="Avenir Next LT Pro" panose="020B0504020202020204" pitchFamily="34" charset="77"/>
              </a:defRPr>
            </a:lvl1pPr>
          </a:lstStyle>
          <a:p>
            <a:r>
              <a:rPr lang="en-US" dirty="0"/>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576025" y="1407038"/>
            <a:ext cx="5057494" cy="1833050"/>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5886969" y="1407038"/>
            <a:ext cx="5057494" cy="1833050"/>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576025" y="3565596"/>
            <a:ext cx="5057494" cy="1833050"/>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5886969" y="3565596"/>
            <a:ext cx="5057494" cy="1833050"/>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576026" y="920078"/>
            <a:ext cx="10368438" cy="315677"/>
          </a:xfrm>
          <a:prstGeom prst="rect">
            <a:avLst/>
          </a:prstGeom>
        </p:spPr>
        <p:txBody>
          <a:bodyPr lIns="0" tIns="45720" rIns="0" bIns="45720" anchor="t">
            <a:noAutofit/>
          </a:bodyPr>
          <a:lstStyle>
            <a:lvl1pPr marL="0" indent="0">
              <a:spcBef>
                <a:spcPts val="0"/>
              </a:spcBef>
              <a:buNone/>
              <a:defRPr sz="1323" b="0" baseline="0">
                <a:solidFill>
                  <a:schemeClr val="accent6"/>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 (Sentence case (Avenir Next 14pt, pewter)</a:t>
            </a:r>
          </a:p>
        </p:txBody>
      </p:sp>
      <p:sp>
        <p:nvSpPr>
          <p:cNvPr id="11" name="Text Placeholder 7">
            <a:extLst>
              <a:ext uri="{FF2B5EF4-FFF2-40B4-BE49-F238E27FC236}">
                <a16:creationId xmlns:a16="http://schemas.microsoft.com/office/drawing/2014/main" id="{EC8C55DD-243D-8CFE-16D5-9188C0F9A0F3}"/>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
        <p:nvSpPr>
          <p:cNvPr id="3" name="Text Placeholder 12">
            <a:extLst>
              <a:ext uri="{FF2B5EF4-FFF2-40B4-BE49-F238E27FC236}">
                <a16:creationId xmlns:a16="http://schemas.microsoft.com/office/drawing/2014/main" id="{F34C1EA3-6BDA-D6DF-C08D-360E059A7739}"/>
              </a:ext>
            </a:extLst>
          </p:cNvPr>
          <p:cNvSpPr>
            <a:spLocks noGrp="1"/>
          </p:cNvSpPr>
          <p:nvPr>
            <p:ph type="body" sz="quarter" idx="22" hasCustomPrompt="1"/>
          </p:nvPr>
        </p:nvSpPr>
        <p:spPr bwMode="auto">
          <a:xfrm>
            <a:off x="576026" y="5724155"/>
            <a:ext cx="9110780" cy="266925"/>
          </a:xfrm>
          <a:prstGeom prst="rect">
            <a:avLst/>
          </a:prstGeom>
        </p:spPr>
        <p:txBody>
          <a:bodyPr vert="horz" wrap="square" lIns="0" tIns="45720" rIns="91440" bIns="45720" rtlCol="0" anchor="b" anchorCtr="0">
            <a:noAutofit/>
          </a:bodyPr>
          <a:lstStyle>
            <a:lvl1pPr>
              <a:defRPr lang="en-US" sz="756"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dirty="0"/>
              <a:t>Source placeholder; Arial 8pt. Publication Names are Italicized</a:t>
            </a:r>
          </a:p>
        </p:txBody>
      </p:sp>
    </p:spTree>
    <p:extLst>
      <p:ext uri="{BB962C8B-B14F-4D97-AF65-F5344CB8AC3E}">
        <p14:creationId xmlns:p14="http://schemas.microsoft.com/office/powerpoint/2010/main" val="254004583"/>
      </p:ext>
    </p:extLst>
  </p:cSld>
  <p:clrMapOvr>
    <a:masterClrMapping/>
  </p:clrMapOvr>
  <p:transition>
    <p:wip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9 - Disclosures &amp; Disclaimers">
    <p:spTree>
      <p:nvGrpSpPr>
        <p:cNvPr id="1" name=""/>
        <p:cNvGrpSpPr/>
        <p:nvPr/>
      </p:nvGrpSpPr>
      <p:grpSpPr>
        <a:xfrm>
          <a:off x="0" y="0"/>
          <a:ext cx="0" cy="0"/>
          <a:chOff x="0" y="0"/>
          <a:chExt cx="0" cy="0"/>
        </a:xfrm>
      </p:grpSpPr>
      <p:sp>
        <p:nvSpPr>
          <p:cNvPr id="61" name="Content Placeholder 2">
            <a:extLst>
              <a:ext uri="{FF2B5EF4-FFF2-40B4-BE49-F238E27FC236}">
                <a16:creationId xmlns:a16="http://schemas.microsoft.com/office/drawing/2014/main" id="{C993DCDD-CA74-ED4F-9613-249DA38B2030}"/>
              </a:ext>
            </a:extLst>
          </p:cNvPr>
          <p:cNvSpPr>
            <a:spLocks noGrp="1"/>
          </p:cNvSpPr>
          <p:nvPr>
            <p:ph sz="quarter" idx="17"/>
          </p:nvPr>
        </p:nvSpPr>
        <p:spPr>
          <a:xfrm>
            <a:off x="576026" y="1152032"/>
            <a:ext cx="10368438" cy="4484213"/>
          </a:xfrm>
          <a:prstGeom prst="rect">
            <a:avLst/>
          </a:prstGeom>
        </p:spPr>
        <p:txBody>
          <a:bodyPr vert="horz" lIns="0" tIns="45720" rIns="0" bIns="45720" rtlCol="0">
            <a:noAutofit/>
          </a:bodyPr>
          <a:lstStyle>
            <a:lvl1pPr marL="0" indent="0">
              <a:buNone/>
              <a:defRPr lang="en-US" sz="756" dirty="0" smtClean="0">
                <a:solidFill>
                  <a:schemeClr val="tx2"/>
                </a:solidFill>
                <a:latin typeface="Avenir Next LT Pro" panose="020B0504020202020204" pitchFamily="34" charset="77"/>
              </a:defRPr>
            </a:lvl1pPr>
            <a:lvl2pPr marL="160504" indent="0">
              <a:buNone/>
              <a:defRPr lang="en-US" sz="1512" dirty="0" smtClean="0"/>
            </a:lvl2pPr>
            <a:lvl3pPr marL="325506" indent="0">
              <a:buNone/>
              <a:defRPr lang="en-US" sz="1512" dirty="0" smtClean="0"/>
            </a:lvl3pPr>
            <a:lvl4pPr marL="486009" indent="0">
              <a:buNone/>
              <a:defRPr lang="en-US" sz="1512" dirty="0" smtClean="0"/>
            </a:lvl4pPr>
            <a:lvl5pPr marL="651012" indent="0">
              <a:buNone/>
              <a:defRPr lang="en-US" sz="1512" dirty="0"/>
            </a:lvl5pPr>
          </a:lstStyle>
          <a:p>
            <a:pPr lvl="0"/>
            <a:r>
              <a:rPr lang="en-US" dirty="0"/>
              <a:t>Click to edit Master text styles</a:t>
            </a:r>
          </a:p>
        </p:txBody>
      </p:sp>
      <p:sp>
        <p:nvSpPr>
          <p:cNvPr id="4" name="Title 1">
            <a:extLst>
              <a:ext uri="{FF2B5EF4-FFF2-40B4-BE49-F238E27FC236}">
                <a16:creationId xmlns:a16="http://schemas.microsoft.com/office/drawing/2014/main" id="{F9E8E8D9-370E-9344-B435-DCD950ECDA9C}"/>
              </a:ext>
            </a:extLst>
          </p:cNvPr>
          <p:cNvSpPr>
            <a:spLocks noGrp="1"/>
          </p:cNvSpPr>
          <p:nvPr>
            <p:ph type="title" hasCustomPrompt="1"/>
          </p:nvPr>
        </p:nvSpPr>
        <p:spPr>
          <a:xfrm>
            <a:off x="576026" y="432013"/>
            <a:ext cx="10368438" cy="436231"/>
          </a:xfrm>
        </p:spPr>
        <p:txBody>
          <a:bodyPr rIns="0"/>
          <a:lstStyle>
            <a:lvl1pPr>
              <a:defRPr>
                <a:latin typeface="Avenir Next LT Pro" panose="020B0504020202020204" pitchFamily="34" charset="77"/>
              </a:defRPr>
            </a:lvl1pPr>
          </a:lstStyle>
          <a:p>
            <a:r>
              <a:rPr lang="en-US" dirty="0"/>
              <a:t>Disclaimers &amp; Disclosures</a:t>
            </a:r>
          </a:p>
        </p:txBody>
      </p:sp>
      <p:sp>
        <p:nvSpPr>
          <p:cNvPr id="5" name="Text Placeholder 7">
            <a:extLst>
              <a:ext uri="{FF2B5EF4-FFF2-40B4-BE49-F238E27FC236}">
                <a16:creationId xmlns:a16="http://schemas.microsoft.com/office/drawing/2014/main" id="{75753639-42C6-2CB1-EFCC-44A14123B308}"/>
              </a:ext>
            </a:extLst>
          </p:cNvPr>
          <p:cNvSpPr>
            <a:spLocks noGrp="1"/>
          </p:cNvSpPr>
          <p:nvPr>
            <p:ph type="body" sz="quarter" idx="25" hasCustomPrompt="1"/>
          </p:nvPr>
        </p:nvSpPr>
        <p:spPr>
          <a:xfrm>
            <a:off x="576025" y="196506"/>
            <a:ext cx="10368439" cy="235506"/>
          </a:xfrm>
          <a:prstGeom prst="rect">
            <a:avLst/>
          </a:prstGeom>
        </p:spPr>
        <p:txBody>
          <a:bodyPr lIns="0"/>
          <a:lstStyle>
            <a:lvl1pPr marL="0" indent="0">
              <a:buNone/>
              <a:defRPr sz="850" spc="283">
                <a:solidFill>
                  <a:schemeClr val="accent6">
                    <a:lumMod val="60000"/>
                    <a:lumOff val="40000"/>
                  </a:schemeClr>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921035310"/>
      </p:ext>
    </p:extLst>
  </p:cSld>
  <p:clrMapOvr>
    <a:masterClrMapping/>
  </p:clrMapOvr>
  <p:transition>
    <p:wip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Formal_Front Cov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5" y="4068000"/>
            <a:ext cx="10082731" cy="647774"/>
          </a:xfrm>
          <a:prstGeom prst="rect">
            <a:avLst/>
          </a:prstGeom>
        </p:spPr>
        <p:txBody>
          <a:bodyPr lIns="0"/>
          <a:lstStyle>
            <a:lvl1pPr marL="0" indent="0">
              <a:buNone/>
              <a:defRPr sz="1800" b="0" spc="0" baseline="0">
                <a:solidFill>
                  <a:srgbClr val="FF6120"/>
                </a:solidFill>
                <a:latin typeface="Avenir Next LT Pro"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1" y="1734876"/>
            <a:ext cx="576262" cy="1728000"/>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864001" y="1595289"/>
            <a:ext cx="10080225" cy="467291"/>
          </a:xfrm>
          <a:prstGeom prst="rect">
            <a:avLst/>
          </a:prstGeom>
        </p:spPr>
        <p:txBody>
          <a:bodyPr lIns="0" anchor="b" anchorCtr="0"/>
          <a:lstStyle>
            <a:lvl1pPr marL="0" indent="0">
              <a:lnSpc>
                <a:spcPts val="5400"/>
              </a:lnSpc>
              <a:buNone/>
              <a:defRPr sz="2800" b="0" spc="0" baseline="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 Next LT Pro" panose="020B0504020202020204" pitchFamily="34" charset="77"/>
              </a:rPr>
              <a:t>For Use with Financial Professionals Only. Not for Use with the General Public.</a:t>
            </a:r>
            <a:endParaRPr lang="en-GB" i="1" dirty="0">
              <a:latin typeface="Avenir Next LT Pro" panose="020B0504020202020204" pitchFamily="34" charset="77"/>
            </a:endParaRPr>
          </a:p>
        </p:txBody>
      </p:sp>
      <p:pic>
        <p:nvPicPr>
          <p:cNvPr id="5" name="Graphic 4">
            <a:extLst>
              <a:ext uri="{FF2B5EF4-FFF2-40B4-BE49-F238E27FC236}">
                <a16:creationId xmlns:a16="http://schemas.microsoft.com/office/drawing/2014/main" id="{F6E3FBD3-F082-E242-24EB-471C4AA487A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07566" y="5703091"/>
            <a:ext cx="2275604" cy="711126"/>
          </a:xfrm>
          <a:prstGeom prst="rect">
            <a:avLst/>
          </a:prstGeom>
        </p:spPr>
      </p:pic>
      <p:sp>
        <p:nvSpPr>
          <p:cNvPr id="2" name="Title 1">
            <a:extLst>
              <a:ext uri="{FF2B5EF4-FFF2-40B4-BE49-F238E27FC236}">
                <a16:creationId xmlns:a16="http://schemas.microsoft.com/office/drawing/2014/main" id="{50E8B23C-DB15-A03D-29DA-2BF601F399D5}"/>
              </a:ext>
            </a:extLst>
          </p:cNvPr>
          <p:cNvSpPr>
            <a:spLocks noGrp="1"/>
          </p:cNvSpPr>
          <p:nvPr>
            <p:ph type="title"/>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394757065"/>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6" name="Source">
            <a:extLst>
              <a:ext uri="{FF2B5EF4-FFF2-40B4-BE49-F238E27FC236}">
                <a16:creationId xmlns:a16="http://schemas.microsoft.com/office/drawing/2014/main" id="{53152456-ECA5-A368-F4FD-84FA2B739FEF}"/>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9B157674-0817-06DF-ED64-8B78FA157FC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 Next LT Pro"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20854153"/>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 column content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439863"/>
            <a:ext cx="10367963" cy="4105275"/>
          </a:xfrm>
        </p:spPr>
        <p:txBody>
          <a:bodyPr/>
          <a:lstStyle>
            <a:lvl1pPr>
              <a:defRPr b="1">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C44513F2-A2DD-A3B9-3EB6-86B0F970BD65}"/>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6" name="Footer Placeholder 5">
            <a:extLst>
              <a:ext uri="{FF2B5EF4-FFF2-40B4-BE49-F238E27FC236}">
                <a16:creationId xmlns:a16="http://schemas.microsoft.com/office/drawing/2014/main" id="{FE6E0616-D5C8-C137-65B1-3DF9A992118A}"/>
              </a:ext>
            </a:extLst>
          </p:cNvPr>
          <p:cNvSpPr>
            <a:spLocks noGrp="1"/>
          </p:cNvSpPr>
          <p:nvPr>
            <p:ph type="ftr" sz="quarter" idx="32"/>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Title 8">
            <a:extLst>
              <a:ext uri="{FF2B5EF4-FFF2-40B4-BE49-F238E27FC236}">
                <a16:creationId xmlns:a16="http://schemas.microsoft.com/office/drawing/2014/main" id="{CA667AF3-7EB0-AA88-B77E-BA2D8D4EACC3}"/>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10" name="Source">
            <a:extLst>
              <a:ext uri="{FF2B5EF4-FFF2-40B4-BE49-F238E27FC236}">
                <a16:creationId xmlns:a16="http://schemas.microsoft.com/office/drawing/2014/main" id="{18F2E578-2014-9FA8-A0B4-F396653DD1B7}"/>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7" name="Text Placeholder 7">
            <a:extLst>
              <a:ext uri="{FF2B5EF4-FFF2-40B4-BE49-F238E27FC236}">
                <a16:creationId xmlns:a16="http://schemas.microsoft.com/office/drawing/2014/main" id="{42AC3B83-CA50-14EC-F8DA-0EDF85A2D0C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2" name="Picture 1">
            <a:extLst>
              <a:ext uri="{FF2B5EF4-FFF2-40B4-BE49-F238E27FC236}">
                <a16:creationId xmlns:a16="http://schemas.microsoft.com/office/drawing/2014/main" id="{DB943FD3-84FF-FAF4-3195-C82474D8A4C2}"/>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1464891733"/>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09CDD2AA-E935-BE94-7484-E03847B7CB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41C34B1-59CD-BBE6-191B-46D69AC3EE5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6" name="Footer Placeholder 5">
            <a:extLst>
              <a:ext uri="{FF2B5EF4-FFF2-40B4-BE49-F238E27FC236}">
                <a16:creationId xmlns:a16="http://schemas.microsoft.com/office/drawing/2014/main" id="{599AEC11-F962-0369-AFEC-27235DF35ADF}"/>
              </a:ext>
            </a:extLst>
          </p:cNvPr>
          <p:cNvSpPr>
            <a:spLocks noGrp="1"/>
          </p:cNvSpPr>
          <p:nvPr>
            <p:ph type="ftr" sz="quarter" idx="32"/>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659148590"/>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3"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2"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012266F4-3B4C-A1D0-8A29-D8C1DC0EDCF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C2D93817-D07A-8DC2-6A0D-F32FD2D0961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D7D9871E-B8C9-D377-C244-8B08581565FF}"/>
              </a:ext>
            </a:extLst>
          </p:cNvPr>
          <p:cNvSpPr>
            <a:spLocks noGrp="1"/>
          </p:cNvSpPr>
          <p:nvPr>
            <p:ph type="ftr" sz="quarter" idx="1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522573917"/>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bg>
      <p:bgPr>
        <a:solidFill>
          <a:srgbClr val="00243D"/>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1152000" y="3852000"/>
            <a:ext cx="973800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1152000" y="2340000"/>
            <a:ext cx="9738225" cy="1476000"/>
          </a:xfrm>
        </p:spPr>
        <p:txBody>
          <a:bodyPr anchor="b" anchorCtr="0"/>
          <a:lstStyle>
            <a:lvl1pPr>
              <a:lnSpc>
                <a:spcPct val="80000"/>
              </a:lnSpc>
              <a:defRPr sz="5100" cap="all" baseline="0">
                <a:solidFill>
                  <a:schemeClr val="bg1"/>
                </a:solidFill>
              </a:defRPr>
            </a:lvl1pPr>
          </a:lstStyle>
          <a:p>
            <a:r>
              <a:rPr lang="en-GB" dirty="0"/>
              <a:t>LARGE TITLE</a:t>
            </a:r>
            <a:br>
              <a:rPr lang="en-GB" dirty="0"/>
            </a:br>
            <a:r>
              <a:rPr lang="en-GB" dirty="0"/>
              <a:t>1, 2 or 3 LINES CAPS </a:t>
            </a:r>
          </a:p>
        </p:txBody>
      </p:sp>
      <p:sp>
        <p:nvSpPr>
          <p:cNvPr id="8" name="Rectangle 7">
            <a:extLst>
              <a:ext uri="{FF2B5EF4-FFF2-40B4-BE49-F238E27FC236}">
                <a16:creationId xmlns:a16="http://schemas.microsoft.com/office/drawing/2014/main" id="{75FAF943-1EF1-FF46-9436-0EE7CD212655}"/>
              </a:ext>
            </a:extLst>
          </p:cNvPr>
          <p:cNvSpPr/>
          <p:nvPr userDrawn="1"/>
        </p:nvSpPr>
        <p:spPr>
          <a:xfrm>
            <a:off x="287338" y="0"/>
            <a:ext cx="576262" cy="6480175"/>
          </a:xfrm>
          <a:prstGeom prst="rect">
            <a:avLst/>
          </a:prstGeom>
          <a:pattFill prst="wdUpDiag">
            <a:fgClr>
              <a:srgbClr val="006888"/>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607" b="1" dirty="0"/>
          </a:p>
        </p:txBody>
      </p:sp>
      <p:sp>
        <p:nvSpPr>
          <p:cNvPr id="3" name="Source">
            <a:extLst>
              <a:ext uri="{FF2B5EF4-FFF2-40B4-BE49-F238E27FC236}">
                <a16:creationId xmlns:a16="http://schemas.microsoft.com/office/drawing/2014/main" id="{DB8F11A7-0DA7-8FF2-B109-EEBC267DA19A}"/>
              </a:ext>
            </a:extLst>
          </p:cNvPr>
          <p:cNvSpPr>
            <a:spLocks noGrp="1"/>
          </p:cNvSpPr>
          <p:nvPr>
            <p:ph sz="quarter" idx="12" hasCustomPrompt="1"/>
          </p:nvPr>
        </p:nvSpPr>
        <p:spPr>
          <a:xfrm>
            <a:off x="1152525" y="5545138"/>
            <a:ext cx="8549825"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5" name="Picture Placeholder 4">
            <a:extLst>
              <a:ext uri="{FF2B5EF4-FFF2-40B4-BE49-F238E27FC236}">
                <a16:creationId xmlns:a16="http://schemas.microsoft.com/office/drawing/2014/main" id="{8D7B3B42-C0D1-259D-0196-BBB8BBCCE7DF}"/>
              </a:ext>
            </a:extLst>
          </p:cNvPr>
          <p:cNvSpPr>
            <a:spLocks noGrp="1"/>
          </p:cNvSpPr>
          <p:nvPr>
            <p:ph type="pic" sz="quarter" idx="15" hasCustomPrompt="1"/>
          </p:nvPr>
        </p:nvSpPr>
        <p:spPr>
          <a:xfrm>
            <a:off x="9912350" y="5002213"/>
            <a:ext cx="1320800" cy="542925"/>
          </a:xfrm>
        </p:spPr>
        <p:txBody>
          <a:bodyPr anchor="ctr" anchorCtr="0"/>
          <a:lstStyle>
            <a:lvl1pPr algn="ctr">
              <a:defRPr b="0" cap="all" baseline="0">
                <a:solidFill>
                  <a:schemeClr val="bg1"/>
                </a:solidFill>
              </a:defRPr>
            </a:lvl1pPr>
          </a:lstStyle>
          <a:p>
            <a:r>
              <a:rPr lang="en-GB" dirty="0"/>
              <a:t>Partner logo if required</a:t>
            </a:r>
          </a:p>
        </p:txBody>
      </p:sp>
      <p:sp>
        <p:nvSpPr>
          <p:cNvPr id="4" name="TextBox 3">
            <a:extLst>
              <a:ext uri="{FF2B5EF4-FFF2-40B4-BE49-F238E27FC236}">
                <a16:creationId xmlns:a16="http://schemas.microsoft.com/office/drawing/2014/main" id="{1E9D2642-9AF8-E9FA-A78B-9D7A675F1DC8}"/>
              </a:ext>
            </a:extLst>
          </p:cNvPr>
          <p:cNvSpPr txBox="1"/>
          <p:nvPr userDrawn="1"/>
        </p:nvSpPr>
        <p:spPr>
          <a:xfrm>
            <a:off x="1152525" y="6120000"/>
            <a:ext cx="3888000" cy="169200"/>
          </a:xfrm>
          <a:prstGeom prst="rect">
            <a:avLst/>
          </a:prstGeom>
          <a:noFill/>
        </p:spPr>
        <p:txBody>
          <a:bodyPr wrap="square" lIns="0" tIns="0" rIns="0" bIns="0" rtlCol="0" anchor="b" anchorCtr="0">
            <a:noAutofit/>
          </a:bodyPr>
          <a:lstStyle/>
          <a:p>
            <a:pPr marL="0" algn="l">
              <a:spcAft>
                <a:spcPts val="1200"/>
              </a:spcAft>
            </a:pPr>
            <a:r>
              <a:rPr lang="en-GB" sz="800" i="0" dirty="0">
                <a:solidFill>
                  <a:schemeClr val="bg2"/>
                </a:solidFill>
                <a:latin typeface="Arial" panose="020B0604020202020204" pitchFamily="34" charset="0"/>
                <a:cs typeface="Arial" panose="020B0604020202020204" pitchFamily="34" charset="0"/>
              </a:rPr>
              <a:t>Information Classification: PUBLIC</a:t>
            </a:r>
          </a:p>
        </p:txBody>
      </p:sp>
      <p:pic>
        <p:nvPicPr>
          <p:cNvPr id="9" name="Picture 8">
            <a:extLst>
              <a:ext uri="{FF2B5EF4-FFF2-40B4-BE49-F238E27FC236}">
                <a16:creationId xmlns:a16="http://schemas.microsoft.com/office/drawing/2014/main" id="{9E913427-483A-52EC-A5E6-E0B51F3C59CB}"/>
              </a:ext>
            </a:extLst>
          </p:cNvPr>
          <p:cNvPicPr>
            <a:picLocks noChangeAspect="1"/>
          </p:cNvPicPr>
          <p:nvPr userDrawn="1"/>
        </p:nvPicPr>
        <p:blipFill>
          <a:blip r:embed="rId2"/>
          <a:stretch>
            <a:fillRect/>
          </a:stretch>
        </p:blipFill>
        <p:spPr>
          <a:xfrm>
            <a:off x="8626214" y="6054762"/>
            <a:ext cx="2606936" cy="209513"/>
          </a:xfrm>
          <a:prstGeom prst="rect">
            <a:avLst/>
          </a:prstGeom>
        </p:spPr>
      </p:pic>
    </p:spTree>
    <p:extLst>
      <p:ext uri="{BB962C8B-B14F-4D97-AF65-F5344CB8AC3E}">
        <p14:creationId xmlns:p14="http://schemas.microsoft.com/office/powerpoint/2010/main" val="1944746352"/>
      </p:ext>
    </p:extLst>
  </p:cSld>
  <p:clrMapOvr>
    <a:masterClrMapping/>
  </p:clrMapOvr>
  <p:extLst>
    <p:ext uri="{DCECCB84-F9BA-43D5-87BE-67443E8EF086}">
      <p15:sldGuideLst xmlns:p15="http://schemas.microsoft.com/office/powerpoint/2012/main">
        <p15:guide id="1" pos="544">
          <p15:clr>
            <a:srgbClr val="FBAE40"/>
          </p15:clr>
        </p15:guide>
        <p15:guide id="2" pos="72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03_Formal_Front Cover with vertical image">
    <p:bg>
      <p:bgPr>
        <a:solidFill>
          <a:srgbClr val="00243D"/>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73665A-772F-5504-CD26-D905BA5A2CB5}"/>
              </a:ext>
            </a:extLst>
          </p:cNvPr>
          <p:cNvSpPr>
            <a:spLocks noGrp="1"/>
          </p:cNvSpPr>
          <p:nvPr>
            <p:ph type="pic" sz="quarter" idx="14"/>
          </p:nvPr>
        </p:nvSpPr>
        <p:spPr>
          <a:xfrm>
            <a:off x="8459788" y="0"/>
            <a:ext cx="3060700" cy="6480175"/>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8" name="Rectangle 7">
            <a:extLst>
              <a:ext uri="{FF2B5EF4-FFF2-40B4-BE49-F238E27FC236}">
                <a16:creationId xmlns:a16="http://schemas.microsoft.com/office/drawing/2014/main" id="{B2309E0E-C72B-5B6D-49C5-71A8DDE8EA81}"/>
              </a:ext>
            </a:extLst>
          </p:cNvPr>
          <p:cNvSpPr/>
          <p:nvPr userDrawn="1"/>
        </p:nvSpPr>
        <p:spPr>
          <a:xfrm>
            <a:off x="287338" y="0"/>
            <a:ext cx="576262" cy="6480175"/>
          </a:xfrm>
          <a:prstGeom prst="rect">
            <a:avLst/>
          </a:prstGeom>
          <a:pattFill prst="wdUpDiag">
            <a:fgClr>
              <a:srgbClr val="006888"/>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607" b="1" dirty="0"/>
          </a:p>
        </p:txBody>
      </p:sp>
      <p:sp>
        <p:nvSpPr>
          <p:cNvPr id="10" name="Text Placeholder 6">
            <a:extLst>
              <a:ext uri="{FF2B5EF4-FFF2-40B4-BE49-F238E27FC236}">
                <a16:creationId xmlns:a16="http://schemas.microsoft.com/office/drawing/2014/main" id="{78884613-8182-9A6A-B24F-D4D7115A0CC1}"/>
              </a:ext>
            </a:extLst>
          </p:cNvPr>
          <p:cNvSpPr>
            <a:spLocks noGrp="1"/>
          </p:cNvSpPr>
          <p:nvPr>
            <p:ph type="body" sz="quarter" idx="11" hasCustomPrompt="1"/>
          </p:nvPr>
        </p:nvSpPr>
        <p:spPr>
          <a:xfrm>
            <a:off x="1152000" y="3852000"/>
            <a:ext cx="973800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2" name="Title 1">
            <a:extLst>
              <a:ext uri="{FF2B5EF4-FFF2-40B4-BE49-F238E27FC236}">
                <a16:creationId xmlns:a16="http://schemas.microsoft.com/office/drawing/2014/main" id="{6E073082-DA63-D8D9-319F-A8B3F450C852}"/>
              </a:ext>
            </a:extLst>
          </p:cNvPr>
          <p:cNvSpPr>
            <a:spLocks noGrp="1"/>
          </p:cNvSpPr>
          <p:nvPr>
            <p:ph type="title" hasCustomPrompt="1"/>
          </p:nvPr>
        </p:nvSpPr>
        <p:spPr>
          <a:xfrm>
            <a:off x="1152000" y="2340000"/>
            <a:ext cx="9738225" cy="1476000"/>
          </a:xfrm>
        </p:spPr>
        <p:txBody>
          <a:bodyPr anchor="b" anchorCtr="0"/>
          <a:lstStyle>
            <a:lvl1pPr>
              <a:lnSpc>
                <a:spcPct val="80000"/>
              </a:lnSpc>
              <a:defRPr sz="5100" cap="all" baseline="0">
                <a:solidFill>
                  <a:schemeClr val="bg1"/>
                </a:solidFill>
              </a:defRPr>
            </a:lvl1pPr>
          </a:lstStyle>
          <a:p>
            <a:r>
              <a:rPr lang="en-GB" dirty="0"/>
              <a:t>LARGE TITLE</a:t>
            </a:r>
            <a:br>
              <a:rPr lang="en-GB" dirty="0"/>
            </a:br>
            <a:r>
              <a:rPr lang="en-GB" dirty="0"/>
              <a:t>1, 2 or 3 LINES CAPS </a:t>
            </a:r>
          </a:p>
        </p:txBody>
      </p:sp>
      <p:sp>
        <p:nvSpPr>
          <p:cNvPr id="3" name="Source">
            <a:extLst>
              <a:ext uri="{FF2B5EF4-FFF2-40B4-BE49-F238E27FC236}">
                <a16:creationId xmlns:a16="http://schemas.microsoft.com/office/drawing/2014/main" id="{DFB177E0-E34D-B45F-3539-FA9E3CBAC532}"/>
              </a:ext>
            </a:extLst>
          </p:cNvPr>
          <p:cNvSpPr>
            <a:spLocks noGrp="1"/>
          </p:cNvSpPr>
          <p:nvPr>
            <p:ph sz="quarter" idx="12" hasCustomPrompt="1"/>
          </p:nvPr>
        </p:nvSpPr>
        <p:spPr>
          <a:xfrm>
            <a:off x="1152526" y="5545138"/>
            <a:ext cx="5450576"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4" name="Picture Placeholder 4">
            <a:extLst>
              <a:ext uri="{FF2B5EF4-FFF2-40B4-BE49-F238E27FC236}">
                <a16:creationId xmlns:a16="http://schemas.microsoft.com/office/drawing/2014/main" id="{768E0E52-86B5-F3C3-1B65-5032354F0BC6}"/>
              </a:ext>
            </a:extLst>
          </p:cNvPr>
          <p:cNvSpPr>
            <a:spLocks noGrp="1"/>
          </p:cNvSpPr>
          <p:nvPr>
            <p:ph type="pic" sz="quarter" idx="15" hasCustomPrompt="1"/>
          </p:nvPr>
        </p:nvSpPr>
        <p:spPr>
          <a:xfrm>
            <a:off x="6851650" y="5002213"/>
            <a:ext cx="1320800" cy="542925"/>
          </a:xfrm>
        </p:spPr>
        <p:txBody>
          <a:bodyPr anchor="ctr" anchorCtr="0"/>
          <a:lstStyle>
            <a:lvl1pPr algn="ctr">
              <a:defRPr b="0" cap="all" baseline="0">
                <a:solidFill>
                  <a:schemeClr val="bg1"/>
                </a:solidFill>
              </a:defRPr>
            </a:lvl1pPr>
          </a:lstStyle>
          <a:p>
            <a:r>
              <a:rPr lang="en-GB" dirty="0"/>
              <a:t>Partner logo if required</a:t>
            </a:r>
          </a:p>
        </p:txBody>
      </p:sp>
      <p:sp>
        <p:nvSpPr>
          <p:cNvPr id="5" name="TextBox 4">
            <a:extLst>
              <a:ext uri="{FF2B5EF4-FFF2-40B4-BE49-F238E27FC236}">
                <a16:creationId xmlns:a16="http://schemas.microsoft.com/office/drawing/2014/main" id="{0267C17C-95B6-CE54-BDB8-74CF0EF70DAC}"/>
              </a:ext>
            </a:extLst>
          </p:cNvPr>
          <p:cNvSpPr txBox="1"/>
          <p:nvPr userDrawn="1"/>
        </p:nvSpPr>
        <p:spPr>
          <a:xfrm>
            <a:off x="1152525" y="6120000"/>
            <a:ext cx="3888000" cy="169200"/>
          </a:xfrm>
          <a:prstGeom prst="rect">
            <a:avLst/>
          </a:prstGeom>
          <a:noFill/>
        </p:spPr>
        <p:txBody>
          <a:bodyPr wrap="square" lIns="0" tIns="0" rIns="0" bIns="0" rtlCol="0" anchor="b" anchorCtr="0">
            <a:noAutofit/>
          </a:bodyPr>
          <a:lstStyle/>
          <a:p>
            <a:pPr marL="0" algn="l">
              <a:spcAft>
                <a:spcPts val="1200"/>
              </a:spcAft>
            </a:pPr>
            <a:r>
              <a:rPr lang="en-GB" sz="800" i="0" dirty="0">
                <a:solidFill>
                  <a:schemeClr val="bg2"/>
                </a:solidFill>
                <a:latin typeface="Arial" panose="020B0604020202020204" pitchFamily="34" charset="0"/>
                <a:cs typeface="Arial" panose="020B0604020202020204" pitchFamily="34" charset="0"/>
              </a:rPr>
              <a:t>Information Classification: PUBLIC</a:t>
            </a:r>
          </a:p>
        </p:txBody>
      </p:sp>
      <p:pic>
        <p:nvPicPr>
          <p:cNvPr id="7" name="Picture 6">
            <a:extLst>
              <a:ext uri="{FF2B5EF4-FFF2-40B4-BE49-F238E27FC236}">
                <a16:creationId xmlns:a16="http://schemas.microsoft.com/office/drawing/2014/main" id="{49B87946-099A-18EB-08DA-CEE7DF74E8B1}"/>
              </a:ext>
            </a:extLst>
          </p:cNvPr>
          <p:cNvPicPr>
            <a:picLocks noChangeAspect="1"/>
          </p:cNvPicPr>
          <p:nvPr userDrawn="1"/>
        </p:nvPicPr>
        <p:blipFill>
          <a:blip r:embed="rId2"/>
          <a:stretch>
            <a:fillRect/>
          </a:stretch>
        </p:blipFill>
        <p:spPr>
          <a:xfrm>
            <a:off x="5565514" y="6054762"/>
            <a:ext cx="2606936" cy="209513"/>
          </a:xfrm>
          <a:prstGeom prst="rect">
            <a:avLst/>
          </a:prstGeom>
        </p:spPr>
      </p:pic>
    </p:spTree>
    <p:extLst>
      <p:ext uri="{BB962C8B-B14F-4D97-AF65-F5344CB8AC3E}">
        <p14:creationId xmlns:p14="http://schemas.microsoft.com/office/powerpoint/2010/main" val="2012178500"/>
      </p:ext>
    </p:extLst>
  </p:cSld>
  <p:clrMapOvr>
    <a:masterClrMapping/>
  </p:clrMapOvr>
  <p:extLst>
    <p:ext uri="{DCECCB84-F9BA-43D5-87BE-67443E8EF086}">
      <p15:sldGuideLst xmlns:p15="http://schemas.microsoft.com/office/powerpoint/2012/main">
        <p15:guide id="1" pos="544">
          <p15:clr>
            <a:srgbClr val="FBAE40"/>
          </p15:clr>
        </p15:guide>
        <p15:guide id="2" pos="5329">
          <p15:clr>
            <a:srgbClr val="FBAE40"/>
          </p15:clr>
        </p15:guide>
        <p15:guide id="3" pos="5148">
          <p15:clr>
            <a:srgbClr val="FBAE40"/>
          </p15:clr>
        </p15:guide>
        <p15:guide id="4" pos="72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ic Top">
    <p:bg>
      <p:bgPr>
        <a:solidFill>
          <a:srgbClr val="00243D"/>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07AF7596-4071-41CE-4D97-A4F058CD29ED}"/>
              </a:ext>
            </a:extLst>
          </p:cNvPr>
          <p:cNvSpPr>
            <a:spLocks noGrp="1"/>
          </p:cNvSpPr>
          <p:nvPr>
            <p:ph type="pic" sz="quarter" idx="14"/>
          </p:nvPr>
        </p:nvSpPr>
        <p:spPr>
          <a:xfrm>
            <a:off x="0" y="0"/>
            <a:ext cx="11520488" cy="2160000"/>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15" name="Text Placeholder 6">
            <a:extLst>
              <a:ext uri="{FF2B5EF4-FFF2-40B4-BE49-F238E27FC236}">
                <a16:creationId xmlns:a16="http://schemas.microsoft.com/office/drawing/2014/main" id="{C96AF732-FF2F-A75C-2892-09539C79B9A1}"/>
              </a:ext>
            </a:extLst>
          </p:cNvPr>
          <p:cNvSpPr>
            <a:spLocks noGrp="1"/>
          </p:cNvSpPr>
          <p:nvPr>
            <p:ph type="body" sz="quarter" idx="11" hasCustomPrompt="1"/>
          </p:nvPr>
        </p:nvSpPr>
        <p:spPr>
          <a:xfrm>
            <a:off x="1152000" y="4572000"/>
            <a:ext cx="973800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6" name="Title 1">
            <a:extLst>
              <a:ext uri="{FF2B5EF4-FFF2-40B4-BE49-F238E27FC236}">
                <a16:creationId xmlns:a16="http://schemas.microsoft.com/office/drawing/2014/main" id="{48AFE725-6EBF-F4EB-93CB-02BD52E7BAD2}"/>
              </a:ext>
            </a:extLst>
          </p:cNvPr>
          <p:cNvSpPr>
            <a:spLocks noGrp="1"/>
          </p:cNvSpPr>
          <p:nvPr>
            <p:ph type="title" hasCustomPrompt="1"/>
          </p:nvPr>
        </p:nvSpPr>
        <p:spPr>
          <a:xfrm>
            <a:off x="1152000" y="3060000"/>
            <a:ext cx="9738225" cy="1476000"/>
          </a:xfrm>
        </p:spPr>
        <p:txBody>
          <a:bodyPr anchor="b" anchorCtr="0"/>
          <a:lstStyle>
            <a:lvl1pPr>
              <a:lnSpc>
                <a:spcPct val="80000"/>
              </a:lnSpc>
              <a:defRPr sz="5100" cap="all" baseline="0">
                <a:solidFill>
                  <a:schemeClr val="bg1"/>
                </a:solidFill>
              </a:defRPr>
            </a:lvl1pPr>
          </a:lstStyle>
          <a:p>
            <a:r>
              <a:rPr lang="en-GB" dirty="0"/>
              <a:t>LARGE TITLE</a:t>
            </a:r>
            <a:br>
              <a:rPr lang="en-GB" dirty="0"/>
            </a:br>
            <a:r>
              <a:rPr lang="en-GB" dirty="0"/>
              <a:t>1, 2 or 3 LINES CAPS </a:t>
            </a:r>
          </a:p>
        </p:txBody>
      </p:sp>
      <p:sp>
        <p:nvSpPr>
          <p:cNvPr id="8" name="Rectangle 7">
            <a:extLst>
              <a:ext uri="{FF2B5EF4-FFF2-40B4-BE49-F238E27FC236}">
                <a16:creationId xmlns:a16="http://schemas.microsoft.com/office/drawing/2014/main" id="{A75FB14A-08E6-8C11-3F55-4F6BC09FDD0B}"/>
              </a:ext>
            </a:extLst>
          </p:cNvPr>
          <p:cNvSpPr/>
          <p:nvPr userDrawn="1"/>
        </p:nvSpPr>
        <p:spPr>
          <a:xfrm>
            <a:off x="287338" y="0"/>
            <a:ext cx="576262" cy="6480175"/>
          </a:xfrm>
          <a:prstGeom prst="rect">
            <a:avLst/>
          </a:prstGeom>
          <a:pattFill prst="wdUpDiag">
            <a:fgClr>
              <a:srgbClr val="006888"/>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607" b="1" dirty="0"/>
          </a:p>
        </p:txBody>
      </p:sp>
      <p:sp>
        <p:nvSpPr>
          <p:cNvPr id="3" name="Source">
            <a:extLst>
              <a:ext uri="{FF2B5EF4-FFF2-40B4-BE49-F238E27FC236}">
                <a16:creationId xmlns:a16="http://schemas.microsoft.com/office/drawing/2014/main" id="{A10BD65D-A7CE-0662-3C8B-1ACF58B97B1B}"/>
              </a:ext>
            </a:extLst>
          </p:cNvPr>
          <p:cNvSpPr>
            <a:spLocks noGrp="1"/>
          </p:cNvSpPr>
          <p:nvPr>
            <p:ph sz="quarter" idx="12" hasCustomPrompt="1"/>
          </p:nvPr>
        </p:nvSpPr>
        <p:spPr>
          <a:xfrm>
            <a:off x="1152525" y="5545138"/>
            <a:ext cx="8549825"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5" name="Picture Placeholder 4">
            <a:extLst>
              <a:ext uri="{FF2B5EF4-FFF2-40B4-BE49-F238E27FC236}">
                <a16:creationId xmlns:a16="http://schemas.microsoft.com/office/drawing/2014/main" id="{FF0075E1-D47F-B558-257D-40E9F133C05D}"/>
              </a:ext>
            </a:extLst>
          </p:cNvPr>
          <p:cNvSpPr>
            <a:spLocks noGrp="1"/>
          </p:cNvSpPr>
          <p:nvPr>
            <p:ph type="pic" sz="quarter" idx="15" hasCustomPrompt="1"/>
          </p:nvPr>
        </p:nvSpPr>
        <p:spPr>
          <a:xfrm>
            <a:off x="9912350" y="5002213"/>
            <a:ext cx="1320800" cy="542925"/>
          </a:xfrm>
        </p:spPr>
        <p:txBody>
          <a:bodyPr anchor="ctr" anchorCtr="0"/>
          <a:lstStyle>
            <a:lvl1pPr algn="ctr">
              <a:defRPr b="0" cap="all" baseline="0">
                <a:solidFill>
                  <a:schemeClr val="bg1"/>
                </a:solidFill>
              </a:defRPr>
            </a:lvl1pPr>
          </a:lstStyle>
          <a:p>
            <a:r>
              <a:rPr lang="en-GB" dirty="0"/>
              <a:t>Partner logo if required</a:t>
            </a:r>
          </a:p>
        </p:txBody>
      </p:sp>
      <p:sp>
        <p:nvSpPr>
          <p:cNvPr id="4" name="TextBox 3">
            <a:extLst>
              <a:ext uri="{FF2B5EF4-FFF2-40B4-BE49-F238E27FC236}">
                <a16:creationId xmlns:a16="http://schemas.microsoft.com/office/drawing/2014/main" id="{E16BF279-EF27-421E-3F60-9B85999DCFB5}"/>
              </a:ext>
            </a:extLst>
          </p:cNvPr>
          <p:cNvSpPr txBox="1"/>
          <p:nvPr userDrawn="1"/>
        </p:nvSpPr>
        <p:spPr>
          <a:xfrm>
            <a:off x="1152525" y="6120000"/>
            <a:ext cx="3888000" cy="169200"/>
          </a:xfrm>
          <a:prstGeom prst="rect">
            <a:avLst/>
          </a:prstGeom>
          <a:noFill/>
        </p:spPr>
        <p:txBody>
          <a:bodyPr wrap="square" lIns="0" tIns="0" rIns="0" bIns="0" rtlCol="0" anchor="b" anchorCtr="0">
            <a:noAutofit/>
          </a:bodyPr>
          <a:lstStyle/>
          <a:p>
            <a:pPr marL="0" algn="l">
              <a:spcAft>
                <a:spcPts val="1200"/>
              </a:spcAft>
            </a:pPr>
            <a:r>
              <a:rPr lang="en-GB" sz="800" i="0" dirty="0">
                <a:solidFill>
                  <a:schemeClr val="bg2"/>
                </a:solidFill>
                <a:latin typeface="Arial" panose="020B0604020202020204" pitchFamily="34" charset="0"/>
                <a:cs typeface="Arial" panose="020B0604020202020204" pitchFamily="34" charset="0"/>
              </a:rPr>
              <a:t>Information Classification: PUBLIC</a:t>
            </a:r>
          </a:p>
        </p:txBody>
      </p:sp>
      <p:pic>
        <p:nvPicPr>
          <p:cNvPr id="7" name="Picture 6">
            <a:extLst>
              <a:ext uri="{FF2B5EF4-FFF2-40B4-BE49-F238E27FC236}">
                <a16:creationId xmlns:a16="http://schemas.microsoft.com/office/drawing/2014/main" id="{29BCA094-FAEF-20BA-E23F-6C2B10FB79E7}"/>
              </a:ext>
            </a:extLst>
          </p:cNvPr>
          <p:cNvPicPr>
            <a:picLocks noChangeAspect="1"/>
          </p:cNvPicPr>
          <p:nvPr userDrawn="1"/>
        </p:nvPicPr>
        <p:blipFill>
          <a:blip r:embed="rId2"/>
          <a:stretch>
            <a:fillRect/>
          </a:stretch>
        </p:blipFill>
        <p:spPr>
          <a:xfrm>
            <a:off x="8626214" y="6054762"/>
            <a:ext cx="2606936" cy="209513"/>
          </a:xfrm>
          <a:prstGeom prst="rect">
            <a:avLst/>
          </a:prstGeom>
        </p:spPr>
      </p:pic>
    </p:spTree>
    <p:extLst>
      <p:ext uri="{BB962C8B-B14F-4D97-AF65-F5344CB8AC3E}">
        <p14:creationId xmlns:p14="http://schemas.microsoft.com/office/powerpoint/2010/main" val="1955800195"/>
      </p:ext>
    </p:extLst>
  </p:cSld>
  <p:clrMapOvr>
    <a:masterClrMapping/>
  </p:clrMapOvr>
  <p:extLst>
    <p:ext uri="{DCECCB84-F9BA-43D5-87BE-67443E8EF086}">
      <p15:sldGuideLst xmlns:p15="http://schemas.microsoft.com/office/powerpoint/2012/main">
        <p15:guide id="1" pos="544">
          <p15:clr>
            <a:srgbClr val="FBAE40"/>
          </p15:clr>
        </p15:guide>
        <p15:guide id="2" orient="horz" pos="1587">
          <p15:clr>
            <a:srgbClr val="FBAE40"/>
          </p15:clr>
        </p15:guide>
        <p15:guide id="3" pos="72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number">
    <p:bg>
      <p:bgPr>
        <a:solidFill>
          <a:srgbClr val="00243D"/>
        </a:solidFill>
        <a:effectLst/>
      </p:bgPr>
    </p:bg>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7291815" y="2228351"/>
            <a:ext cx="4083169" cy="3456093"/>
          </a:xfrm>
          <a:prstGeom prst="rect">
            <a:avLst/>
          </a:prstGeom>
          <a:ln>
            <a:noFill/>
          </a:ln>
        </p:spPr>
        <p:txBody>
          <a:bodyPr/>
          <a:lstStyle>
            <a:lvl1pPr marL="0" indent="0" algn="r">
              <a:buNone/>
              <a:defRPr sz="28600" b="0">
                <a:ln w="25400">
                  <a:solidFill>
                    <a:srgbClr val="ACE2E5"/>
                  </a:solidFill>
                </a:ln>
                <a:no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1</a:t>
            </a: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 name="Text Placeholder 6">
            <a:extLst>
              <a:ext uri="{FF2B5EF4-FFF2-40B4-BE49-F238E27FC236}">
                <a16:creationId xmlns:a16="http://schemas.microsoft.com/office/drawing/2014/main" id="{CF066476-9606-01FA-E8FE-015CD5447E96}"/>
              </a:ext>
            </a:extLst>
          </p:cNvPr>
          <p:cNvSpPr>
            <a:spLocks noGrp="1"/>
          </p:cNvSpPr>
          <p:nvPr>
            <p:ph type="body" sz="quarter" idx="11" hasCustomPrompt="1"/>
          </p:nvPr>
        </p:nvSpPr>
        <p:spPr>
          <a:xfrm>
            <a:off x="576263" y="3852000"/>
            <a:ext cx="681498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3" name="Title 1">
            <a:extLst>
              <a:ext uri="{FF2B5EF4-FFF2-40B4-BE49-F238E27FC236}">
                <a16:creationId xmlns:a16="http://schemas.microsoft.com/office/drawing/2014/main" id="{179E2CB6-26C8-D4C4-7601-B4659E11549E}"/>
              </a:ext>
            </a:extLst>
          </p:cNvPr>
          <p:cNvSpPr>
            <a:spLocks noGrp="1"/>
          </p:cNvSpPr>
          <p:nvPr>
            <p:ph type="title" hasCustomPrompt="1"/>
          </p:nvPr>
        </p:nvSpPr>
        <p:spPr>
          <a:xfrm>
            <a:off x="576263" y="2340000"/>
            <a:ext cx="6815137" cy="1476000"/>
          </a:xfrm>
        </p:spPr>
        <p:txBody>
          <a:bodyPr anchor="b" anchorCtr="0"/>
          <a:lstStyle>
            <a:lvl1pPr>
              <a:lnSpc>
                <a:spcPct val="80000"/>
              </a:lnSpc>
              <a:defRPr sz="5100" cap="all" baseline="0">
                <a:solidFill>
                  <a:schemeClr val="bg1"/>
                </a:solidFill>
              </a:defRPr>
            </a:lvl1pPr>
          </a:lstStyle>
          <a:p>
            <a:r>
              <a:rPr lang="en-GB" dirty="0"/>
              <a:t>LARGE TITLE</a:t>
            </a:r>
            <a:br>
              <a:rPr lang="en-GB" dirty="0"/>
            </a:br>
            <a:r>
              <a:rPr lang="en-GB" dirty="0"/>
              <a:t>1, 2 or 3 LINES CAPS </a:t>
            </a:r>
          </a:p>
        </p:txBody>
      </p:sp>
      <p:sp>
        <p:nvSpPr>
          <p:cNvPr id="4" name="Source">
            <a:extLst>
              <a:ext uri="{FF2B5EF4-FFF2-40B4-BE49-F238E27FC236}">
                <a16:creationId xmlns:a16="http://schemas.microsoft.com/office/drawing/2014/main" id="{508B0B9F-00E0-756F-E67D-C6AEF6F9ADA5}"/>
              </a:ext>
            </a:extLst>
          </p:cNvPr>
          <p:cNvSpPr>
            <a:spLocks noGrp="1"/>
          </p:cNvSpPr>
          <p:nvPr>
            <p:ph sz="quarter" idx="15" hasCustomPrompt="1"/>
          </p:nvPr>
        </p:nvSpPr>
        <p:spPr>
          <a:xfrm>
            <a:off x="576264" y="5545138"/>
            <a:ext cx="6925054"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8" name="Footer Placeholder 7">
            <a:extLst>
              <a:ext uri="{FF2B5EF4-FFF2-40B4-BE49-F238E27FC236}">
                <a16:creationId xmlns:a16="http://schemas.microsoft.com/office/drawing/2014/main" id="{B90EAF64-C4BC-6DE3-A046-A7C061226C6D}"/>
              </a:ext>
            </a:extLst>
          </p:cNvPr>
          <p:cNvSpPr>
            <a:spLocks noGrp="1"/>
          </p:cNvSpPr>
          <p:nvPr>
            <p:ph type="ftr" sz="quarter" idx="16"/>
          </p:nvPr>
        </p:nvSpPr>
        <p:spPr/>
        <p:txBody>
          <a:bodyPr/>
          <a:lstStyle>
            <a:lvl1pPr>
              <a:defRPr>
                <a:solidFill>
                  <a:schemeClr val="bg1"/>
                </a:solidFill>
              </a:defRPr>
            </a:lvl1pPr>
          </a:lstStyle>
          <a:p>
            <a:r>
              <a:rPr lang="en-GB"/>
              <a:t>Information Classification: PUBLIC</a:t>
            </a:r>
            <a:endParaRPr lang="en-GB" dirty="0"/>
          </a:p>
        </p:txBody>
      </p:sp>
      <p:pic>
        <p:nvPicPr>
          <p:cNvPr id="11" name="Picture 10">
            <a:extLst>
              <a:ext uri="{FF2B5EF4-FFF2-40B4-BE49-F238E27FC236}">
                <a16:creationId xmlns:a16="http://schemas.microsoft.com/office/drawing/2014/main" id="{406FB546-4A03-21CD-B15C-59D72D324C51}"/>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656365453"/>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plain">
    <p:bg>
      <p:bgPr>
        <a:solidFill>
          <a:srgbClr val="00243D"/>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 name="Text Placeholder 6">
            <a:extLst>
              <a:ext uri="{FF2B5EF4-FFF2-40B4-BE49-F238E27FC236}">
                <a16:creationId xmlns:a16="http://schemas.microsoft.com/office/drawing/2014/main" id="{CF066476-9606-01FA-E8FE-015CD5447E96}"/>
              </a:ext>
            </a:extLst>
          </p:cNvPr>
          <p:cNvSpPr>
            <a:spLocks noGrp="1"/>
          </p:cNvSpPr>
          <p:nvPr>
            <p:ph type="body" sz="quarter" idx="11" hasCustomPrompt="1"/>
          </p:nvPr>
        </p:nvSpPr>
        <p:spPr>
          <a:xfrm>
            <a:off x="576263" y="3852000"/>
            <a:ext cx="681498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3" name="Title 1">
            <a:extLst>
              <a:ext uri="{FF2B5EF4-FFF2-40B4-BE49-F238E27FC236}">
                <a16:creationId xmlns:a16="http://schemas.microsoft.com/office/drawing/2014/main" id="{179E2CB6-26C8-D4C4-7601-B4659E11549E}"/>
              </a:ext>
            </a:extLst>
          </p:cNvPr>
          <p:cNvSpPr>
            <a:spLocks noGrp="1"/>
          </p:cNvSpPr>
          <p:nvPr>
            <p:ph type="title" hasCustomPrompt="1"/>
          </p:nvPr>
        </p:nvSpPr>
        <p:spPr>
          <a:xfrm>
            <a:off x="576263" y="2340000"/>
            <a:ext cx="6815137" cy="1476000"/>
          </a:xfrm>
        </p:spPr>
        <p:txBody>
          <a:bodyPr anchor="b" anchorCtr="0"/>
          <a:lstStyle>
            <a:lvl1pPr>
              <a:lnSpc>
                <a:spcPct val="80000"/>
              </a:lnSpc>
              <a:defRPr sz="5100" cap="all" baseline="0">
                <a:solidFill>
                  <a:schemeClr val="bg1"/>
                </a:solidFill>
              </a:defRPr>
            </a:lvl1pPr>
          </a:lstStyle>
          <a:p>
            <a:r>
              <a:rPr lang="en-GB" dirty="0"/>
              <a:t>LARGE TITLE</a:t>
            </a:r>
            <a:br>
              <a:rPr lang="en-GB" dirty="0"/>
            </a:br>
            <a:r>
              <a:rPr lang="en-GB" dirty="0"/>
              <a:t>1, 2 or 3 LINES CAPS </a:t>
            </a:r>
          </a:p>
        </p:txBody>
      </p:sp>
      <p:sp>
        <p:nvSpPr>
          <p:cNvPr id="5" name="Source">
            <a:extLst>
              <a:ext uri="{FF2B5EF4-FFF2-40B4-BE49-F238E27FC236}">
                <a16:creationId xmlns:a16="http://schemas.microsoft.com/office/drawing/2014/main" id="{175BF0C7-0306-24C1-B295-36582695BB7B}"/>
              </a:ext>
            </a:extLst>
          </p:cNvPr>
          <p:cNvSpPr>
            <a:spLocks noGrp="1"/>
          </p:cNvSpPr>
          <p:nvPr>
            <p:ph sz="quarter" idx="12" hasCustomPrompt="1"/>
          </p:nvPr>
        </p:nvSpPr>
        <p:spPr>
          <a:xfrm>
            <a:off x="576263" y="5545138"/>
            <a:ext cx="9126087"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4" name="Footer Placeholder 3">
            <a:extLst>
              <a:ext uri="{FF2B5EF4-FFF2-40B4-BE49-F238E27FC236}">
                <a16:creationId xmlns:a16="http://schemas.microsoft.com/office/drawing/2014/main" id="{529EC094-C258-4FAB-30A1-FAA967020595}"/>
              </a:ext>
            </a:extLst>
          </p:cNvPr>
          <p:cNvSpPr>
            <a:spLocks noGrp="1"/>
          </p:cNvSpPr>
          <p:nvPr>
            <p:ph type="ftr" sz="quarter" idx="15"/>
          </p:nvPr>
        </p:nvSpPr>
        <p:spPr/>
        <p:txBody>
          <a:bodyPr/>
          <a:lstStyle>
            <a:lvl1pPr>
              <a:defRPr>
                <a:solidFill>
                  <a:schemeClr val="bg1"/>
                </a:solidFill>
              </a:defRPr>
            </a:lvl1pPr>
          </a:lstStyle>
          <a:p>
            <a:r>
              <a:rPr lang="en-GB"/>
              <a:t>Information Classification: PUBLIC</a:t>
            </a:r>
            <a:endParaRPr lang="en-GB" dirty="0"/>
          </a:p>
        </p:txBody>
      </p:sp>
      <p:pic>
        <p:nvPicPr>
          <p:cNvPr id="6" name="Picture 5">
            <a:extLst>
              <a:ext uri="{FF2B5EF4-FFF2-40B4-BE49-F238E27FC236}">
                <a16:creationId xmlns:a16="http://schemas.microsoft.com/office/drawing/2014/main" id="{924D1EFF-7CA2-E66E-24FB-B042414A1FEC}"/>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46617082"/>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Appendix">
    <p:bg>
      <p:bgPr>
        <a:solidFill>
          <a:srgbClr val="00243D"/>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 name="Text Placeholder 6">
            <a:extLst>
              <a:ext uri="{FF2B5EF4-FFF2-40B4-BE49-F238E27FC236}">
                <a16:creationId xmlns:a16="http://schemas.microsoft.com/office/drawing/2014/main" id="{8B6DC49E-3D5D-A123-E50C-BCCEB95FA1DC}"/>
              </a:ext>
            </a:extLst>
          </p:cNvPr>
          <p:cNvSpPr>
            <a:spLocks noGrp="1"/>
          </p:cNvSpPr>
          <p:nvPr>
            <p:ph type="body" sz="quarter" idx="11" hasCustomPrompt="1"/>
          </p:nvPr>
        </p:nvSpPr>
        <p:spPr>
          <a:xfrm>
            <a:off x="576263" y="3852000"/>
            <a:ext cx="6814980" cy="647774"/>
          </a:xfrm>
          <a:prstGeom prst="rect">
            <a:avLst/>
          </a:prstGeom>
        </p:spPr>
        <p:txBody>
          <a:bodyPr lIns="0"/>
          <a:lstStyle>
            <a:lvl1pPr marL="0" indent="0">
              <a:buNone/>
              <a:defRPr sz="1800" b="0" spc="0" baseline="0">
                <a:solidFill>
                  <a:srgbClr val="ACE2E5"/>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itle 1">
            <a:extLst>
              <a:ext uri="{FF2B5EF4-FFF2-40B4-BE49-F238E27FC236}">
                <a16:creationId xmlns:a16="http://schemas.microsoft.com/office/drawing/2014/main" id="{91013399-54A2-9E9C-16F3-8BB9522E27F7}"/>
              </a:ext>
            </a:extLst>
          </p:cNvPr>
          <p:cNvSpPr txBox="1">
            <a:spLocks/>
          </p:cNvSpPr>
          <p:nvPr userDrawn="1"/>
        </p:nvSpPr>
        <p:spPr bwMode="auto">
          <a:xfrm>
            <a:off x="576263" y="2340000"/>
            <a:ext cx="6815137" cy="147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853026" rtl="0" eaLnBrk="1" fontAlgn="base" hangingPunct="1">
              <a:lnSpc>
                <a:spcPct val="80000"/>
              </a:lnSpc>
              <a:spcBef>
                <a:spcPct val="0"/>
              </a:spcBef>
              <a:spcAft>
                <a:spcPct val="0"/>
              </a:spcAft>
              <a:defRPr sz="5100" b="0" cap="all" spc="0" baseline="0">
                <a:solidFill>
                  <a:schemeClr val="bg1"/>
                </a:solidFill>
                <a:latin typeface="+mj-lt"/>
                <a:ea typeface="+mj-ea"/>
                <a:cs typeface="+mj-cs"/>
              </a:defRPr>
            </a:lvl1pPr>
            <a:lvl2pPr algn="l" defTabSz="853026" rtl="0" eaLnBrk="1" fontAlgn="base" hangingPunct="1">
              <a:spcBef>
                <a:spcPct val="0"/>
              </a:spcBef>
              <a:spcAft>
                <a:spcPct val="0"/>
              </a:spcAft>
              <a:defRPr sz="1714">
                <a:solidFill>
                  <a:schemeClr val="accent1"/>
                </a:solidFill>
                <a:latin typeface="Arial" charset="0"/>
                <a:cs typeface="Arial" charset="0"/>
              </a:defRPr>
            </a:lvl2pPr>
            <a:lvl3pPr algn="l" defTabSz="853026" rtl="0" eaLnBrk="1" fontAlgn="base" hangingPunct="1">
              <a:spcBef>
                <a:spcPct val="0"/>
              </a:spcBef>
              <a:spcAft>
                <a:spcPct val="0"/>
              </a:spcAft>
              <a:defRPr sz="1714">
                <a:solidFill>
                  <a:schemeClr val="accent1"/>
                </a:solidFill>
                <a:latin typeface="Arial" charset="0"/>
                <a:cs typeface="Arial" charset="0"/>
              </a:defRPr>
            </a:lvl3pPr>
            <a:lvl4pPr algn="l" defTabSz="853026" rtl="0" eaLnBrk="1" fontAlgn="base" hangingPunct="1">
              <a:spcBef>
                <a:spcPct val="0"/>
              </a:spcBef>
              <a:spcAft>
                <a:spcPct val="0"/>
              </a:spcAft>
              <a:defRPr sz="1714">
                <a:solidFill>
                  <a:schemeClr val="accent1"/>
                </a:solidFill>
                <a:latin typeface="Arial" charset="0"/>
                <a:cs typeface="Arial" charset="0"/>
              </a:defRPr>
            </a:lvl4pPr>
            <a:lvl5pPr algn="l" defTabSz="853026" rtl="0" eaLnBrk="1" fontAlgn="base" hangingPunct="1">
              <a:spcBef>
                <a:spcPct val="0"/>
              </a:spcBef>
              <a:spcAft>
                <a:spcPct val="0"/>
              </a:spcAft>
              <a:defRPr sz="1714">
                <a:solidFill>
                  <a:schemeClr val="accent1"/>
                </a:solidFill>
                <a:latin typeface="Arial" charset="0"/>
                <a:cs typeface="Arial" charset="0"/>
              </a:defRPr>
            </a:lvl5pPr>
            <a:lvl6pPr marL="391820" algn="l" defTabSz="853026" rtl="0" eaLnBrk="1" fontAlgn="base" hangingPunct="1">
              <a:spcBef>
                <a:spcPct val="0"/>
              </a:spcBef>
              <a:spcAft>
                <a:spcPct val="0"/>
              </a:spcAft>
              <a:defRPr sz="1714">
                <a:solidFill>
                  <a:schemeClr val="accent1"/>
                </a:solidFill>
                <a:latin typeface="Arial" charset="0"/>
                <a:cs typeface="Arial" charset="0"/>
              </a:defRPr>
            </a:lvl6pPr>
            <a:lvl7pPr marL="783641" algn="l" defTabSz="853026" rtl="0" eaLnBrk="1" fontAlgn="base" hangingPunct="1">
              <a:spcBef>
                <a:spcPct val="0"/>
              </a:spcBef>
              <a:spcAft>
                <a:spcPct val="0"/>
              </a:spcAft>
              <a:defRPr sz="1714">
                <a:solidFill>
                  <a:schemeClr val="accent1"/>
                </a:solidFill>
                <a:latin typeface="Arial" charset="0"/>
                <a:cs typeface="Arial" charset="0"/>
              </a:defRPr>
            </a:lvl7pPr>
            <a:lvl8pPr marL="1175461" algn="l" defTabSz="853026" rtl="0" eaLnBrk="1" fontAlgn="base" hangingPunct="1">
              <a:spcBef>
                <a:spcPct val="0"/>
              </a:spcBef>
              <a:spcAft>
                <a:spcPct val="0"/>
              </a:spcAft>
              <a:defRPr sz="1714">
                <a:solidFill>
                  <a:schemeClr val="accent1"/>
                </a:solidFill>
                <a:latin typeface="Arial" charset="0"/>
                <a:cs typeface="Arial" charset="0"/>
              </a:defRPr>
            </a:lvl8pPr>
            <a:lvl9pPr marL="1567282" algn="l" defTabSz="853026" rtl="0" eaLnBrk="1" fontAlgn="base" hangingPunct="1">
              <a:spcBef>
                <a:spcPct val="0"/>
              </a:spcBef>
              <a:spcAft>
                <a:spcPct val="0"/>
              </a:spcAft>
              <a:defRPr sz="1714">
                <a:solidFill>
                  <a:schemeClr val="accent1"/>
                </a:solidFill>
                <a:latin typeface="Arial" charset="0"/>
                <a:cs typeface="Arial" charset="0"/>
              </a:defRPr>
            </a:lvl9pPr>
          </a:lstStyle>
          <a:p>
            <a:r>
              <a:rPr lang="en-US" dirty="0"/>
              <a:t>Appendix</a:t>
            </a:r>
            <a:endParaRPr lang="en-GB" kern="0" dirty="0"/>
          </a:p>
        </p:txBody>
      </p:sp>
      <p:sp>
        <p:nvSpPr>
          <p:cNvPr id="3" name="Source">
            <a:extLst>
              <a:ext uri="{FF2B5EF4-FFF2-40B4-BE49-F238E27FC236}">
                <a16:creationId xmlns:a16="http://schemas.microsoft.com/office/drawing/2014/main" id="{BECF23FE-0EA4-9991-0360-7B3E29BABD81}"/>
              </a:ext>
            </a:extLst>
          </p:cNvPr>
          <p:cNvSpPr>
            <a:spLocks noGrp="1"/>
          </p:cNvSpPr>
          <p:nvPr>
            <p:ph sz="quarter" idx="12" hasCustomPrompt="1"/>
          </p:nvPr>
        </p:nvSpPr>
        <p:spPr>
          <a:xfrm>
            <a:off x="576263" y="5545138"/>
            <a:ext cx="10367962" cy="358775"/>
          </a:xfrm>
        </p:spPr>
        <p:txBody>
          <a:bodyPr anchor="b" anchorCtr="0"/>
          <a:lstStyle>
            <a:lvl1pPr>
              <a:lnSpc>
                <a:spcPct val="100000"/>
              </a:lnSpc>
              <a:spcBef>
                <a:spcPts val="0"/>
              </a:spcBef>
              <a:spcAft>
                <a:spcPts val="257"/>
              </a:spcAft>
              <a:defRPr sz="700" b="0" spc="0" baseline="0">
                <a:solidFill>
                  <a:schemeClr val="bg1"/>
                </a:solidFill>
                <a:latin typeface="+mn-lt"/>
              </a:defRPr>
            </a:lvl1pPr>
          </a:lstStyle>
          <a:p>
            <a:pPr lvl="0"/>
            <a:r>
              <a:rPr lang="en-US" dirty="0"/>
              <a:t>Disclaimer text if required</a:t>
            </a:r>
          </a:p>
        </p:txBody>
      </p:sp>
      <p:sp>
        <p:nvSpPr>
          <p:cNvPr id="5" name="Footer Placeholder 4">
            <a:extLst>
              <a:ext uri="{FF2B5EF4-FFF2-40B4-BE49-F238E27FC236}">
                <a16:creationId xmlns:a16="http://schemas.microsoft.com/office/drawing/2014/main" id="{6BD967E4-9472-8D68-78AF-58105042C833}"/>
              </a:ext>
            </a:extLst>
          </p:cNvPr>
          <p:cNvSpPr>
            <a:spLocks noGrp="1"/>
          </p:cNvSpPr>
          <p:nvPr>
            <p:ph type="ftr" sz="quarter" idx="15"/>
          </p:nvPr>
        </p:nvSpPr>
        <p:spPr/>
        <p:txBody>
          <a:bodyPr/>
          <a:lstStyle>
            <a:lvl1pPr>
              <a:defRPr>
                <a:solidFill>
                  <a:schemeClr val="bg1"/>
                </a:solidFill>
              </a:defRPr>
            </a:lvl1pPr>
          </a:lstStyle>
          <a:p>
            <a:r>
              <a:rPr lang="en-GB"/>
              <a:t>Information Classification: PUBLIC</a:t>
            </a:r>
            <a:endParaRPr lang="en-GB" dirty="0"/>
          </a:p>
        </p:txBody>
      </p:sp>
    </p:spTree>
    <p:extLst>
      <p:ext uri="{BB962C8B-B14F-4D97-AF65-F5344CB8AC3E}">
        <p14:creationId xmlns:p14="http://schemas.microsoft.com/office/powerpoint/2010/main" val="272353901"/>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Formal_Back Cover">
    <p:bg>
      <p:bgPr>
        <a:solidFill>
          <a:srgbClr val="00243D"/>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0720F4-371A-74B6-217A-9F369AADB449}"/>
              </a:ext>
            </a:extLst>
          </p:cNvPr>
          <p:cNvSpPr/>
          <p:nvPr userDrawn="1"/>
        </p:nvSpPr>
        <p:spPr>
          <a:xfrm>
            <a:off x="10944225" y="0"/>
            <a:ext cx="576263" cy="6480175"/>
          </a:xfrm>
          <a:prstGeom prst="rect">
            <a:avLst/>
          </a:prstGeom>
          <a:pattFill prst="wdUpDiag">
            <a:fgClr>
              <a:srgbClr val="FF6120"/>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p>
        </p:txBody>
      </p:sp>
      <p:sp>
        <p:nvSpPr>
          <p:cNvPr id="4" name="Text Placeholder 3">
            <a:extLst>
              <a:ext uri="{FF2B5EF4-FFF2-40B4-BE49-F238E27FC236}">
                <a16:creationId xmlns:a16="http://schemas.microsoft.com/office/drawing/2014/main" id="{31B74E44-3BA7-36CB-EA04-F8DA6BED378F}"/>
              </a:ext>
            </a:extLst>
          </p:cNvPr>
          <p:cNvSpPr>
            <a:spLocks noGrp="1"/>
          </p:cNvSpPr>
          <p:nvPr>
            <p:ph type="body" sz="quarter" idx="10" hasCustomPrompt="1"/>
          </p:nvPr>
        </p:nvSpPr>
        <p:spPr>
          <a:xfrm>
            <a:off x="287338" y="5903913"/>
            <a:ext cx="5473700" cy="340278"/>
          </a:xfrm>
        </p:spPr>
        <p:txBody>
          <a:bodyPr anchor="b" anchorCtr="0"/>
          <a:lstStyle>
            <a:lvl1pPr>
              <a:defRPr sz="700" b="0">
                <a:solidFill>
                  <a:schemeClr val="bg2"/>
                </a:solidFill>
              </a:defRPr>
            </a:lvl1pPr>
          </a:lstStyle>
          <a:p>
            <a:pPr lvl="0"/>
            <a:r>
              <a:rPr lang="en-US" dirty="0"/>
              <a:t>TRACKING NUMBER (IF REQUIRED)</a:t>
            </a:r>
          </a:p>
        </p:txBody>
      </p:sp>
      <p:pic>
        <p:nvPicPr>
          <p:cNvPr id="3" name="Picture 2">
            <a:extLst>
              <a:ext uri="{FF2B5EF4-FFF2-40B4-BE49-F238E27FC236}">
                <a16:creationId xmlns:a16="http://schemas.microsoft.com/office/drawing/2014/main" id="{548F8D6B-5C6A-C3DC-D068-49E391478469}"/>
              </a:ext>
            </a:extLst>
          </p:cNvPr>
          <p:cNvPicPr>
            <a:picLocks noChangeAspect="1"/>
          </p:cNvPicPr>
          <p:nvPr userDrawn="1"/>
        </p:nvPicPr>
        <p:blipFill>
          <a:blip r:embed="rId2"/>
          <a:stretch>
            <a:fillRect/>
          </a:stretch>
        </p:blipFill>
        <p:spPr>
          <a:xfrm>
            <a:off x="8049952" y="6054762"/>
            <a:ext cx="2606936" cy="209513"/>
          </a:xfrm>
          <a:prstGeom prst="rect">
            <a:avLst/>
          </a:prstGeom>
        </p:spPr>
      </p:pic>
    </p:spTree>
    <p:extLst>
      <p:ext uri="{BB962C8B-B14F-4D97-AF65-F5344CB8AC3E}">
        <p14:creationId xmlns:p14="http://schemas.microsoft.com/office/powerpoint/2010/main" val="2630069514"/>
      </p:ext>
    </p:extLst>
  </p:cSld>
  <p:clrMapOvr>
    <a:masterClrMapping/>
  </p:clrMapOvr>
  <p:extLst>
    <p:ext uri="{DCECCB84-F9BA-43D5-87BE-67443E8EF086}">
      <p15:sldGuideLst xmlns:p15="http://schemas.microsoft.com/office/powerpoint/2012/main">
        <p15:guide id="1" pos="544">
          <p15:clr>
            <a:srgbClr val="FBAE40"/>
          </p15:clr>
        </p15:guide>
        <p15:guide id="2" pos="6713">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576263" y="1008000"/>
            <a:ext cx="10368000" cy="432000"/>
          </a:xfrm>
        </p:spPr>
        <p:txBody>
          <a:bodyPr/>
          <a:lstStyle>
            <a:lvl1pPr>
              <a:defRPr sz="1400" b="0" spc="0" baseline="0">
                <a:solidFill>
                  <a:srgbClr val="808183"/>
                </a:solidFill>
                <a:latin typeface="+mn-lt"/>
              </a:defRPr>
            </a:lvl1pPr>
          </a:lstStyle>
          <a:p>
            <a:pPr lvl="0"/>
            <a:r>
              <a:rPr lang="en-US" dirty="0"/>
              <a:t>Click to edit Master text styles</a:t>
            </a:r>
          </a:p>
        </p:txBody>
      </p:sp>
      <p:sp>
        <p:nvSpPr>
          <p:cNvPr id="3" name="Slide Number Placeholder 2"/>
          <p:cNvSpPr>
            <a:spLocks noGrp="1"/>
          </p:cNvSpPr>
          <p:nvPr>
            <p:ph type="sldNum" sz="quarter" idx="12"/>
          </p:nvPr>
        </p:nvSpPr>
        <p:spPr/>
        <p:txBody>
          <a:bodyPr/>
          <a:lstStyle/>
          <a:p>
            <a:fld id="{0F961903-03AF-4EAC-BF2C-945F8C5557D1}" type="slidenum">
              <a:rPr lang="en-GB" smtClean="0"/>
              <a:pPr/>
              <a:t>‹#›</a:t>
            </a:fld>
            <a:endParaRPr lang="en-GB" dirty="0"/>
          </a:p>
        </p:txBody>
      </p:sp>
      <p:sp>
        <p:nvSpPr>
          <p:cNvPr id="2" name="Title 1">
            <a:extLst>
              <a:ext uri="{FF2B5EF4-FFF2-40B4-BE49-F238E27FC236}">
                <a16:creationId xmlns:a16="http://schemas.microsoft.com/office/drawing/2014/main" id="{1A8E6A65-862B-881A-615F-57A23AB8CB94}"/>
              </a:ext>
            </a:extLst>
          </p:cNvPr>
          <p:cNvSpPr>
            <a:spLocks noGrp="1"/>
          </p:cNvSpPr>
          <p:nvPr>
            <p:ph type="title"/>
          </p:nvPr>
        </p:nvSpPr>
        <p:spPr/>
        <p:txBody>
          <a:bodyPr/>
          <a:lstStyle>
            <a:lvl1pPr>
              <a:defRPr b="0"/>
            </a:lvl1pPr>
          </a:lstStyle>
          <a:p>
            <a:r>
              <a:rPr lang="en-US" dirty="0"/>
              <a:t>Click to edit Master title style</a:t>
            </a:r>
            <a:endParaRPr lang="en-GB" dirty="0"/>
          </a:p>
        </p:txBody>
      </p:sp>
      <p:sp>
        <p:nvSpPr>
          <p:cNvPr id="7" name="Text Placeholder 7">
            <a:extLst>
              <a:ext uri="{FF2B5EF4-FFF2-40B4-BE49-F238E27FC236}">
                <a16:creationId xmlns:a16="http://schemas.microsoft.com/office/drawing/2014/main" id="{65983727-D59D-C28F-4585-39E0889471C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Footer Placeholder 3">
            <a:extLst>
              <a:ext uri="{FF2B5EF4-FFF2-40B4-BE49-F238E27FC236}">
                <a16:creationId xmlns:a16="http://schemas.microsoft.com/office/drawing/2014/main" id="{8ABA2944-16E9-9534-D115-921682A2939A}"/>
              </a:ext>
            </a:extLst>
          </p:cNvPr>
          <p:cNvSpPr>
            <a:spLocks noGrp="1"/>
          </p:cNvSpPr>
          <p:nvPr>
            <p:ph type="ftr" sz="quarter" idx="1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4256196932"/>
      </p:ext>
    </p:extLst>
  </p:cSld>
  <p:clrMapOvr>
    <a:masterClrMapping/>
  </p:clrMapOvr>
  <p:extLst>
    <p:ext uri="{DCECCB84-F9BA-43D5-87BE-67443E8EF086}">
      <p15:sldGuideLst xmlns:p15="http://schemas.microsoft.com/office/powerpoint/2012/main">
        <p15:guide id="1" pos="3530">
          <p15:clr>
            <a:srgbClr val="FBAE40"/>
          </p15:clr>
        </p15:guide>
        <p15:guide id="2" pos="2553">
          <p15:clr>
            <a:srgbClr val="FBAE40"/>
          </p15:clr>
        </p15:guide>
        <p15:guide id="3" pos="2358">
          <p15:clr>
            <a:srgbClr val="FBAE40"/>
          </p15:clr>
        </p15:guide>
        <p15:guide id="4" pos="1771">
          <p15:clr>
            <a:srgbClr val="FBAE40"/>
          </p15:clr>
        </p15:guide>
        <p15:guide id="5" pos="1967">
          <p15:clr>
            <a:srgbClr val="FBAE40"/>
          </p15:clr>
        </p15:guide>
        <p15:guide id="6" pos="3727">
          <p15:clr>
            <a:srgbClr val="FBAE40"/>
          </p15:clr>
        </p15:guide>
        <p15:guide id="7" pos="4704">
          <p15:clr>
            <a:srgbClr val="FBAE40"/>
          </p15:clr>
        </p15:guide>
        <p15:guide id="8" pos="4899">
          <p15:clr>
            <a:srgbClr val="FBAE40"/>
          </p15:clr>
        </p15:guide>
        <p15:guide id="9" pos="5290">
          <p15:clr>
            <a:srgbClr val="FBAE40"/>
          </p15:clr>
        </p15:guide>
        <p15:guide id="10" pos="548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F149AD40-D7D1-7EA5-3220-97B9C147E5B2}"/>
              </a:ext>
            </a:extLst>
          </p:cNvPr>
          <p:cNvSpPr>
            <a:spLocks noGrp="1"/>
          </p:cNvSpPr>
          <p:nvPr>
            <p:ph type="ftr" sz="quarter" idx="32"/>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A76FBA4E-6F59-9EA6-7C51-534EC5D807B0}"/>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9CDD2AA-E935-BE94-7484-E03847B7CB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190559258"/>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6" name="Source">
            <a:extLst>
              <a:ext uri="{FF2B5EF4-FFF2-40B4-BE49-F238E27FC236}">
                <a16:creationId xmlns:a16="http://schemas.microsoft.com/office/drawing/2014/main" id="{53152456-ECA5-A368-F4FD-84FA2B739FE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4" name="Text Placeholder 7">
            <a:extLst>
              <a:ext uri="{FF2B5EF4-FFF2-40B4-BE49-F238E27FC236}">
                <a16:creationId xmlns:a16="http://schemas.microsoft.com/office/drawing/2014/main" id="{9B157674-0817-06DF-ED64-8B78FA157FC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Footer Placeholder 1">
            <a:extLst>
              <a:ext uri="{FF2B5EF4-FFF2-40B4-BE49-F238E27FC236}">
                <a16:creationId xmlns:a16="http://schemas.microsoft.com/office/drawing/2014/main" id="{4D84EC72-7ADB-FD6F-552A-59561E1E4AFA}"/>
              </a:ext>
            </a:extLst>
          </p:cNvPr>
          <p:cNvSpPr>
            <a:spLocks noGrp="1"/>
          </p:cNvSpPr>
          <p:nvPr>
            <p:ph type="ftr" sz="quarter" idx="1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361057698"/>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 column content Slate">
    <p:bg>
      <p:bgPr>
        <a:solidFill>
          <a:srgbClr val="00243D"/>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439863"/>
            <a:ext cx="10367963" cy="4105275"/>
          </a:xfrm>
        </p:spPr>
        <p:txBody>
          <a:bodyPr/>
          <a:lstStyle>
            <a:lvl1pPr>
              <a:defRPr b="1">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C44513F2-A2DD-A3B9-3EB6-86B0F970BD65}"/>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CA667AF3-7EB0-AA88-B77E-BA2D8D4EACC3}"/>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en-GB" dirty="0"/>
          </a:p>
        </p:txBody>
      </p:sp>
      <p:sp>
        <p:nvSpPr>
          <p:cNvPr id="7" name="Text Placeholder 7">
            <a:extLst>
              <a:ext uri="{FF2B5EF4-FFF2-40B4-BE49-F238E27FC236}">
                <a16:creationId xmlns:a16="http://schemas.microsoft.com/office/drawing/2014/main" id="{42AC3B83-CA50-14EC-F8DA-0EDF85A2D0C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116B56B0-36F5-FD21-94DD-DB75171FD4C0}"/>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79FCF3CD-6B27-845E-3C76-AB3C5E8788FB}"/>
              </a:ext>
            </a:extLst>
          </p:cNvPr>
          <p:cNvSpPr>
            <a:spLocks noGrp="1"/>
          </p:cNvSpPr>
          <p:nvPr>
            <p:ph type="ftr" sz="quarter" idx="32"/>
          </p:nvPr>
        </p:nvSpPr>
        <p:spPr/>
        <p:txBody>
          <a:bodyPr/>
          <a:lstStyle>
            <a:lvl1pPr>
              <a:defRPr>
                <a:solidFill>
                  <a:schemeClr val="bg1"/>
                </a:solidFill>
              </a:defRPr>
            </a:lvl1pPr>
          </a:lstStyle>
          <a:p>
            <a:r>
              <a:rPr lang="en-GB"/>
              <a:t>Information Classification: PUBLIC</a:t>
            </a:r>
            <a:endParaRPr lang="en-GB" dirty="0"/>
          </a:p>
        </p:txBody>
      </p:sp>
      <p:pic>
        <p:nvPicPr>
          <p:cNvPr id="6" name="Picture 5">
            <a:extLst>
              <a:ext uri="{FF2B5EF4-FFF2-40B4-BE49-F238E27FC236}">
                <a16:creationId xmlns:a16="http://schemas.microsoft.com/office/drawing/2014/main" id="{3957590B-0A4D-AAA1-AFDB-3E313532932A}"/>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510985122"/>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09CDD2AA-E935-BE94-7484-E03847B7CB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41C34B1-59CD-BBE6-191B-46D69AC3EE5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6" name="Footer Placeholder 5">
            <a:extLst>
              <a:ext uri="{FF2B5EF4-FFF2-40B4-BE49-F238E27FC236}">
                <a16:creationId xmlns:a16="http://schemas.microsoft.com/office/drawing/2014/main" id="{599AEC11-F962-0369-AFEC-27235DF35ADF}"/>
              </a:ext>
            </a:extLst>
          </p:cNvPr>
          <p:cNvSpPr>
            <a:spLocks noGrp="1"/>
          </p:cNvSpPr>
          <p:nvPr>
            <p:ph type="ftr" sz="quarter" idx="32"/>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206039133"/>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3"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2"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012266F4-3B4C-A1D0-8A29-D8C1DC0EDCF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C2D93817-D07A-8DC2-6A0D-F32FD2D0961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D7D9871E-B8C9-D377-C244-8B08581565FF}"/>
              </a:ext>
            </a:extLst>
          </p:cNvPr>
          <p:cNvSpPr>
            <a:spLocks noGrp="1"/>
          </p:cNvSpPr>
          <p:nvPr>
            <p:ph type="ftr" sz="quarter" idx="1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282291290"/>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2 column / 1 row Slate">
    <p:bg>
      <p:bgPr>
        <a:solidFill>
          <a:srgbClr val="00243D"/>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3" name="Content Placeholder 3"/>
          <p:cNvSpPr>
            <a:spLocks noGrp="1"/>
          </p:cNvSpPr>
          <p:nvPr>
            <p:ph sz="quarter" idx="33"/>
          </p:nvPr>
        </p:nvSpPr>
        <p:spPr>
          <a:xfrm>
            <a:off x="5903914" y="1439863"/>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A5A366EC-6E5A-A817-8036-12FD9D59714D}"/>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09437FAA-C523-8FC9-5DCE-6ADA81833F9F}"/>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en-GB" dirty="0"/>
          </a:p>
        </p:txBody>
      </p:sp>
      <p:sp>
        <p:nvSpPr>
          <p:cNvPr id="5" name="Text Placeholder 7">
            <a:extLst>
              <a:ext uri="{FF2B5EF4-FFF2-40B4-BE49-F238E27FC236}">
                <a16:creationId xmlns:a16="http://schemas.microsoft.com/office/drawing/2014/main" id="{05833639-D591-2145-69FC-3F9FBBBFAABF}"/>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10" name="Source">
            <a:extLst>
              <a:ext uri="{FF2B5EF4-FFF2-40B4-BE49-F238E27FC236}">
                <a16:creationId xmlns:a16="http://schemas.microsoft.com/office/drawing/2014/main" id="{9A0C19E2-029B-F978-5058-36C9F88EC10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E3E30F57-9A56-E017-6EE0-545E0547357B}"/>
              </a:ext>
            </a:extLst>
          </p:cNvPr>
          <p:cNvSpPr>
            <a:spLocks noGrp="1"/>
          </p:cNvSpPr>
          <p:nvPr>
            <p:ph type="ftr" sz="quarter" idx="34"/>
          </p:nvPr>
        </p:nvSpPr>
        <p:spPr/>
        <p:txBody>
          <a:bodyPr/>
          <a:lstStyle>
            <a:lvl1pPr>
              <a:defRPr>
                <a:solidFill>
                  <a:schemeClr val="bg1"/>
                </a:solidFill>
              </a:defRPr>
            </a:lvl1pPr>
          </a:lstStyle>
          <a:p>
            <a:r>
              <a:rPr lang="en-GB"/>
              <a:t>Information Classification: PUBLIC</a:t>
            </a:r>
            <a:endParaRPr lang="en-GB" dirty="0"/>
          </a:p>
        </p:txBody>
      </p:sp>
      <p:pic>
        <p:nvPicPr>
          <p:cNvPr id="7" name="Picture 6">
            <a:extLst>
              <a:ext uri="{FF2B5EF4-FFF2-40B4-BE49-F238E27FC236}">
                <a16:creationId xmlns:a16="http://schemas.microsoft.com/office/drawing/2014/main" id="{461F774A-5CEB-485B-762F-D0F141454ADA}"/>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597687914"/>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 column / 1 row">
    <p:spTree>
      <p:nvGrpSpPr>
        <p:cNvPr id="1" name=""/>
        <p:cNvGrpSpPr/>
        <p:nvPr/>
      </p:nvGrpSpPr>
      <p:grpSpPr>
        <a:xfrm>
          <a:off x="0" y="0"/>
          <a:ext cx="0" cy="0"/>
          <a:chOff x="0" y="0"/>
          <a:chExt cx="0" cy="0"/>
        </a:xfrm>
      </p:grpSpPr>
      <p:sp>
        <p:nvSpPr>
          <p:cNvPr id="14" name="Content Placeholder 3"/>
          <p:cNvSpPr>
            <a:spLocks noGrp="1"/>
          </p:cNvSpPr>
          <p:nvPr>
            <p:ph sz="quarter" idx="31"/>
          </p:nvPr>
        </p:nvSpPr>
        <p:spPr>
          <a:xfrm>
            <a:off x="5903914" y="1439861"/>
            <a:ext cx="5040312"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1"/>
            <a:ext cx="5039736"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00E3DCE-0198-CE8A-A0B5-FB10A8BFE9D2}"/>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0AE29DB1-3C70-ADA6-6DBE-EBF5C327F0BC}"/>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92837130-1C55-9F27-7BCB-D6C6C17C83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02E64366-4854-52A3-A91B-20879E59844D}"/>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4BCAEE30-4388-41C2-DCD5-0D59F97111AE}"/>
              </a:ext>
            </a:extLst>
          </p:cNvPr>
          <p:cNvSpPr>
            <a:spLocks noGrp="1"/>
          </p:cNvSpPr>
          <p:nvPr>
            <p:ph type="ftr" sz="quarter" idx="33"/>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534728663"/>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lumn / 1 row chart / table single head">
    <p:spTree>
      <p:nvGrpSpPr>
        <p:cNvPr id="1" name=""/>
        <p:cNvGrpSpPr/>
        <p:nvPr/>
      </p:nvGrpSpPr>
      <p:grpSpPr>
        <a:xfrm>
          <a:off x="0" y="0"/>
          <a:ext cx="0" cy="0"/>
          <a:chOff x="0" y="0"/>
          <a:chExt cx="0" cy="0"/>
        </a:xfrm>
      </p:grpSpPr>
      <p:sp>
        <p:nvSpPr>
          <p:cNvPr id="20" name="Text Placeholder 12"/>
          <p:cNvSpPr>
            <a:spLocks noGrp="1"/>
          </p:cNvSpPr>
          <p:nvPr>
            <p:ph type="body" sz="quarter" idx="17" hasCustomPrompt="1"/>
          </p:nvPr>
        </p:nvSpPr>
        <p:spPr>
          <a:xfrm>
            <a:off x="5904000" y="1439863"/>
            <a:ext cx="5040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2" y="1439863"/>
            <a:ext cx="5039737" cy="288000"/>
          </a:xfrm>
        </p:spPr>
        <p:txBody>
          <a:bodyPr/>
          <a:lstStyle>
            <a:lvl1pPr algn="ctr">
              <a:defRPr cap="all" spc="0" baseline="0"/>
            </a:lvl1pPr>
          </a:lstStyle>
          <a:p>
            <a:pPr lvl="0"/>
            <a:r>
              <a:rPr lang="en-US" dirty="0"/>
              <a:t>Single line heading</a:t>
            </a:r>
          </a:p>
        </p:txBody>
      </p:sp>
      <p:sp>
        <p:nvSpPr>
          <p:cNvPr id="9" name="Content Placeholder 3"/>
          <p:cNvSpPr>
            <a:spLocks noGrp="1"/>
          </p:cNvSpPr>
          <p:nvPr>
            <p:ph sz="quarter" idx="31"/>
          </p:nvPr>
        </p:nvSpPr>
        <p:spPr>
          <a:xfrm>
            <a:off x="5904000" y="1727863"/>
            <a:ext cx="5040225"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p:cNvSpPr>
            <a:spLocks noGrp="1"/>
          </p:cNvSpPr>
          <p:nvPr>
            <p:ph sz="quarter" idx="30"/>
          </p:nvPr>
        </p:nvSpPr>
        <p:spPr>
          <a:xfrm>
            <a:off x="576262" y="1727863"/>
            <a:ext cx="5039737"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3F1F6191-C141-F56A-C562-D9E21219F6D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6" name="Title 5">
            <a:extLst>
              <a:ext uri="{FF2B5EF4-FFF2-40B4-BE49-F238E27FC236}">
                <a16:creationId xmlns:a16="http://schemas.microsoft.com/office/drawing/2014/main" id="{52AFD575-D302-2CB9-CA0D-54A12888A8C8}"/>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4FE1665A-C0B8-8D55-4E29-8C006F588D0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0C4D5D7D-061A-7876-BCA7-1A80A3D808E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711EA593-C9A4-F5F3-69C5-16F33C24DD5C}"/>
              </a:ext>
            </a:extLst>
          </p:cNvPr>
          <p:cNvSpPr>
            <a:spLocks noGrp="1"/>
          </p:cNvSpPr>
          <p:nvPr>
            <p:ph type="ftr" sz="quarter" idx="33"/>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943026981"/>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ide column / Narrow column / 1 row content">
    <p:spTree>
      <p:nvGrpSpPr>
        <p:cNvPr id="1" name=""/>
        <p:cNvGrpSpPr/>
        <p:nvPr/>
      </p:nvGrpSpPr>
      <p:grpSpPr>
        <a:xfrm>
          <a:off x="0" y="0"/>
          <a:ext cx="0" cy="0"/>
          <a:chOff x="0" y="0"/>
          <a:chExt cx="0" cy="0"/>
        </a:xfrm>
      </p:grpSpPr>
      <p:sp>
        <p:nvSpPr>
          <p:cNvPr id="9" name="Content Placeholder 3"/>
          <p:cNvSpPr>
            <a:spLocks noGrp="1"/>
          </p:cNvSpPr>
          <p:nvPr>
            <p:ph sz="quarter" idx="32"/>
          </p:nvPr>
        </p:nvSpPr>
        <p:spPr>
          <a:xfrm>
            <a:off x="7704000" y="1439863"/>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5"/>
            <a:ext cx="6804025"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3"/>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BE9BC7A-ADFB-F1A5-43F0-8DE2FED2AE71}"/>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E7ECD40C-669E-32EE-F2D6-2E2BE65C16A8}"/>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47132CDA-790A-F0DA-6843-D7A014C2B92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516DFC9C-5772-9A33-8422-32C8D367ABF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DB53CDB0-77EA-CB1C-9DDD-48EA4404D714}"/>
              </a:ext>
            </a:extLst>
          </p:cNvPr>
          <p:cNvSpPr>
            <a:spLocks noGrp="1"/>
          </p:cNvSpPr>
          <p:nvPr>
            <p:ph type="ftr" sz="quarter" idx="34"/>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679034317"/>
      </p:ext>
    </p:extLst>
  </p:cSld>
  <p:clrMapOvr>
    <a:masterClrMapping/>
  </p:clrMapOvr>
  <p:extLst>
    <p:ext uri="{DCECCB84-F9BA-43D5-87BE-67443E8EF086}">
      <p15:sldGuideLst xmlns:p15="http://schemas.microsoft.com/office/powerpoint/2012/main">
        <p15:guide id="1" pos="4649">
          <p15:clr>
            <a:srgbClr val="FBAE40"/>
          </p15:clr>
        </p15:guide>
        <p15:guide id="2" pos="4853">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ide column / Narrow column / chart / table single head">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7704000"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3" hasCustomPrompt="1"/>
          </p:nvPr>
        </p:nvSpPr>
        <p:spPr>
          <a:xfrm>
            <a:off x="576262" y="1439388"/>
            <a:ext cx="6804025"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33"/>
          </p:nvPr>
        </p:nvSpPr>
        <p:spPr>
          <a:xfrm>
            <a:off x="576262" y="1727201"/>
            <a:ext cx="6804025" cy="38179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1D94EDC-41F0-5DD8-430C-6A77FDF0BB0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7AAFA77F-8AED-40B2-0853-40C7D745290C}"/>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881EB602-6B25-F693-5DF1-8D06A531D9E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7BCBD2F0-6EFF-1D26-7E21-A75308BEFB6C}"/>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5D5A966F-F41C-1752-1075-9A2D237769AB}"/>
              </a:ext>
            </a:extLst>
          </p:cNvPr>
          <p:cNvSpPr>
            <a:spLocks noGrp="1"/>
          </p:cNvSpPr>
          <p:nvPr>
            <p:ph type="ftr" sz="quarter" idx="35"/>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447438170"/>
      </p:ext>
    </p:extLst>
  </p:cSld>
  <p:clrMapOvr>
    <a:masterClrMapping/>
  </p:clrMapOvr>
  <p:extLst>
    <p:ext uri="{DCECCB84-F9BA-43D5-87BE-67443E8EF086}">
      <p15:sldGuideLst xmlns:p15="http://schemas.microsoft.com/office/powerpoint/2012/main">
        <p15:guide id="1" pos="4853">
          <p15:clr>
            <a:srgbClr val="FBAE40"/>
          </p15:clr>
        </p15:guide>
        <p15:guide id="3" pos="4649">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057BE26-A567-6629-941B-191FA607321C}"/>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0ABADC7-2EF8-C50D-1BD9-3D671C3365FE}"/>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03300BBA-30F2-8487-8DDD-9BD763BAE0C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30378D50-1E9A-ADE3-18C6-69B33E617A7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BE1D5020-A0D1-84BB-A5A8-B9B3881CD045}"/>
              </a:ext>
            </a:extLst>
          </p:cNvPr>
          <p:cNvSpPr>
            <a:spLocks noGrp="1"/>
          </p:cNvSpPr>
          <p:nvPr>
            <p:ph type="ftr" sz="quarter" idx="36"/>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308012891"/>
      </p:ext>
    </p:extLst>
  </p:cSld>
  <p:clrMapOvr>
    <a:masterClrMapping/>
  </p:clrMapOvr>
  <p:extLst>
    <p:ext uri="{DCECCB84-F9BA-43D5-87BE-67443E8EF086}">
      <p15:sldGuideLst xmlns:p15="http://schemas.microsoft.com/office/powerpoint/2012/main">
        <p15:guide id="1" orient="horz" pos="2245">
          <p15:clr>
            <a:srgbClr val="FBAE40"/>
          </p15:clr>
        </p15:guide>
        <p15:guide id="2" orient="horz" pos="215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3"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2"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B1606E74-C774-873E-BFDD-28CF4EA435C3}"/>
              </a:ext>
            </a:extLst>
          </p:cNvPr>
          <p:cNvSpPr>
            <a:spLocks noGrp="1"/>
          </p:cNvSpPr>
          <p:nvPr>
            <p:ph type="ftr" sz="quarter" idx="1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EBD320E1-93AF-16F2-EED5-09522A4ADA0C}"/>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012266F4-3B4C-A1D0-8A29-D8C1DC0EDCF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348303032"/>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 column / 2 row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5999" y="3564000"/>
            <a:ext cx="10368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5999" y="1439863"/>
            <a:ext cx="10368225" cy="287338"/>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3"/>
          </p:nvPr>
        </p:nvSpPr>
        <p:spPr>
          <a:xfrm>
            <a:off x="575999" y="1727202"/>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4"/>
          </p:nvPr>
        </p:nvSpPr>
        <p:spPr>
          <a:xfrm>
            <a:off x="575999" y="3853138"/>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0059966-F1E5-F92C-4885-151774AB91FD}"/>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E2433C84-0ABE-CAB6-2E0F-33677CE3580F}"/>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388F0923-CD7D-9D2B-BD82-14BEDBCF5C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40F701CC-7F99-F813-F1A2-E14811114042}"/>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4A52884D-5D03-64F8-9B2E-7F6A850E5E62}"/>
              </a:ext>
            </a:extLst>
          </p:cNvPr>
          <p:cNvSpPr>
            <a:spLocks noGrp="1"/>
          </p:cNvSpPr>
          <p:nvPr>
            <p:ph type="ftr" sz="quarter" idx="3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011997892"/>
      </p:ext>
    </p:extLst>
  </p:cSld>
  <p:clrMapOvr>
    <a:masterClrMapping/>
  </p:clrMapOvr>
  <p:extLst>
    <p:ext uri="{DCECCB84-F9BA-43D5-87BE-67443E8EF086}">
      <p15:sldGuideLst xmlns:p15="http://schemas.microsoft.com/office/powerpoint/2012/main">
        <p15:guide id="2" orient="horz" pos="2245">
          <p15:clr>
            <a:srgbClr val="FBAE40"/>
          </p15:clr>
        </p15:guide>
        <p15:guide id="3" orient="horz" pos="242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3 column / 1 row content Slate">
    <p:bg>
      <p:bgPr>
        <a:solidFill>
          <a:srgbClr val="00243D"/>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4" name="Content Placeholder 3"/>
          <p:cNvSpPr>
            <a:spLocks noGrp="1"/>
          </p:cNvSpPr>
          <p:nvPr>
            <p:ph sz="quarter" idx="35"/>
          </p:nvPr>
        </p:nvSpPr>
        <p:spPr>
          <a:xfrm>
            <a:off x="4140244"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quarter" idx="36"/>
          </p:nvPr>
        </p:nvSpPr>
        <p:spPr>
          <a:xfrm>
            <a:off x="7704225"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C81F6ED6-A4BF-2FB1-71FD-DDCECB305ED2}"/>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F803EAB-132F-D9A4-7708-1716A4EEEB4C}"/>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en-GB" dirty="0"/>
          </a:p>
        </p:txBody>
      </p:sp>
      <p:sp>
        <p:nvSpPr>
          <p:cNvPr id="5" name="Text Placeholder 7">
            <a:extLst>
              <a:ext uri="{FF2B5EF4-FFF2-40B4-BE49-F238E27FC236}">
                <a16:creationId xmlns:a16="http://schemas.microsoft.com/office/drawing/2014/main" id="{F118757F-522A-B0CB-DF1E-C5271902E03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9" name="Source">
            <a:extLst>
              <a:ext uri="{FF2B5EF4-FFF2-40B4-BE49-F238E27FC236}">
                <a16:creationId xmlns:a16="http://schemas.microsoft.com/office/drawing/2014/main" id="{D4F2FCA4-2B3F-A7D2-F208-EFBB6526E333}"/>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CC55B68F-393D-8575-23A4-0BAA9AA64C1B}"/>
              </a:ext>
            </a:extLst>
          </p:cNvPr>
          <p:cNvSpPr>
            <a:spLocks noGrp="1"/>
          </p:cNvSpPr>
          <p:nvPr>
            <p:ph type="ftr" sz="quarter" idx="37"/>
          </p:nvPr>
        </p:nvSpPr>
        <p:spPr/>
        <p:txBody>
          <a:bodyPr/>
          <a:lstStyle>
            <a:lvl1pPr>
              <a:defRPr>
                <a:solidFill>
                  <a:schemeClr val="bg1"/>
                </a:solidFill>
              </a:defRPr>
            </a:lvl1pPr>
          </a:lstStyle>
          <a:p>
            <a:r>
              <a:rPr lang="en-GB"/>
              <a:t>Information Classification: PUBLIC</a:t>
            </a:r>
            <a:endParaRPr lang="en-GB" dirty="0"/>
          </a:p>
        </p:txBody>
      </p:sp>
      <p:pic>
        <p:nvPicPr>
          <p:cNvPr id="8" name="Picture 7">
            <a:extLst>
              <a:ext uri="{FF2B5EF4-FFF2-40B4-BE49-F238E27FC236}">
                <a16:creationId xmlns:a16="http://schemas.microsoft.com/office/drawing/2014/main" id="{FEA66241-F473-31EC-0D11-5006CA7B5295}"/>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875282438"/>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5"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4"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BA6F7966-9C58-8CD0-EB54-7949A36B2D5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D3D92C08-B958-15FE-FD49-DBF1581FC99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810C05AB-7DB8-BC66-1DE5-33C205595285}"/>
              </a:ext>
            </a:extLst>
          </p:cNvPr>
          <p:cNvSpPr>
            <a:spLocks noGrp="1"/>
          </p:cNvSpPr>
          <p:nvPr>
            <p:ph type="ftr" sz="quarter" idx="36"/>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021556466"/>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7703780"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021"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20"/>
          </p:nvPr>
        </p:nvSpPr>
        <p:spPr>
          <a:xfrm>
            <a:off x="576263"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p:cNvSpPr>
            <a:spLocks noGrp="1"/>
          </p:cNvSpPr>
          <p:nvPr>
            <p:ph sz="quarter" idx="21"/>
          </p:nvPr>
        </p:nvSpPr>
        <p:spPr>
          <a:xfrm>
            <a:off x="4140021"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p:cNvSpPr>
            <a:spLocks noGrp="1"/>
          </p:cNvSpPr>
          <p:nvPr>
            <p:ph sz="quarter" idx="22"/>
          </p:nvPr>
        </p:nvSpPr>
        <p:spPr>
          <a:xfrm>
            <a:off x="7704225"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23"/>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1BB28D4C-0BFA-C698-9C0C-A247DB4AE46B}"/>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4AE33DC0-053B-603D-970B-1BC65594FF96}"/>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6072A373-88D4-F85D-8E0D-C8817D21B0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C904D0B-F57B-BCC7-7F1B-B815E631C130}"/>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EFC4DFC0-ACEF-2123-ED44-F5B45BB13D74}"/>
              </a:ext>
            </a:extLst>
          </p:cNvPr>
          <p:cNvSpPr>
            <a:spLocks noGrp="1"/>
          </p:cNvSpPr>
          <p:nvPr>
            <p:ph type="ftr" sz="quarter" idx="24"/>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784434105"/>
      </p:ext>
    </p:extLst>
  </p:cSld>
  <p:clrMapOvr>
    <a:masterClrMapping/>
  </p:clrMapOvr>
  <p:extLst>
    <p:ext uri="{DCECCB84-F9BA-43D5-87BE-67443E8EF086}">
      <p15:sldGuideLst xmlns:p15="http://schemas.microsoft.com/office/powerpoint/2012/main">
        <p15:guide id="2" pos="2404">
          <p15:clr>
            <a:srgbClr val="FBAE40"/>
          </p15:clr>
        </p15:guide>
        <p15:guide id="3" pos="2608">
          <p15:clr>
            <a:srgbClr val="FBAE40"/>
          </p15:clr>
        </p15:guide>
        <p15:guide id="4" pos="4649">
          <p15:clr>
            <a:srgbClr val="FBAE40"/>
          </p15:clr>
        </p15:guide>
        <p15:guide id="5" pos="485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 left / 2 row / 3 holders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3913" y="3565138"/>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3913" y="1439864"/>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312"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26698D0-2521-64ED-8751-7B6D3592AC9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9611A02-A2DC-3B9E-5EF4-D4582A30796F}"/>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7DA6D802-D6D7-C2D4-610B-48FF9C7C527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69D3CA3-2923-C54E-3240-4150E3B6BCC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9B4C7802-853B-0F96-AC61-6086FBB84459}"/>
              </a:ext>
            </a:extLst>
          </p:cNvPr>
          <p:cNvSpPr>
            <a:spLocks noGrp="1"/>
          </p:cNvSpPr>
          <p:nvPr>
            <p:ph type="ftr" sz="quarter" idx="3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30736293"/>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lumn left / 2 row / 3 content /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0" y="3565138"/>
            <a:ext cx="5040225"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863"/>
            <a:ext cx="5040225" cy="288000"/>
          </a:xfrm>
        </p:spPr>
        <p:txBody>
          <a:bodyPr/>
          <a:lstStyle>
            <a:lvl1pPr algn="ctr">
              <a:defRPr cap="all" spc="0" baseline="0"/>
            </a:lvl1pPr>
          </a:lstStyle>
          <a:p>
            <a:pPr lvl="0"/>
            <a:r>
              <a:rPr lang="en-US" dirty="0"/>
              <a:t>Single line heading</a:t>
            </a:r>
          </a:p>
        </p:txBody>
      </p:sp>
      <p:sp>
        <p:nvSpPr>
          <p:cNvPr id="12" name="Text Placeholder 12"/>
          <p:cNvSpPr>
            <a:spLocks noGrp="1"/>
          </p:cNvSpPr>
          <p:nvPr>
            <p:ph type="body" sz="quarter" idx="32" hasCustomPrompt="1"/>
          </p:nvPr>
        </p:nvSpPr>
        <p:spPr>
          <a:xfrm>
            <a:off x="576576"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575" y="1727863"/>
            <a:ext cx="5040000"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0" y="1727863"/>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904000" y="3853138"/>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22BA321-2CD4-3A08-93E3-C8C284B7441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1DD39DFC-DD77-E691-5507-50B85487AA6E}"/>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C1083F14-78BF-C3DB-606D-CB1ACE43FF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133AD5CD-4FEC-89F9-5892-9A1FA51C18EC}"/>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39CD727F-450A-5625-C752-19D053492663}"/>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544098406"/>
      </p:ext>
    </p:extLst>
  </p:cSld>
  <p:clrMapOvr>
    <a:masterClrMapping/>
  </p:clrMapOvr>
  <p:extLst>
    <p:ext uri="{DCECCB84-F9BA-43D5-87BE-67443E8EF086}">
      <p15:sldGuideLst xmlns:p15="http://schemas.microsoft.com/office/powerpoint/2012/main">
        <p15:guide id="1" pos="3538">
          <p15:clr>
            <a:srgbClr val="FBAE40"/>
          </p15:clr>
        </p15:guide>
        <p15:guide id="4" orient="horz" pos="2245">
          <p15:clr>
            <a:srgbClr val="FBAE40"/>
          </p15:clr>
        </p15:guide>
        <p15:guide id="5" pos="3719">
          <p15:clr>
            <a:srgbClr val="FBAE40"/>
          </p15:clr>
        </p15:guide>
        <p15:guide id="6" orient="horz" pos="2154">
          <p15:clr>
            <a:srgbClr val="FBAE40"/>
          </p15:clr>
        </p15:guide>
        <p15:guide id="7" orient="horz" pos="242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olumn right / 2 row / 3 holders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903913" y="1439863"/>
            <a:ext cx="5040312"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Content Placeholder 3"/>
          <p:cNvSpPr>
            <a:spLocks noGrp="1"/>
          </p:cNvSpPr>
          <p:nvPr>
            <p:ph sz="quarter" idx="36"/>
          </p:nvPr>
        </p:nvSpPr>
        <p:spPr>
          <a:xfrm>
            <a:off x="576263" y="3565138"/>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76263" y="1439862"/>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0D62CA40-C446-DE3A-3F62-1CD2523FFED4}"/>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CEA01CF5-1536-7364-56D6-B82AE92DC6F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5" name="Text Placeholder 7">
            <a:extLst>
              <a:ext uri="{FF2B5EF4-FFF2-40B4-BE49-F238E27FC236}">
                <a16:creationId xmlns:a16="http://schemas.microsoft.com/office/drawing/2014/main" id="{730D60C1-A2D2-7D48-E192-412E4C0CE4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FCD9076-2389-16F2-8C25-1E3DFD52722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7B15FEFB-19D4-5E31-1851-35E99F165E0D}"/>
              </a:ext>
            </a:extLst>
          </p:cNvPr>
          <p:cNvSpPr>
            <a:spLocks noGrp="1"/>
          </p:cNvSpPr>
          <p:nvPr>
            <p:ph type="ftr" sz="quarter" idx="3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488348344"/>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lumn right / 2 row / 3 content / chart / table single head">
    <p:spTree>
      <p:nvGrpSpPr>
        <p:cNvPr id="1" name=""/>
        <p:cNvGrpSpPr/>
        <p:nvPr/>
      </p:nvGrpSpPr>
      <p:grpSpPr>
        <a:xfrm>
          <a:off x="0" y="0"/>
          <a:ext cx="0" cy="0"/>
          <a:chOff x="0" y="0"/>
          <a:chExt cx="0" cy="0"/>
        </a:xfrm>
      </p:grpSpPr>
      <p:sp>
        <p:nvSpPr>
          <p:cNvPr id="12" name="Text Placeholder 12"/>
          <p:cNvSpPr>
            <a:spLocks noGrp="1"/>
          </p:cNvSpPr>
          <p:nvPr>
            <p:ph type="body" sz="quarter" idx="31" hasCustomPrompt="1"/>
          </p:nvPr>
        </p:nvSpPr>
        <p:spPr>
          <a:xfrm>
            <a:off x="5904000" y="1439200"/>
            <a:ext cx="5040225" cy="288000"/>
          </a:xfrm>
        </p:spPr>
        <p:txBody>
          <a:bodyPr/>
          <a:lstStyle>
            <a:lvl1pPr algn="ctr">
              <a:defRPr cap="all" spc="0" baseline="0"/>
            </a:lvl1pPr>
          </a:lstStyle>
          <a:p>
            <a:pPr lvl="0"/>
            <a:r>
              <a:rPr lang="en-US" dirty="0"/>
              <a:t>Single line heading</a:t>
            </a:r>
          </a:p>
        </p:txBody>
      </p:sp>
      <p:sp>
        <p:nvSpPr>
          <p:cNvPr id="28" name="Text Placeholder 12"/>
          <p:cNvSpPr>
            <a:spLocks noGrp="1"/>
          </p:cNvSpPr>
          <p:nvPr>
            <p:ph type="body" sz="quarter" idx="25"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76262" y="1439200"/>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0" y="1727200"/>
            <a:ext cx="5040225"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76262"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E356C9DB-EDC0-8086-5F36-681E2917C961}"/>
              </a:ext>
            </a:extLst>
          </p:cNvPr>
          <p:cNvSpPr>
            <a:spLocks noGrp="1"/>
          </p:cNvSpPr>
          <p:nvPr>
            <p:ph type="title"/>
          </p:nvPr>
        </p:nvSpPr>
        <p:spPr/>
        <p:txBody>
          <a:bodyPr/>
          <a:lstStyle/>
          <a:p>
            <a:r>
              <a:rPr lang="en-US"/>
              <a:t>Click to edit Master title style</a:t>
            </a:r>
            <a:endParaRPr lang="en-GB"/>
          </a:p>
        </p:txBody>
      </p:sp>
      <p:sp>
        <p:nvSpPr>
          <p:cNvPr id="8" name="Text Placeholder 5">
            <a:extLst>
              <a:ext uri="{FF2B5EF4-FFF2-40B4-BE49-F238E27FC236}">
                <a16:creationId xmlns:a16="http://schemas.microsoft.com/office/drawing/2014/main" id="{13B50EBA-E808-3D67-C9C6-750D5B04E59D}"/>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4" name="Text Placeholder 7">
            <a:extLst>
              <a:ext uri="{FF2B5EF4-FFF2-40B4-BE49-F238E27FC236}">
                <a16:creationId xmlns:a16="http://schemas.microsoft.com/office/drawing/2014/main" id="{6A92A633-2161-2680-45A7-DC1FDE66F17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55C9E159-C001-B84C-F0D1-E738F5DDE49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612F6025-6A3B-6017-F8E9-AD9FA3F21733}"/>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229931836"/>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D4096F1-C6EE-E82A-2476-9991E00C0123}"/>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47FCA9B0-2250-2F22-ACC8-2E7D0F31DF26}"/>
              </a:ext>
            </a:extLst>
          </p:cNvPr>
          <p:cNvSpPr>
            <a:spLocks noGrp="1"/>
          </p:cNvSpPr>
          <p:nvPr>
            <p:ph type="title"/>
          </p:nvPr>
        </p:nvSpPr>
        <p:spPr/>
        <p:txBody>
          <a:bodyPr/>
          <a:lstStyle/>
          <a:p>
            <a:r>
              <a:rPr lang="en-US"/>
              <a:t>Click to edit Master title style</a:t>
            </a:r>
            <a:endParaRPr lang="en-GB"/>
          </a:p>
        </p:txBody>
      </p:sp>
      <p:sp>
        <p:nvSpPr>
          <p:cNvPr id="9" name="Text Placeholder 7">
            <a:extLst>
              <a:ext uri="{FF2B5EF4-FFF2-40B4-BE49-F238E27FC236}">
                <a16:creationId xmlns:a16="http://schemas.microsoft.com/office/drawing/2014/main" id="{CF1AD9B8-ACD3-DB32-48E2-5DD624C9DA0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5" name="Source">
            <a:extLst>
              <a:ext uri="{FF2B5EF4-FFF2-40B4-BE49-F238E27FC236}">
                <a16:creationId xmlns:a16="http://schemas.microsoft.com/office/drawing/2014/main" id="{DE83F7C4-AD59-75CF-A1CA-163DA343C6C9}"/>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2" name="Footer Placeholder 1">
            <a:extLst>
              <a:ext uri="{FF2B5EF4-FFF2-40B4-BE49-F238E27FC236}">
                <a16:creationId xmlns:a16="http://schemas.microsoft.com/office/drawing/2014/main" id="{19E732DC-BC99-7658-66E1-20847DA6E9D3}"/>
              </a:ext>
            </a:extLst>
          </p:cNvPr>
          <p:cNvSpPr>
            <a:spLocks noGrp="1"/>
          </p:cNvSpPr>
          <p:nvPr>
            <p:ph type="ftr" sz="quarter" idx="3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492346965"/>
      </p:ext>
    </p:extLst>
  </p:cSld>
  <p:clrMapOvr>
    <a:masterClrMapping/>
  </p:clrMapOvr>
  <p:extLst>
    <p:ext uri="{DCECCB84-F9BA-43D5-87BE-67443E8EF086}">
      <p15:sldGuideLst xmlns:p15="http://schemas.microsoft.com/office/powerpoint/2012/main">
        <p15:guide id="1" pos="1869">
          <p15:clr>
            <a:srgbClr val="FBAE40"/>
          </p15:clr>
        </p15:guide>
        <p15:guide id="2" orient="horz" pos="2245">
          <p15:clr>
            <a:srgbClr val="FBAE40"/>
          </p15:clr>
        </p15:guide>
        <p15:guide id="3" pos="2065">
          <p15:clr>
            <a:srgbClr val="FBAE40"/>
          </p15:clr>
        </p15:guide>
        <p15:guide id="4" pos="3530">
          <p15:clr>
            <a:srgbClr val="FBAE40"/>
          </p15:clr>
        </p15:guide>
        <p15:guide id="5" pos="3727">
          <p15:clr>
            <a:srgbClr val="FBAE40"/>
          </p15:clr>
        </p15:guide>
        <p15:guide id="6" pos="5216">
          <p15:clr>
            <a:srgbClr val="FBAE40"/>
          </p15:clr>
        </p15:guide>
        <p15:guide id="7" pos="5398">
          <p15:clr>
            <a:srgbClr val="FBAE40"/>
          </p15:clr>
        </p15:guide>
        <p15:guide id="8" orient="horz" pos="215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225" y="1439200"/>
            <a:ext cx="2376000" cy="4105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12"/>
          <p:cNvSpPr>
            <a:spLocks noGrp="1"/>
          </p:cNvSpPr>
          <p:nvPr>
            <p:ph type="body" sz="quarter" idx="21" hasCustomPrompt="1"/>
          </p:nvPr>
        </p:nvSpPr>
        <p:spPr>
          <a:xfrm>
            <a:off x="576262" y="3565138"/>
            <a:ext cx="7704137"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2" y="1439200"/>
            <a:ext cx="7704137"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5"/>
          </p:nvPr>
        </p:nvSpPr>
        <p:spPr>
          <a:xfrm>
            <a:off x="576262" y="1727200"/>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6"/>
          </p:nvPr>
        </p:nvSpPr>
        <p:spPr>
          <a:xfrm>
            <a:off x="576262" y="3853138"/>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F47BFAC-52D3-376D-CF45-680B0A4674B0}"/>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229D730-6FCC-941C-CFCB-0A4F3DAE9FF7}"/>
              </a:ext>
            </a:extLst>
          </p:cNvPr>
          <p:cNvSpPr>
            <a:spLocks noGrp="1"/>
          </p:cNvSpPr>
          <p:nvPr>
            <p:ph type="title"/>
          </p:nvPr>
        </p:nvSpPr>
        <p:spPr/>
        <p:txBody>
          <a:bodyPr/>
          <a:lstStyle/>
          <a:p>
            <a:r>
              <a:rPr lang="en-US"/>
              <a:t>Click to edit Master title style</a:t>
            </a:r>
            <a:endParaRPr lang="en-GB"/>
          </a:p>
        </p:txBody>
      </p:sp>
      <p:sp>
        <p:nvSpPr>
          <p:cNvPr id="10" name="Text Placeholder 7">
            <a:extLst>
              <a:ext uri="{FF2B5EF4-FFF2-40B4-BE49-F238E27FC236}">
                <a16:creationId xmlns:a16="http://schemas.microsoft.com/office/drawing/2014/main" id="{88D15D27-E510-F219-B5D2-1D7FB2CD72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7079509B-4681-1FAD-981E-BEE7E6605C4B}"/>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2" name="Footer Placeholder 1">
            <a:extLst>
              <a:ext uri="{FF2B5EF4-FFF2-40B4-BE49-F238E27FC236}">
                <a16:creationId xmlns:a16="http://schemas.microsoft.com/office/drawing/2014/main" id="{1AB15E7C-B190-3EEA-C6C0-916AE117FC31}"/>
              </a:ext>
            </a:extLst>
          </p:cNvPr>
          <p:cNvSpPr>
            <a:spLocks noGrp="1"/>
          </p:cNvSpPr>
          <p:nvPr>
            <p:ph type="ftr" sz="quarter" idx="3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001693457"/>
      </p:ext>
    </p:extLst>
  </p:cSld>
  <p:clrMapOvr>
    <a:masterClrMapping/>
  </p:clrMapOvr>
  <p:extLst>
    <p:ext uri="{DCECCB84-F9BA-43D5-87BE-67443E8EF086}">
      <p15:sldGuideLst xmlns:p15="http://schemas.microsoft.com/office/powerpoint/2012/main">
        <p15:guide id="2" orient="horz" pos="2245">
          <p15:clr>
            <a:srgbClr val="FBAE40"/>
          </p15:clr>
        </p15:guide>
        <p15:guide id="4" orient="horz" pos="2427">
          <p15:clr>
            <a:srgbClr val="FBAE40"/>
          </p15:clr>
        </p15:guide>
        <p15:guide id="8" pos="5216">
          <p15:clr>
            <a:srgbClr val="FBAE40"/>
          </p15:clr>
        </p15:guide>
        <p15:guide id="9" pos="5398">
          <p15:clr>
            <a:srgbClr val="FBAE40"/>
          </p15:clr>
        </p15:guide>
        <p15:guide id="10" orient="horz" pos="215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4"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864000" y="1636384"/>
            <a:ext cx="10080225" cy="467291"/>
          </a:xfrm>
          <a:prstGeom prst="rect">
            <a:avLst/>
          </a:prstGeom>
        </p:spPr>
        <p:txBody>
          <a:bodyPr lIns="0" anchor="b" anchorCtr="0"/>
          <a:lstStyle>
            <a:lvl1pPr marL="0" indent="0">
              <a:lnSpc>
                <a:spcPts val="5400"/>
              </a:lnSpc>
              <a:buNone/>
              <a:defRPr sz="3200" b="0" spc="0" baseline="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A Formal and Expressiv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D15A86B2-FFF4-FDA9-2F29-CFCB02579D1B}"/>
              </a:ext>
            </a:extLst>
          </p:cNvPr>
          <p:cNvSpPr/>
          <p:nvPr userDrawn="1"/>
        </p:nvSpPr>
        <p:spPr>
          <a:xfrm>
            <a:off x="0" y="1727200"/>
            <a:ext cx="576000" cy="1735191"/>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 name="Source">
            <a:extLst>
              <a:ext uri="{FF2B5EF4-FFF2-40B4-BE49-F238E27FC236}">
                <a16:creationId xmlns:a16="http://schemas.microsoft.com/office/drawing/2014/main" id="{C4FFF66D-DFB9-511F-FC1C-94DBD1CD612E}"/>
              </a:ext>
            </a:extLst>
          </p:cNvPr>
          <p:cNvSpPr>
            <a:spLocks noGrp="1"/>
          </p:cNvSpPr>
          <p:nvPr>
            <p:ph sz="quarter" idx="14" hasCustomPrompt="1"/>
          </p:nvPr>
        </p:nvSpPr>
        <p:spPr>
          <a:xfrm>
            <a:off x="863599" y="4752000"/>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13C149E9-955A-56BF-F534-80B0D096BCFE}"/>
              </a:ext>
            </a:extLst>
          </p:cNvPr>
          <p:cNvPicPr>
            <a:picLocks noChangeAspect="1"/>
          </p:cNvPicPr>
          <p:nvPr userDrawn="1"/>
        </p:nvPicPr>
        <p:blipFill>
          <a:blip r:embed="rId2"/>
          <a:stretch>
            <a:fillRect/>
          </a:stretch>
        </p:blipFill>
        <p:spPr>
          <a:xfrm>
            <a:off x="8385530" y="5910233"/>
            <a:ext cx="2606936" cy="209513"/>
          </a:xfrm>
          <a:prstGeom prst="rect">
            <a:avLst/>
          </a:prstGeom>
        </p:spPr>
      </p:pic>
    </p:spTree>
    <p:extLst>
      <p:ext uri="{BB962C8B-B14F-4D97-AF65-F5344CB8AC3E}">
        <p14:creationId xmlns:p14="http://schemas.microsoft.com/office/powerpoint/2010/main" val="2117075907"/>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 column / 1 row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3" name="Content Placeholder 3"/>
          <p:cNvSpPr>
            <a:spLocks noGrp="1"/>
          </p:cNvSpPr>
          <p:nvPr>
            <p:ph sz="quarter" idx="33"/>
          </p:nvPr>
        </p:nvSpPr>
        <p:spPr>
          <a:xfrm>
            <a:off x="5903914" y="1439863"/>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A5A366EC-6E5A-A817-8036-12FD9D59714D}"/>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Footer Placeholder 6">
            <a:extLst>
              <a:ext uri="{FF2B5EF4-FFF2-40B4-BE49-F238E27FC236}">
                <a16:creationId xmlns:a16="http://schemas.microsoft.com/office/drawing/2014/main" id="{EBC015D3-F075-C2CD-A944-3A90F33B3517}"/>
              </a:ext>
            </a:extLst>
          </p:cNvPr>
          <p:cNvSpPr>
            <a:spLocks noGrp="1"/>
          </p:cNvSpPr>
          <p:nvPr>
            <p:ph type="ftr" sz="quarter" idx="34"/>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8" name="Title 7">
            <a:extLst>
              <a:ext uri="{FF2B5EF4-FFF2-40B4-BE49-F238E27FC236}">
                <a16:creationId xmlns:a16="http://schemas.microsoft.com/office/drawing/2014/main" id="{09437FAA-C523-8FC9-5DCE-6ADA81833F9F}"/>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9" name="Source">
            <a:extLst>
              <a:ext uri="{FF2B5EF4-FFF2-40B4-BE49-F238E27FC236}">
                <a16:creationId xmlns:a16="http://schemas.microsoft.com/office/drawing/2014/main" id="{917047E8-76CB-8C8C-051A-0EBC6780F6E0}"/>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5833639-D591-2145-69FC-3F9FBBBFAABF}"/>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10" name="Picture 9">
            <a:extLst>
              <a:ext uri="{FF2B5EF4-FFF2-40B4-BE49-F238E27FC236}">
                <a16:creationId xmlns:a16="http://schemas.microsoft.com/office/drawing/2014/main" id="{9942B435-657C-BFF4-3F41-340007A26E31}"/>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3157851966"/>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CD5C72F-2C7D-0484-5585-E551B8042C25}"/>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C1D71A4D-730A-B994-13C3-E1B7C0A18ABB}"/>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71EE486D-375B-91E9-4A72-2FC3144C8B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D5351088-8D16-5B6C-6130-A7A6CE00AC9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7" name="Footer Placeholder 6">
            <a:extLst>
              <a:ext uri="{FF2B5EF4-FFF2-40B4-BE49-F238E27FC236}">
                <a16:creationId xmlns:a16="http://schemas.microsoft.com/office/drawing/2014/main" id="{32DEE5ED-5AE7-6263-AF97-9AE87EE608D2}"/>
              </a:ext>
            </a:extLst>
          </p:cNvPr>
          <p:cNvSpPr>
            <a:spLocks noGrp="1"/>
          </p:cNvSpPr>
          <p:nvPr>
            <p:ph type="ftr" sz="quarter" idx="3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806966943"/>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3" y="3560159"/>
            <a:ext cx="10367962"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201"/>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1"/>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904000"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76263" y="3853138"/>
            <a:ext cx="10367962"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A56F695-75C9-CEB0-4844-E59FB0D4F535}"/>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0C1EA23C-1F59-46F2-FB9D-A572C224D02A}"/>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E7819F1C-2879-E74C-536D-B739D47A25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7B2C5234-8AB3-DFA6-DCFD-DF8617F8331D}"/>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C5CD38F4-F89C-C86F-9D77-A8D2C34A30CD}"/>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454706106"/>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ontent">
    <p:spTree>
      <p:nvGrpSpPr>
        <p:cNvPr id="1" name=""/>
        <p:cNvGrpSpPr/>
        <p:nvPr/>
      </p:nvGrpSpPr>
      <p:grpSpPr>
        <a:xfrm>
          <a:off x="0" y="0"/>
          <a:ext cx="0" cy="0"/>
          <a:chOff x="0" y="0"/>
          <a:chExt cx="0" cy="0"/>
        </a:xfrm>
      </p:grpSpPr>
      <p:sp>
        <p:nvSpPr>
          <p:cNvPr id="34" name="Content Placeholder 3"/>
          <p:cNvSpPr>
            <a:spLocks noGrp="1"/>
          </p:cNvSpPr>
          <p:nvPr>
            <p:ph sz="quarter" idx="32"/>
          </p:nvPr>
        </p:nvSpPr>
        <p:spPr>
          <a:xfrm>
            <a:off x="590391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4" y="1439863"/>
            <a:ext cx="10367961"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679BDD-CE63-1679-1833-D72D3C799438}"/>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A9E188B-F8E0-A87C-3837-DF1B2648E933}"/>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8350C8C9-58BE-0919-E49F-8ABF880FAA7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F18EAAD8-ACC0-1327-4DAA-FB48EDB33EAD}"/>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7F9C4507-AB70-9724-9612-B0C9CE9A7D8A}"/>
              </a:ext>
            </a:extLst>
          </p:cNvPr>
          <p:cNvSpPr>
            <a:spLocks noGrp="1"/>
          </p:cNvSpPr>
          <p:nvPr>
            <p:ph type="ftr" sz="quarter" idx="3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615746796"/>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4" y="1439200"/>
            <a:ext cx="10367961"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85686" y="1727200"/>
            <a:ext cx="10358539"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0C5BFF7-FDDA-6BAD-7A25-967E674E4BDA}"/>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436CBEA5-8C1A-8E04-4B29-172AEB8EAEB8}"/>
              </a:ext>
            </a:extLst>
          </p:cNvPr>
          <p:cNvSpPr>
            <a:spLocks noGrp="1"/>
          </p:cNvSpPr>
          <p:nvPr>
            <p:ph type="title"/>
          </p:nvPr>
        </p:nvSpPr>
        <p:spPr/>
        <p:txBody>
          <a:bodyPr/>
          <a:lstStyle/>
          <a:p>
            <a:r>
              <a:rPr lang="en-US" dirty="0"/>
              <a:t>Click to edit Master title style</a:t>
            </a:r>
            <a:endParaRPr lang="en-GB" dirty="0"/>
          </a:p>
        </p:txBody>
      </p:sp>
      <p:sp>
        <p:nvSpPr>
          <p:cNvPr id="4" name="Text Placeholder 7">
            <a:extLst>
              <a:ext uri="{FF2B5EF4-FFF2-40B4-BE49-F238E27FC236}">
                <a16:creationId xmlns:a16="http://schemas.microsoft.com/office/drawing/2014/main" id="{66374472-FEC3-5C92-BD54-BED2F780FE6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64AD864A-0FB9-080C-5D46-C8386FE5E27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4591A440-60F7-1E8F-B19D-4F8DA5D83C66}"/>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837578874"/>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column / 2 row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4225"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3"/>
          <p:cNvSpPr>
            <a:spLocks noGrp="1"/>
          </p:cNvSpPr>
          <p:nvPr>
            <p:ph sz="quarter" idx="34"/>
          </p:nvPr>
        </p:nvSpPr>
        <p:spPr>
          <a:xfrm>
            <a:off x="57626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70859E9E-72A3-3AEE-BFFC-E474401FC1A0}"/>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36850F0-2C40-2747-EC2B-3FD083BD086A}"/>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B074EE8B-0935-4F56-AEAC-B12D6D0D323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7F7D2DE6-0463-8A29-1205-3E1E0F4142C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89B626C2-87EA-69F2-A2CD-9C006D128352}"/>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360265352"/>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lumn / 2 row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863"/>
            <a:ext cx="50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5904000"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5C90E72-9A82-24C3-D553-39FC04F223CE}"/>
              </a:ext>
            </a:extLst>
          </p:cNvPr>
          <p:cNvSpPr>
            <a:spLocks noGrp="1"/>
          </p:cNvSpPr>
          <p:nvPr>
            <p:ph type="body" sz="quarter" idx="43"/>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395F06EF-1414-CC23-0AA4-F4017405E091}"/>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13030BF9-A11C-7ED4-6186-BF09C16D35B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CC446FE1-48B6-53A2-2925-D5CBFDF4A83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237AF513-49D4-BA26-5936-48B8B2BAB5DC}"/>
              </a:ext>
            </a:extLst>
          </p:cNvPr>
          <p:cNvSpPr>
            <a:spLocks noGrp="1"/>
          </p:cNvSpPr>
          <p:nvPr>
            <p:ph type="ftr" sz="quarter" idx="44"/>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974289525"/>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4 column / 1 row content Slate">
    <p:bg>
      <p:bgPr>
        <a:solidFill>
          <a:srgbClr val="00243D"/>
        </a:solidFill>
        <a:effectLst/>
      </p:bgPr>
    </p:bg>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0"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400A898-523F-16FE-DBF1-D7B6AB441200}"/>
              </a:ext>
            </a:extLst>
          </p:cNvPr>
          <p:cNvSpPr>
            <a:spLocks noGrp="1"/>
          </p:cNvSpPr>
          <p:nvPr>
            <p:ph type="body" sz="quarter" idx="35"/>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F8FF0EEC-78FD-38BF-AEDF-B41F523888D5}"/>
              </a:ext>
            </a:extLst>
          </p:cNvPr>
          <p:cNvSpPr>
            <a:spLocks noGrp="1"/>
          </p:cNvSpPr>
          <p:nvPr>
            <p:ph type="title"/>
          </p:nvPr>
        </p:nvSpPr>
        <p:spPr/>
        <p:txBody>
          <a:bodyPr/>
          <a:lstStyle>
            <a:lvl1pPr>
              <a:defRPr>
                <a:solidFill>
                  <a:schemeClr val="bg2"/>
                </a:solidFill>
              </a:defRPr>
            </a:lvl1pPr>
          </a:lstStyle>
          <a:p>
            <a:r>
              <a:rPr lang="en-US" dirty="0"/>
              <a:t>Click to edit Master title style</a:t>
            </a:r>
            <a:endParaRPr lang="en-GB" dirty="0"/>
          </a:p>
        </p:txBody>
      </p:sp>
      <p:sp>
        <p:nvSpPr>
          <p:cNvPr id="5" name="Text Placeholder 7">
            <a:extLst>
              <a:ext uri="{FF2B5EF4-FFF2-40B4-BE49-F238E27FC236}">
                <a16:creationId xmlns:a16="http://schemas.microsoft.com/office/drawing/2014/main" id="{B058B8C1-D147-9132-4EC2-756651BFA724}"/>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10" name="Source">
            <a:extLst>
              <a:ext uri="{FF2B5EF4-FFF2-40B4-BE49-F238E27FC236}">
                <a16:creationId xmlns:a16="http://schemas.microsoft.com/office/drawing/2014/main" id="{3CA1D355-C66B-3853-E2F0-1FE6257DCDA4}"/>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0FBF074E-2BD3-FC2C-EED0-4555AE5081D6}"/>
              </a:ext>
            </a:extLst>
          </p:cNvPr>
          <p:cNvSpPr>
            <a:spLocks noGrp="1"/>
          </p:cNvSpPr>
          <p:nvPr>
            <p:ph type="ftr" sz="quarter" idx="36"/>
          </p:nvPr>
        </p:nvSpPr>
        <p:spPr/>
        <p:txBody>
          <a:bodyPr/>
          <a:lstStyle>
            <a:lvl1pPr>
              <a:defRPr>
                <a:solidFill>
                  <a:schemeClr val="bg1"/>
                </a:solidFill>
              </a:defRPr>
            </a:lvl1pPr>
          </a:lstStyle>
          <a:p>
            <a:r>
              <a:rPr lang="en-GB"/>
              <a:t>Information Classification: PUBLIC</a:t>
            </a:r>
            <a:endParaRPr lang="en-GB" dirty="0"/>
          </a:p>
        </p:txBody>
      </p:sp>
      <p:pic>
        <p:nvPicPr>
          <p:cNvPr id="8" name="Picture 7">
            <a:extLst>
              <a:ext uri="{FF2B5EF4-FFF2-40B4-BE49-F238E27FC236}">
                <a16:creationId xmlns:a16="http://schemas.microsoft.com/office/drawing/2014/main" id="{59897245-68BE-60DB-5350-119BDB809A6E}"/>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955984852"/>
      </p:ext>
    </p:extLst>
  </p:cSld>
  <p:clrMapOvr>
    <a:masterClrMapping/>
  </p:clrMapOvr>
  <p:extLst>
    <p:ext uri="{DCECCB84-F9BA-43D5-87BE-67443E8EF086}">
      <p15:sldGuideLst xmlns:p15="http://schemas.microsoft.com/office/powerpoint/2012/main">
        <p15:guide id="1" pos="1859">
          <p15:clr>
            <a:srgbClr val="FBAE40"/>
          </p15:clr>
        </p15:guide>
        <p15:guide id="2" orient="horz" pos="223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0"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43C7749-ABE2-0F6F-FAA2-4223033AF415}"/>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A81CEA5E-40F8-4E72-AEB3-F3BB67DF8B8A}"/>
              </a:ext>
            </a:extLst>
          </p:cNvPr>
          <p:cNvSpPr>
            <a:spLocks noGrp="1"/>
          </p:cNvSpPr>
          <p:nvPr>
            <p:ph type="title"/>
          </p:nvPr>
        </p:nvSpPr>
        <p:spPr/>
        <p:txBody>
          <a:bodyPr/>
          <a:lstStyle/>
          <a:p>
            <a:r>
              <a:rPr lang="en-US" dirty="0"/>
              <a:t>Click to edit Master title style</a:t>
            </a:r>
            <a:endParaRPr lang="en-GB" dirty="0"/>
          </a:p>
        </p:txBody>
      </p:sp>
      <p:sp>
        <p:nvSpPr>
          <p:cNvPr id="5" name="Text Placeholder 7">
            <a:extLst>
              <a:ext uri="{FF2B5EF4-FFF2-40B4-BE49-F238E27FC236}">
                <a16:creationId xmlns:a16="http://schemas.microsoft.com/office/drawing/2014/main" id="{588C8E1B-F5BC-3818-9DE5-CDC9F288EF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4D610BA7-BAF3-3966-EA51-04BA9E4B9DF5}"/>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D6032B98-C51E-8727-3557-FF470A1E0615}"/>
              </a:ext>
            </a:extLst>
          </p:cNvPr>
          <p:cNvSpPr>
            <a:spLocks noGrp="1"/>
          </p:cNvSpPr>
          <p:nvPr>
            <p:ph type="ftr" sz="quarter" idx="36"/>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670641354"/>
      </p:ext>
    </p:extLst>
  </p:cSld>
  <p:clrMapOvr>
    <a:masterClrMapping/>
  </p:clrMapOvr>
  <p:extLst>
    <p:ext uri="{DCECCB84-F9BA-43D5-87BE-67443E8EF086}">
      <p15:sldGuideLst xmlns:p15="http://schemas.microsoft.com/office/powerpoint/2012/main">
        <p15:guide id="1" pos="1859">
          <p15:clr>
            <a:srgbClr val="FBAE40"/>
          </p15:clr>
        </p15:guide>
        <p15:guide id="2" orient="horz" pos="223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8568225" y="1439200"/>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237" y="1439200"/>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250" y="1439200"/>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0"/>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3240250"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904237"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8568225" y="1727200"/>
            <a:ext cx="2376000" cy="3817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85B2BD3-D748-272B-4A4E-A704340EBC25}"/>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32F7E86B-6E5F-A86B-F551-51EFE4852A14}"/>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31DA3D94-D8A6-2244-551F-C387680E40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3A17D449-9D6A-FD7D-38FA-1247BFB9A4A9}"/>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2" name="Footer Placeholder 11">
            <a:extLst>
              <a:ext uri="{FF2B5EF4-FFF2-40B4-BE49-F238E27FC236}">
                <a16:creationId xmlns:a16="http://schemas.microsoft.com/office/drawing/2014/main" id="{E6D39A8F-1B16-2403-AFE1-5839B5FDEF68}"/>
              </a:ext>
            </a:extLst>
          </p:cNvPr>
          <p:cNvSpPr>
            <a:spLocks noGrp="1"/>
          </p:cNvSpPr>
          <p:nvPr>
            <p:ph type="ftr" sz="quarter" idx="43"/>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132284886"/>
      </p:ext>
    </p:extLst>
  </p:cSld>
  <p:clrMapOvr>
    <a:masterClrMapping/>
  </p:clrMapOvr>
  <p:extLst>
    <p:ext uri="{DCECCB84-F9BA-43D5-87BE-67443E8EF086}">
      <p15:sldGuideLst xmlns:p15="http://schemas.microsoft.com/office/powerpoint/2012/main">
        <p15:guide id="1" pos="3538">
          <p15:clr>
            <a:srgbClr val="FBAE40"/>
          </p15:clr>
        </p15:guide>
        <p15:guide id="2" orient="horz" pos="2200">
          <p15:clr>
            <a:srgbClr val="FBAE40"/>
          </p15:clr>
        </p15:guide>
        <p15:guide id="4" orient="horz" pos="2381">
          <p15:clr>
            <a:srgbClr val="FBAE40"/>
          </p15:clr>
        </p15:guide>
        <p15:guide id="5" pos="1859">
          <p15:clr>
            <a:srgbClr val="FBAE40"/>
          </p15:clr>
        </p15:guide>
        <p15:guide id="6" pos="2041">
          <p15:clr>
            <a:srgbClr val="FBAE40"/>
          </p15:clr>
        </p15:guide>
        <p15:guide id="7" pos="3719">
          <p15:clr>
            <a:srgbClr val="FBAE40"/>
          </p15:clr>
        </p15:guide>
        <p15:guide id="8" pos="5216">
          <p15:clr>
            <a:srgbClr val="FBAE40"/>
          </p15:clr>
        </p15:guide>
        <p15:guide id="9" pos="539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 column / 2 row content / 5 items">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0573"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38418"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38418"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20C087E-0CC4-E5AC-6F3F-ED16E3693240}"/>
              </a:ext>
            </a:extLst>
          </p:cNvPr>
          <p:cNvSpPr>
            <a:spLocks noGrp="1"/>
          </p:cNvSpPr>
          <p:nvPr>
            <p:ph type="body" sz="quarter" idx="37"/>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6525F31-1DCC-8491-B1E1-D86991ADF42B}"/>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EF9B7F4C-9231-FA3F-46CB-59DCE145B05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8965EE2A-34CF-FE91-63B8-61E076AAD63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38202FE4-E484-C3E4-FE43-91D0693019B5}"/>
              </a:ext>
            </a:extLst>
          </p:cNvPr>
          <p:cNvSpPr>
            <a:spLocks noGrp="1"/>
          </p:cNvSpPr>
          <p:nvPr>
            <p:ph type="ftr" sz="quarter" idx="3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794446792"/>
      </p:ext>
    </p:extLst>
  </p:cSld>
  <p:clrMapOvr>
    <a:masterClrMapping/>
  </p:clrMapOvr>
  <p:extLst>
    <p:ext uri="{DCECCB84-F9BA-43D5-87BE-67443E8EF086}">
      <p15:sldGuideLst xmlns:p15="http://schemas.microsoft.com/office/powerpoint/2012/main">
        <p15:guide id="1" pos="2404">
          <p15:clr>
            <a:srgbClr val="FBAE40"/>
          </p15:clr>
        </p15:guide>
        <p15:guide id="2" orient="horz" pos="2200">
          <p15:clr>
            <a:srgbClr val="FBAE40"/>
          </p15:clr>
        </p15:guide>
        <p15:guide id="3" pos="2608">
          <p15:clr>
            <a:srgbClr val="FBAE40"/>
          </p15:clr>
        </p15:guide>
        <p15:guide id="4" pos="4649">
          <p15:clr>
            <a:srgbClr val="FBAE40"/>
          </p15:clr>
        </p15:guide>
        <p15:guide id="5" pos="4853">
          <p15:clr>
            <a:srgbClr val="FBAE40"/>
          </p15:clr>
        </p15:guide>
        <p15:guide id="6" orient="horz" pos="206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 1 row">
    <p:spTree>
      <p:nvGrpSpPr>
        <p:cNvPr id="1" name=""/>
        <p:cNvGrpSpPr/>
        <p:nvPr/>
      </p:nvGrpSpPr>
      <p:grpSpPr>
        <a:xfrm>
          <a:off x="0" y="0"/>
          <a:ext cx="0" cy="0"/>
          <a:chOff x="0" y="0"/>
          <a:chExt cx="0" cy="0"/>
        </a:xfrm>
      </p:grpSpPr>
      <p:sp>
        <p:nvSpPr>
          <p:cNvPr id="14" name="Content Placeholder 3"/>
          <p:cNvSpPr>
            <a:spLocks noGrp="1"/>
          </p:cNvSpPr>
          <p:nvPr>
            <p:ph sz="quarter" idx="31"/>
          </p:nvPr>
        </p:nvSpPr>
        <p:spPr>
          <a:xfrm>
            <a:off x="5903914" y="1439861"/>
            <a:ext cx="5040312"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1"/>
            <a:ext cx="5039736"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00E3DCE-0198-CE8A-A0B5-FB10A8BFE9D2}"/>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0AE29DB1-3C70-ADA6-6DBE-EBF5C327F0BC}"/>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89BFA9D-E26F-89B0-1B4A-F213E8E0A6E9}"/>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80B4C616-FF0A-76B2-DE62-CF2082F98FC0}"/>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92837130-1C55-9F27-7BCB-D6C6C17C83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646686318"/>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 column / 2 row / 5 item / chart / table single head">
    <p:spTree>
      <p:nvGrpSpPr>
        <p:cNvPr id="1" name=""/>
        <p:cNvGrpSpPr/>
        <p:nvPr/>
      </p:nvGrpSpPr>
      <p:grpSpPr>
        <a:xfrm>
          <a:off x="0" y="0"/>
          <a:ext cx="0" cy="0"/>
          <a:chOff x="0" y="0"/>
          <a:chExt cx="0" cy="0"/>
        </a:xfrm>
      </p:grpSpPr>
      <p:sp>
        <p:nvSpPr>
          <p:cNvPr id="19" name="Content Placeholder 3"/>
          <p:cNvSpPr>
            <a:spLocks noGrp="1"/>
          </p:cNvSpPr>
          <p:nvPr>
            <p:ph sz="quarter" idx="33"/>
          </p:nvPr>
        </p:nvSpPr>
        <p:spPr>
          <a:xfrm>
            <a:off x="7704225"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12"/>
          <p:cNvSpPr>
            <a:spLocks noGrp="1"/>
          </p:cNvSpPr>
          <p:nvPr>
            <p:ph type="body" sz="quarter" idx="23" hasCustomPrompt="1"/>
          </p:nvPr>
        </p:nvSpPr>
        <p:spPr>
          <a:xfrm>
            <a:off x="4140244" y="3565138"/>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4"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4140244"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4140244"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E9A58C0-E392-BBF3-1FD1-DE77814CF82F}"/>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4542836C-6418-14AF-8CCB-D1C6B641AA27}"/>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998637D5-81E7-8AC5-570C-520E73AC7EA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87FE2972-BD60-998A-9097-1ABB6E13B199}"/>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8A12E2C3-5651-EBF5-1343-1AEAEA348782}"/>
              </a:ext>
            </a:extLst>
          </p:cNvPr>
          <p:cNvSpPr>
            <a:spLocks noGrp="1"/>
          </p:cNvSpPr>
          <p:nvPr>
            <p:ph type="ftr" sz="quarter" idx="43"/>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635511627"/>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4" orient="horz" pos="2427">
          <p15:clr>
            <a:srgbClr val="FBAE40"/>
          </p15:clr>
        </p15:guide>
        <p15:guide id="5" pos="2608">
          <p15:clr>
            <a:srgbClr val="FBAE40"/>
          </p15:clr>
        </p15:guide>
        <p15:guide id="6" pos="4649">
          <p15:clr>
            <a:srgbClr val="FBAE40"/>
          </p15:clr>
        </p15:guide>
        <p15:guide id="7" pos="4853">
          <p15:clr>
            <a:srgbClr val="FBAE40"/>
          </p15:clr>
        </p15:guide>
        <p15:guide id="8" orient="horz" pos="215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 column / 2 row content">
    <p:spTree>
      <p:nvGrpSpPr>
        <p:cNvPr id="1" name=""/>
        <p:cNvGrpSpPr/>
        <p:nvPr/>
      </p:nvGrpSpPr>
      <p:grpSpPr>
        <a:xfrm>
          <a:off x="0" y="0"/>
          <a:ext cx="0" cy="0"/>
          <a:chOff x="0" y="0"/>
          <a:chExt cx="0" cy="0"/>
        </a:xfrm>
      </p:grpSpPr>
      <p:sp>
        <p:nvSpPr>
          <p:cNvPr id="39" name="Content Placeholder 3"/>
          <p:cNvSpPr>
            <a:spLocks noGrp="1"/>
          </p:cNvSpPr>
          <p:nvPr>
            <p:ph sz="quarter" idx="37"/>
          </p:nvPr>
        </p:nvSpPr>
        <p:spPr>
          <a:xfrm>
            <a:off x="7704225"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40200"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7704225"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4"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8"/>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62D95A3-636B-B1E7-CE1C-E12E4CA42FE2}"/>
              </a:ext>
            </a:extLst>
          </p:cNvPr>
          <p:cNvSpPr>
            <a:spLocks noGrp="1"/>
          </p:cNvSpPr>
          <p:nvPr>
            <p:ph type="body" sz="quarter" idx="39"/>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77ECED5-F948-E980-2E0B-F1787C1E4EFB}"/>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39E48406-FCC2-F450-654D-02A70FD058C6}"/>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2919A67-6312-A190-1CD0-22164DEBC3A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7" name="Footer Placeholder 6">
            <a:extLst>
              <a:ext uri="{FF2B5EF4-FFF2-40B4-BE49-F238E27FC236}">
                <a16:creationId xmlns:a16="http://schemas.microsoft.com/office/drawing/2014/main" id="{C9F00F5C-3D03-0645-339C-80BC6C76DFD5}"/>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753663740"/>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3" pos="2608">
          <p15:clr>
            <a:srgbClr val="FBAE40"/>
          </p15:clr>
        </p15:guide>
        <p15:guide id="4" pos="4649">
          <p15:clr>
            <a:srgbClr val="FBAE40"/>
          </p15:clr>
        </p15:guide>
        <p15:guide id="5" pos="4853">
          <p15:clr>
            <a:srgbClr val="FBAE40"/>
          </p15:clr>
        </p15:guide>
        <p15:guide id="6" orient="horz" pos="215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 column / 2 row chart / table single head">
    <p:spTree>
      <p:nvGrpSpPr>
        <p:cNvPr id="1" name=""/>
        <p:cNvGrpSpPr/>
        <p:nvPr/>
      </p:nvGrpSpPr>
      <p:grpSpPr>
        <a:xfrm>
          <a:off x="0" y="0"/>
          <a:ext cx="0" cy="0"/>
          <a:chOff x="0" y="0"/>
          <a:chExt cx="0" cy="0"/>
        </a:xfrm>
      </p:grpSpPr>
      <p:sp>
        <p:nvSpPr>
          <p:cNvPr id="30" name="Text Placeholder 12"/>
          <p:cNvSpPr>
            <a:spLocks noGrp="1"/>
          </p:cNvSpPr>
          <p:nvPr>
            <p:ph type="body" sz="quarter" idx="27" hasCustomPrompt="1"/>
          </p:nvPr>
        </p:nvSpPr>
        <p:spPr>
          <a:xfrm>
            <a:off x="7704225" y="3560159"/>
            <a:ext cx="3240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4140244" y="3560159"/>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0159"/>
            <a:ext cx="3240000" cy="288000"/>
          </a:xfrm>
        </p:spPr>
        <p:txBody>
          <a:bodyPr/>
          <a:lstStyle>
            <a:lvl1pPr algn="ctr">
              <a:defRPr cap="all" spc="0" baseline="0"/>
            </a:lvl1pPr>
          </a:lstStyle>
          <a:p>
            <a:pPr lvl="0"/>
            <a:r>
              <a:rPr lang="en-US" dirty="0"/>
              <a:t>Single line heading</a:t>
            </a:r>
          </a:p>
        </p:txBody>
      </p:sp>
      <p:sp>
        <p:nvSpPr>
          <p:cNvPr id="22" name="Text Placeholder 12"/>
          <p:cNvSpPr>
            <a:spLocks noGrp="1"/>
          </p:cNvSpPr>
          <p:nvPr>
            <p:ph type="body" sz="quarter" idx="19" hasCustomPrompt="1"/>
          </p:nvPr>
        </p:nvSpPr>
        <p:spPr>
          <a:xfrm>
            <a:off x="7704225"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4"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4140244"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7704225"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4140244"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p:cNvSpPr>
            <a:spLocks noGrp="1"/>
          </p:cNvSpPr>
          <p:nvPr>
            <p:ph sz="quarter" idx="45"/>
          </p:nvPr>
        </p:nvSpPr>
        <p:spPr>
          <a:xfrm>
            <a:off x="7704225" y="3853138"/>
            <a:ext cx="32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7BF3E6-02F1-6F60-92F0-9DD9CFC6A70D}"/>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FEA91FC2-FFA8-9703-74AF-414BB5C4AA72}"/>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BC9CD2A4-22E5-327B-51E6-78F8F207767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498324EB-AD2A-F7FD-5B8E-F87EB30F63DC}"/>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2" name="Footer Placeholder 11">
            <a:extLst>
              <a:ext uri="{FF2B5EF4-FFF2-40B4-BE49-F238E27FC236}">
                <a16:creationId xmlns:a16="http://schemas.microsoft.com/office/drawing/2014/main" id="{F5739079-A7F9-EB97-7B5A-E9E61AEF7931}"/>
              </a:ext>
            </a:extLst>
          </p:cNvPr>
          <p:cNvSpPr>
            <a:spLocks noGrp="1"/>
          </p:cNvSpPr>
          <p:nvPr>
            <p:ph type="ftr" sz="quarter" idx="4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437500401"/>
      </p:ext>
    </p:extLst>
  </p:cSld>
  <p:clrMapOvr>
    <a:masterClrMapping/>
  </p:clrMapOvr>
  <p:extLst>
    <p:ext uri="{DCECCB84-F9BA-43D5-87BE-67443E8EF086}">
      <p15:sldGuideLst xmlns:p15="http://schemas.microsoft.com/office/powerpoint/2012/main">
        <p15:guide id="1" pos="2404">
          <p15:clr>
            <a:srgbClr val="FBAE40"/>
          </p15:clr>
        </p15:guide>
        <p15:guide id="2" orient="horz" pos="2245">
          <p15:clr>
            <a:srgbClr val="FBAE40"/>
          </p15:clr>
        </p15:guide>
        <p15:guide id="4" orient="horz" pos="2427">
          <p15:clr>
            <a:srgbClr val="FBAE40"/>
          </p15:clr>
        </p15:guide>
        <p15:guide id="5" pos="2608">
          <p15:clr>
            <a:srgbClr val="FBAE40"/>
          </p15:clr>
        </p15:guide>
        <p15:guide id="6" pos="4649">
          <p15:clr>
            <a:srgbClr val="FBAE40"/>
          </p15:clr>
        </p15:guide>
        <p15:guide id="7" pos="4853">
          <p15:clr>
            <a:srgbClr val="FBAE40"/>
          </p15:clr>
        </p15:guide>
        <p15:guide id="8" orient="horz" pos="215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 column / 2 row / 7 item /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Content Placeholder 3"/>
          <p:cNvSpPr>
            <a:spLocks noGrp="1"/>
          </p:cNvSpPr>
          <p:nvPr>
            <p:ph sz="quarter" idx="36"/>
          </p:nvPr>
        </p:nvSpPr>
        <p:spPr>
          <a:xfrm>
            <a:off x="5904150"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3240075"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000"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15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075"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00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9B4A88B1-F214-B25E-D4FF-16FB3C0449FE}"/>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B7BC8288-C4F6-CB1A-B9CF-291BD65A6075}"/>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290C6A47-C366-D49D-E65A-779CA58CFA2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1625FB5F-967D-D035-9D08-29C3D1F8A81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E15F2EB3-B1D5-2C5C-98EC-65CF7A909360}"/>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199382662"/>
      </p:ext>
    </p:extLst>
  </p:cSld>
  <p:clrMapOvr>
    <a:masterClrMapping/>
  </p:clrMapOvr>
  <p:extLst>
    <p:ext uri="{DCECCB84-F9BA-43D5-87BE-67443E8EF086}">
      <p15:sldGuideLst xmlns:p15="http://schemas.microsoft.com/office/powerpoint/2012/main">
        <p15:guide id="1" pos="1859">
          <p15:clr>
            <a:srgbClr val="FBAE40"/>
          </p15:clr>
        </p15:guide>
        <p15:guide id="2" orient="horz" pos="2245">
          <p15:clr>
            <a:srgbClr val="FBAE40"/>
          </p15:clr>
        </p15:guide>
        <p15:guide id="3" pos="2041">
          <p15:clr>
            <a:srgbClr val="FBAE40"/>
          </p15:clr>
        </p15:guide>
        <p15:guide id="4" pos="3538">
          <p15:clr>
            <a:srgbClr val="FBAE40"/>
          </p15:clr>
        </p15:guide>
        <p15:guide id="5" pos="3719">
          <p15:clr>
            <a:srgbClr val="FBAE40"/>
          </p15:clr>
        </p15:guide>
        <p15:guide id="6" pos="5216">
          <p15:clr>
            <a:srgbClr val="FBAE40"/>
          </p15:clr>
        </p15:guide>
        <p15:guide id="7" pos="5398">
          <p15:clr>
            <a:srgbClr val="FBAE40"/>
          </p15:clr>
        </p15:guide>
        <p15:guide id="8" orient="horz" pos="215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 column / 2 row / 7 item /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000"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12"/>
          <p:cNvSpPr>
            <a:spLocks noGrp="1"/>
          </p:cNvSpPr>
          <p:nvPr>
            <p:ph type="body" sz="quarter" idx="25" hasCustomPrompt="1"/>
          </p:nvPr>
        </p:nvSpPr>
        <p:spPr>
          <a:xfrm>
            <a:off x="5904087" y="3565138"/>
            <a:ext cx="2376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3240175" y="3565138"/>
            <a:ext cx="2376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87" y="1439863"/>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175" y="1439863"/>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3"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576263"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3240175"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904087"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3240175"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p:cNvSpPr>
            <a:spLocks noGrp="1"/>
          </p:cNvSpPr>
          <p:nvPr>
            <p:ph sz="quarter" idx="45"/>
          </p:nvPr>
        </p:nvSpPr>
        <p:spPr>
          <a:xfrm>
            <a:off x="5904087"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3E0F789-4C85-098B-2913-DF18D3C2F053}"/>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71C073C4-C915-1742-F81F-6BC472F7D02C}"/>
              </a:ext>
            </a:extLst>
          </p:cNvPr>
          <p:cNvSpPr>
            <a:spLocks noGrp="1"/>
          </p:cNvSpPr>
          <p:nvPr>
            <p:ph type="title"/>
          </p:nvPr>
        </p:nvSpPr>
        <p:spPr/>
        <p:txBody>
          <a:bodyPr/>
          <a:lstStyle/>
          <a:p>
            <a:r>
              <a:rPr lang="en-US"/>
              <a:t>Click to edit Master title style</a:t>
            </a:r>
            <a:endParaRPr lang="en-GB"/>
          </a:p>
        </p:txBody>
      </p:sp>
      <p:sp>
        <p:nvSpPr>
          <p:cNvPr id="4" name="Text Placeholder 7">
            <a:extLst>
              <a:ext uri="{FF2B5EF4-FFF2-40B4-BE49-F238E27FC236}">
                <a16:creationId xmlns:a16="http://schemas.microsoft.com/office/drawing/2014/main" id="{101452B0-949B-D57D-4EEF-A589BCB8316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B2F997E7-491E-88AC-358B-D4457BDBA80C}"/>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2" name="Footer Placeholder 11">
            <a:extLst>
              <a:ext uri="{FF2B5EF4-FFF2-40B4-BE49-F238E27FC236}">
                <a16:creationId xmlns:a16="http://schemas.microsoft.com/office/drawing/2014/main" id="{621D7185-1D89-1023-F4C9-CB18048AA90B}"/>
              </a:ext>
            </a:extLst>
          </p:cNvPr>
          <p:cNvSpPr>
            <a:spLocks noGrp="1"/>
          </p:cNvSpPr>
          <p:nvPr>
            <p:ph type="ftr" sz="quarter" idx="4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340093951"/>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1859">
          <p15:clr>
            <a:srgbClr val="FBAE40"/>
          </p15:clr>
        </p15:guide>
        <p15:guide id="6" pos="2041">
          <p15:clr>
            <a:srgbClr val="FBAE40"/>
          </p15:clr>
        </p15:guide>
        <p15:guide id="7" pos="3719">
          <p15:clr>
            <a:srgbClr val="FBAE40"/>
          </p15:clr>
        </p15:guide>
        <p15:guide id="8" pos="5216">
          <p15:clr>
            <a:srgbClr val="FBAE40"/>
          </p15:clr>
        </p15:guide>
        <p15:guide id="9" pos="5398">
          <p15:clr>
            <a:srgbClr val="FBAE40"/>
          </p15:clr>
        </p15:guide>
        <p15:guide id="10" orient="horz" pos="215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sclaimer Copy">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044575"/>
            <a:ext cx="10367963" cy="4683699"/>
          </a:xfrm>
        </p:spPr>
        <p:txBody>
          <a:bodyPr numCol="1" spcCol="288000"/>
          <a:lstStyle>
            <a:lvl1pPr>
              <a:spcBef>
                <a:spcPts val="600"/>
              </a:spcBef>
              <a:spcAft>
                <a:spcPts val="300"/>
              </a:spcAft>
              <a:defRPr sz="800">
                <a:latin typeface="+mn-lt"/>
              </a:defRPr>
            </a:lvl1pPr>
            <a:lvl2pPr>
              <a:spcAft>
                <a:spcPts val="300"/>
              </a:spcAft>
              <a:defRPr sz="700">
                <a:latin typeface="+mn-lt"/>
              </a:defRPr>
            </a:lvl2pPr>
            <a:lvl3pPr marL="108000" indent="-108000">
              <a:spcAft>
                <a:spcPts val="300"/>
              </a:spcAft>
              <a:defRPr sz="700">
                <a:latin typeface="+mn-lt"/>
              </a:defRPr>
            </a:lvl3pPr>
            <a:lvl4pPr marL="216000" indent="-108000">
              <a:spcAft>
                <a:spcPts val="300"/>
              </a:spcAft>
              <a:defRPr sz="700">
                <a:latin typeface="+mn-lt"/>
              </a:defRPr>
            </a:lvl4pPr>
            <a:lvl5pPr marL="324000" indent="-108000">
              <a:spcAft>
                <a:spcPts val="300"/>
              </a:spcAft>
              <a:defRPr sz="7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8" name="Title 7">
            <a:extLst>
              <a:ext uri="{FF2B5EF4-FFF2-40B4-BE49-F238E27FC236}">
                <a16:creationId xmlns:a16="http://schemas.microsoft.com/office/drawing/2014/main" id="{BCB4F65F-0244-3136-FFC1-A9F33947D660}"/>
              </a:ext>
            </a:extLst>
          </p:cNvPr>
          <p:cNvSpPr>
            <a:spLocks noGrp="1"/>
          </p:cNvSpPr>
          <p:nvPr>
            <p:ph type="title" hasCustomPrompt="1"/>
          </p:nvPr>
        </p:nvSpPr>
        <p:spPr/>
        <p:txBody>
          <a:bodyPr/>
          <a:lstStyle/>
          <a:p>
            <a:r>
              <a:rPr lang="en-US" dirty="0"/>
              <a:t>Important Information</a:t>
            </a:r>
            <a:endParaRPr lang="en-GB" dirty="0"/>
          </a:p>
        </p:txBody>
      </p:sp>
      <p:sp>
        <p:nvSpPr>
          <p:cNvPr id="6" name="Text Placeholder 7">
            <a:extLst>
              <a:ext uri="{FF2B5EF4-FFF2-40B4-BE49-F238E27FC236}">
                <a16:creationId xmlns:a16="http://schemas.microsoft.com/office/drawing/2014/main" id="{90F3C6B4-940C-3D05-7E52-C00A7B7EDE6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DC171A61-CA00-B761-08BC-E0369093C51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5" name="Footer Placeholder 4">
            <a:extLst>
              <a:ext uri="{FF2B5EF4-FFF2-40B4-BE49-F238E27FC236}">
                <a16:creationId xmlns:a16="http://schemas.microsoft.com/office/drawing/2014/main" id="{F326E4BE-6FC4-E6D7-DC52-B75155F976CA}"/>
              </a:ext>
            </a:extLst>
          </p:cNvPr>
          <p:cNvSpPr>
            <a:spLocks noGrp="1"/>
          </p:cNvSpPr>
          <p:nvPr>
            <p:ph type="ftr" sz="quarter" idx="32"/>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43776836"/>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 - Agend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1" y="0"/>
            <a:ext cx="5472113"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7" name="Text Placeholder 4">
            <a:extLst>
              <a:ext uri="{FF2B5EF4-FFF2-40B4-BE49-F238E27FC236}">
                <a16:creationId xmlns:a16="http://schemas.microsoft.com/office/drawing/2014/main" id="{59ACC2F0-EED5-0A49-AEC2-4E08EAA876FD}"/>
              </a:ext>
            </a:extLst>
          </p:cNvPr>
          <p:cNvSpPr>
            <a:spLocks noGrp="1"/>
          </p:cNvSpPr>
          <p:nvPr>
            <p:ph type="body" sz="quarter" idx="12" hasCustomPrompt="1"/>
          </p:nvPr>
        </p:nvSpPr>
        <p:spPr>
          <a:xfrm>
            <a:off x="5761038" y="576263"/>
            <a:ext cx="1054077" cy="288000"/>
          </a:xfrm>
          <a:prstGeom prst="rect">
            <a:avLst/>
          </a:prstGeom>
        </p:spPr>
        <p:txBody>
          <a:bodyPr lIns="0" anchor="t" anchorCtr="0"/>
          <a:lstStyle>
            <a:lvl1pPr marL="0" indent="0">
              <a:buNone/>
              <a:defRPr sz="1134" b="1" i="0" spc="0">
                <a:solidFill>
                  <a:srgbClr val="FF6120"/>
                </a:solidFill>
                <a:latin typeface="+mn-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TIME</a:t>
            </a:r>
          </a:p>
        </p:txBody>
      </p:sp>
      <p:sp>
        <p:nvSpPr>
          <p:cNvPr id="8" name="Text Placeholder 4">
            <a:extLst>
              <a:ext uri="{FF2B5EF4-FFF2-40B4-BE49-F238E27FC236}">
                <a16:creationId xmlns:a16="http://schemas.microsoft.com/office/drawing/2014/main" id="{06C4BB88-7B66-A54E-A240-A8217286D25F}"/>
              </a:ext>
            </a:extLst>
          </p:cNvPr>
          <p:cNvSpPr>
            <a:spLocks noGrp="1"/>
          </p:cNvSpPr>
          <p:nvPr>
            <p:ph type="body" sz="quarter" idx="13" hasCustomPrompt="1"/>
          </p:nvPr>
        </p:nvSpPr>
        <p:spPr>
          <a:xfrm>
            <a:off x="7186619" y="576263"/>
            <a:ext cx="1054077" cy="288000"/>
          </a:xfrm>
          <a:prstGeom prst="rect">
            <a:avLst/>
          </a:prstGeom>
        </p:spPr>
        <p:txBody>
          <a:bodyPr lIns="0" anchor="t" anchorCtr="0"/>
          <a:lstStyle>
            <a:lvl1pPr marL="0" indent="0">
              <a:buNone/>
              <a:defRPr sz="1134" b="1" i="0" spc="0">
                <a:solidFill>
                  <a:srgbClr val="FF6120"/>
                </a:solidFill>
                <a:latin typeface="+mn-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EVENT</a:t>
            </a:r>
          </a:p>
        </p:txBody>
      </p:sp>
      <p:sp>
        <p:nvSpPr>
          <p:cNvPr id="9" name="Text Placeholder 4">
            <a:extLst>
              <a:ext uri="{FF2B5EF4-FFF2-40B4-BE49-F238E27FC236}">
                <a16:creationId xmlns:a16="http://schemas.microsoft.com/office/drawing/2014/main" id="{572BDFD8-4068-D646-8AA4-E1917B8A0DD9}"/>
              </a:ext>
            </a:extLst>
          </p:cNvPr>
          <p:cNvSpPr>
            <a:spLocks noGrp="1"/>
          </p:cNvSpPr>
          <p:nvPr>
            <p:ph type="body" sz="quarter" idx="14" hasCustomPrompt="1"/>
          </p:nvPr>
        </p:nvSpPr>
        <p:spPr>
          <a:xfrm>
            <a:off x="8762216" y="576263"/>
            <a:ext cx="1054077" cy="288000"/>
          </a:xfrm>
          <a:prstGeom prst="rect">
            <a:avLst/>
          </a:prstGeom>
        </p:spPr>
        <p:txBody>
          <a:bodyPr lIns="0" anchor="t" anchorCtr="0"/>
          <a:lstStyle>
            <a:lvl1pPr marL="0" indent="0">
              <a:buNone/>
              <a:defRPr sz="1134" b="1" i="0" spc="0">
                <a:solidFill>
                  <a:srgbClr val="FF6120"/>
                </a:solidFill>
                <a:latin typeface="+mn-lt"/>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PEAKER</a:t>
            </a:r>
          </a:p>
        </p:txBody>
      </p:sp>
      <p:sp>
        <p:nvSpPr>
          <p:cNvPr id="11" name="Table Placeholder 10">
            <a:extLst>
              <a:ext uri="{FF2B5EF4-FFF2-40B4-BE49-F238E27FC236}">
                <a16:creationId xmlns:a16="http://schemas.microsoft.com/office/drawing/2014/main" id="{43467FB2-7488-B44C-8665-15184934DD99}"/>
              </a:ext>
            </a:extLst>
          </p:cNvPr>
          <p:cNvSpPr>
            <a:spLocks noGrp="1"/>
          </p:cNvSpPr>
          <p:nvPr>
            <p:ph type="tbl" sz="quarter" idx="15" hasCustomPrompt="1"/>
          </p:nvPr>
        </p:nvSpPr>
        <p:spPr>
          <a:xfrm>
            <a:off x="5761037" y="863599"/>
            <a:ext cx="5183425" cy="5040313"/>
          </a:xfrm>
          <a:prstGeom prst="rect">
            <a:avLst/>
          </a:prstGeom>
          <a:solidFill>
            <a:schemeClr val="bg1">
              <a:lumMod val="95000"/>
            </a:schemeClr>
          </a:solidFill>
        </p:spPr>
        <p:txBody>
          <a:bodyPr/>
          <a:lstStyle>
            <a:lvl1pPr marL="0" indent="0">
              <a:buNone/>
              <a:defRPr sz="1134">
                <a:solidFill>
                  <a:schemeClr val="tx1"/>
                </a:solidFill>
                <a:latin typeface="Avenir Next" panose="020B0503020202020204" pitchFamily="34" charset="0"/>
              </a:defRPr>
            </a:lvl1pPr>
          </a:lstStyle>
          <a:p>
            <a:r>
              <a:rPr lang="en-US" dirty="0"/>
              <a:t>Insert Agenda Table</a:t>
            </a:r>
          </a:p>
        </p:txBody>
      </p:sp>
      <p:sp>
        <p:nvSpPr>
          <p:cNvPr id="13" name="Text Placeholder 12">
            <a:extLst>
              <a:ext uri="{FF2B5EF4-FFF2-40B4-BE49-F238E27FC236}">
                <a16:creationId xmlns:a16="http://schemas.microsoft.com/office/drawing/2014/main" id="{B586ACC0-1D38-369E-CDE5-2CCBCCDCC8F1}"/>
              </a:ext>
            </a:extLst>
          </p:cNvPr>
          <p:cNvSpPr>
            <a:spLocks noGrp="1"/>
          </p:cNvSpPr>
          <p:nvPr>
            <p:ph type="body" sz="quarter" idx="16" hasCustomPrompt="1"/>
          </p:nvPr>
        </p:nvSpPr>
        <p:spPr>
          <a:xfrm>
            <a:off x="576025" y="576263"/>
            <a:ext cx="4608750" cy="287337"/>
          </a:xfrm>
          <a:prstGeom prst="rect">
            <a:avLst/>
          </a:prstGeom>
        </p:spPr>
        <p:txBody>
          <a:bodyPr lIns="0" tIns="0"/>
          <a:lstStyle>
            <a:lvl1pPr marL="0" indent="0">
              <a:buNone/>
              <a:defRPr sz="1400" b="0">
                <a:solidFill>
                  <a:srgbClr val="FF6120"/>
                </a:solidFill>
                <a:latin typeface="+mn-lt"/>
              </a:defRPr>
            </a:lvl1pPr>
            <a:lvl2pPr marL="160504" indent="0">
              <a:buNone/>
              <a:defRPr>
                <a:solidFill>
                  <a:schemeClr val="accent1">
                    <a:lumMod val="90000"/>
                    <a:lumOff val="10000"/>
                  </a:schemeClr>
                </a:solidFill>
              </a:defRPr>
            </a:lvl2pPr>
            <a:lvl3pPr marL="325506" indent="0">
              <a:buNone/>
              <a:defRPr>
                <a:solidFill>
                  <a:schemeClr val="accent1">
                    <a:lumMod val="90000"/>
                    <a:lumOff val="10000"/>
                  </a:schemeClr>
                </a:solidFill>
              </a:defRPr>
            </a:lvl3pPr>
            <a:lvl4pPr marL="486009" indent="0">
              <a:buNone/>
              <a:defRPr>
                <a:solidFill>
                  <a:schemeClr val="accent1">
                    <a:lumMod val="90000"/>
                    <a:lumOff val="10000"/>
                  </a:schemeClr>
                </a:solidFill>
              </a:defRPr>
            </a:lvl4pPr>
            <a:lvl5pPr marL="651012" indent="0">
              <a:buNone/>
              <a:defRPr>
                <a:solidFill>
                  <a:schemeClr val="accent1">
                    <a:lumMod val="90000"/>
                    <a:lumOff val="10000"/>
                  </a:schemeClr>
                </a:solidFill>
              </a:defRPr>
            </a:lvl5pPr>
          </a:lstStyle>
          <a:p>
            <a:pPr lvl="0"/>
            <a:r>
              <a:rPr lang="en-US" dirty="0"/>
              <a:t>DATE/TIME</a:t>
            </a:r>
          </a:p>
        </p:txBody>
      </p:sp>
      <p:sp>
        <p:nvSpPr>
          <p:cNvPr id="6" name="Slide Number Placeholder 5">
            <a:extLst>
              <a:ext uri="{FF2B5EF4-FFF2-40B4-BE49-F238E27FC236}">
                <a16:creationId xmlns:a16="http://schemas.microsoft.com/office/drawing/2014/main" id="{61BB97E9-D541-0BFA-ADA7-F297EA04FC74}"/>
              </a:ext>
            </a:extLst>
          </p:cNvPr>
          <p:cNvSpPr>
            <a:spLocks noGrp="1"/>
          </p:cNvSpPr>
          <p:nvPr>
            <p:ph type="sldNum" sz="quarter" idx="20"/>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5" name="Title 14">
            <a:extLst>
              <a:ext uri="{FF2B5EF4-FFF2-40B4-BE49-F238E27FC236}">
                <a16:creationId xmlns:a16="http://schemas.microsoft.com/office/drawing/2014/main" id="{46FCEA97-151A-D4EA-DE33-602FBE89E295}"/>
              </a:ext>
            </a:extLst>
          </p:cNvPr>
          <p:cNvSpPr>
            <a:spLocks noGrp="1"/>
          </p:cNvSpPr>
          <p:nvPr>
            <p:ph type="title" hasCustomPrompt="1"/>
          </p:nvPr>
        </p:nvSpPr>
        <p:spPr>
          <a:xfrm>
            <a:off x="576263" y="863600"/>
            <a:ext cx="4608512" cy="395288"/>
          </a:xfrm>
        </p:spPr>
        <p:txBody>
          <a:bodyPr/>
          <a:lstStyle>
            <a:lvl1pPr>
              <a:defRPr sz="4000" cap="all" baseline="0">
                <a:solidFill>
                  <a:schemeClr val="bg1"/>
                </a:solidFill>
              </a:defRPr>
            </a:lvl1pPr>
          </a:lstStyle>
          <a:p>
            <a:r>
              <a:rPr lang="en-US" dirty="0"/>
              <a:t>AGENDA</a:t>
            </a:r>
            <a:endParaRPr lang="en-GB" dirty="0"/>
          </a:p>
        </p:txBody>
      </p:sp>
      <p:sp>
        <p:nvSpPr>
          <p:cNvPr id="2" name="Text Placeholder 7">
            <a:extLst>
              <a:ext uri="{FF2B5EF4-FFF2-40B4-BE49-F238E27FC236}">
                <a16:creationId xmlns:a16="http://schemas.microsoft.com/office/drawing/2014/main" id="{DFAC6816-A9C4-B5D6-0333-429344EF829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3" name="Footer Placeholder 2">
            <a:extLst>
              <a:ext uri="{FF2B5EF4-FFF2-40B4-BE49-F238E27FC236}">
                <a16:creationId xmlns:a16="http://schemas.microsoft.com/office/drawing/2014/main" id="{B830CAC9-29EC-ABDB-6951-AF643B749E13}"/>
              </a:ext>
            </a:extLst>
          </p:cNvPr>
          <p:cNvSpPr>
            <a:spLocks noGrp="1"/>
          </p:cNvSpPr>
          <p:nvPr>
            <p:ph type="ftr" sz="quarter" idx="21"/>
          </p:nvPr>
        </p:nvSpPr>
        <p:spPr/>
        <p:txBody>
          <a:bodyPr/>
          <a:lstStyle>
            <a:lvl1pPr>
              <a:defRPr>
                <a:solidFill>
                  <a:schemeClr val="bg1"/>
                </a:solidFill>
              </a:defRPr>
            </a:lvl1pPr>
          </a:lstStyle>
          <a:p>
            <a:r>
              <a:rPr lang="en-GB"/>
              <a:t>Information Classification: PUBLIC</a:t>
            </a:r>
            <a:endParaRPr lang="en-GB" dirty="0"/>
          </a:p>
        </p:txBody>
      </p:sp>
    </p:spTree>
    <p:extLst>
      <p:ext uri="{BB962C8B-B14F-4D97-AF65-F5344CB8AC3E}">
        <p14:creationId xmlns:p14="http://schemas.microsoft.com/office/powerpoint/2010/main" val="1616958906"/>
      </p:ext>
    </p:extLst>
  </p:cSld>
  <p:clrMapOvr>
    <a:masterClrMapping/>
  </p:clrMapOvr>
  <p:transition>
    <p:wipe/>
  </p:transition>
  <p:extLst>
    <p:ext uri="{DCECCB84-F9BA-43D5-87BE-67443E8EF086}">
      <p15:sldGuideLst xmlns:p15="http://schemas.microsoft.com/office/powerpoint/2012/main">
        <p15:guide id="1" pos="3266">
          <p15:clr>
            <a:srgbClr val="FBAE40"/>
          </p15:clr>
        </p15:guide>
        <p15:guide id="2" pos="344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 - Photo Collage - dark">
    <p:bg>
      <p:bgPr>
        <a:solidFill>
          <a:srgbClr val="00243D"/>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2573743"/>
            <a:ext cx="4644000"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14" name="Rectangle 13">
            <a:extLst>
              <a:ext uri="{FF2B5EF4-FFF2-40B4-BE49-F238E27FC236}">
                <a16:creationId xmlns:a16="http://schemas.microsoft.com/office/drawing/2014/main" id="{85A00C00-5E5A-A5B4-D4BD-95590287E6C0}"/>
              </a:ext>
            </a:extLst>
          </p:cNvPr>
          <p:cNvSpPr/>
          <p:nvPr userDrawn="1"/>
        </p:nvSpPr>
        <p:spPr>
          <a:xfrm>
            <a:off x="5508000" y="-1115"/>
            <a:ext cx="6048000" cy="6481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6" name="Picture Placeholder 15">
            <a:extLst>
              <a:ext uri="{FF2B5EF4-FFF2-40B4-BE49-F238E27FC236}">
                <a16:creationId xmlns:a16="http://schemas.microsoft.com/office/drawing/2014/main" id="{A984298A-F9CA-1180-33FC-8CA8186F0748}"/>
              </a:ext>
            </a:extLst>
          </p:cNvPr>
          <p:cNvSpPr>
            <a:spLocks noGrp="1"/>
          </p:cNvSpPr>
          <p:nvPr>
            <p:ph type="pic" sz="quarter" idx="11"/>
          </p:nvPr>
        </p:nvSpPr>
        <p:spPr>
          <a:xfrm>
            <a:off x="5796000" y="-90782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7" name="Picture Placeholder 15">
            <a:extLst>
              <a:ext uri="{FF2B5EF4-FFF2-40B4-BE49-F238E27FC236}">
                <a16:creationId xmlns:a16="http://schemas.microsoft.com/office/drawing/2014/main" id="{6A944B5A-1968-D91A-7C9A-E411A6CF9260}"/>
              </a:ext>
            </a:extLst>
          </p:cNvPr>
          <p:cNvSpPr>
            <a:spLocks noGrp="1"/>
          </p:cNvSpPr>
          <p:nvPr>
            <p:ph type="pic" sz="quarter" idx="12"/>
          </p:nvPr>
        </p:nvSpPr>
        <p:spPr>
          <a:xfrm>
            <a:off x="7704000" y="-1688029"/>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8" name="Picture Placeholder 15">
            <a:extLst>
              <a:ext uri="{FF2B5EF4-FFF2-40B4-BE49-F238E27FC236}">
                <a16:creationId xmlns:a16="http://schemas.microsoft.com/office/drawing/2014/main" id="{7CA25526-492F-2424-6C76-D8B72AE74CF1}"/>
              </a:ext>
            </a:extLst>
          </p:cNvPr>
          <p:cNvSpPr>
            <a:spLocks noGrp="1"/>
          </p:cNvSpPr>
          <p:nvPr>
            <p:ph type="pic" sz="quarter" idx="13"/>
          </p:nvPr>
        </p:nvSpPr>
        <p:spPr>
          <a:xfrm>
            <a:off x="9613150" y="-90782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9" name="Picture Placeholder 15">
            <a:extLst>
              <a:ext uri="{FF2B5EF4-FFF2-40B4-BE49-F238E27FC236}">
                <a16:creationId xmlns:a16="http://schemas.microsoft.com/office/drawing/2014/main" id="{04F0BAFB-6969-55C3-FECF-B982DADA695E}"/>
              </a:ext>
            </a:extLst>
          </p:cNvPr>
          <p:cNvSpPr>
            <a:spLocks noGrp="1"/>
          </p:cNvSpPr>
          <p:nvPr>
            <p:ph type="pic" sz="quarter" idx="14"/>
          </p:nvPr>
        </p:nvSpPr>
        <p:spPr>
          <a:xfrm>
            <a:off x="5796000" y="2235061"/>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0" name="Picture Placeholder 15">
            <a:extLst>
              <a:ext uri="{FF2B5EF4-FFF2-40B4-BE49-F238E27FC236}">
                <a16:creationId xmlns:a16="http://schemas.microsoft.com/office/drawing/2014/main" id="{87940A6B-AD93-D4D8-CC37-964C561206B8}"/>
              </a:ext>
            </a:extLst>
          </p:cNvPr>
          <p:cNvSpPr>
            <a:spLocks noGrp="1"/>
          </p:cNvSpPr>
          <p:nvPr>
            <p:ph type="pic" sz="quarter" idx="15"/>
          </p:nvPr>
        </p:nvSpPr>
        <p:spPr>
          <a:xfrm>
            <a:off x="7704000" y="1454856"/>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1" name="Picture Placeholder 15">
            <a:extLst>
              <a:ext uri="{FF2B5EF4-FFF2-40B4-BE49-F238E27FC236}">
                <a16:creationId xmlns:a16="http://schemas.microsoft.com/office/drawing/2014/main" id="{9780006C-637A-31E7-95F1-265F3F800F42}"/>
              </a:ext>
            </a:extLst>
          </p:cNvPr>
          <p:cNvSpPr>
            <a:spLocks noGrp="1"/>
          </p:cNvSpPr>
          <p:nvPr>
            <p:ph type="pic" sz="quarter" idx="16"/>
          </p:nvPr>
        </p:nvSpPr>
        <p:spPr>
          <a:xfrm>
            <a:off x="9613150" y="2235061"/>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796000" y="5387988"/>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3" name="Picture Placeholder 15">
            <a:extLst>
              <a:ext uri="{FF2B5EF4-FFF2-40B4-BE49-F238E27FC236}">
                <a16:creationId xmlns:a16="http://schemas.microsoft.com/office/drawing/2014/main" id="{E22BCD43-FD89-B981-152A-6AFA829BF6C2}"/>
              </a:ext>
            </a:extLst>
          </p:cNvPr>
          <p:cNvSpPr>
            <a:spLocks noGrp="1"/>
          </p:cNvSpPr>
          <p:nvPr>
            <p:ph type="pic" sz="quarter" idx="18"/>
          </p:nvPr>
        </p:nvSpPr>
        <p:spPr>
          <a:xfrm>
            <a:off x="7704000" y="460778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9613150" y="5387988"/>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5" name="Slide Number Placeholder 4">
            <a:extLst>
              <a:ext uri="{FF2B5EF4-FFF2-40B4-BE49-F238E27FC236}">
                <a16:creationId xmlns:a16="http://schemas.microsoft.com/office/drawing/2014/main" id="{8EB4FBDB-0EB1-9CEE-9360-0053C71A2169}"/>
              </a:ext>
            </a:extLst>
          </p:cNvPr>
          <p:cNvSpPr>
            <a:spLocks noGrp="1"/>
          </p:cNvSpPr>
          <p:nvPr>
            <p:ph type="sldNum" sz="quarter" idx="21"/>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ext Placeholder 7">
            <a:extLst>
              <a:ext uri="{FF2B5EF4-FFF2-40B4-BE49-F238E27FC236}">
                <a16:creationId xmlns:a16="http://schemas.microsoft.com/office/drawing/2014/main" id="{3A40F2CC-668A-95D9-BB56-747ACF718F43}"/>
              </a:ext>
            </a:extLst>
          </p:cNvPr>
          <p:cNvSpPr>
            <a:spLocks noGrp="1"/>
          </p:cNvSpPr>
          <p:nvPr>
            <p:ph type="body" sz="quarter" idx="22"/>
          </p:nvPr>
        </p:nvSpPr>
        <p:spPr>
          <a:xfrm>
            <a:off x="576262" y="3200399"/>
            <a:ext cx="4644000" cy="2047876"/>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7">
            <a:extLst>
              <a:ext uri="{FF2B5EF4-FFF2-40B4-BE49-F238E27FC236}">
                <a16:creationId xmlns:a16="http://schemas.microsoft.com/office/drawing/2014/main" id="{383894E4-DE6A-F615-4D96-522C84FB8B1B}"/>
              </a:ext>
            </a:extLst>
          </p:cNvPr>
          <p:cNvSpPr>
            <a:spLocks noGrp="1"/>
          </p:cNvSpPr>
          <p:nvPr>
            <p:ph type="body" sz="quarter" idx="23"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7" name="Footer Placeholder 6">
            <a:extLst>
              <a:ext uri="{FF2B5EF4-FFF2-40B4-BE49-F238E27FC236}">
                <a16:creationId xmlns:a16="http://schemas.microsoft.com/office/drawing/2014/main" id="{10DBE91E-3B73-7C33-F0F5-C36F3C0EB7C1}"/>
              </a:ext>
            </a:extLst>
          </p:cNvPr>
          <p:cNvSpPr>
            <a:spLocks noGrp="1"/>
          </p:cNvSpPr>
          <p:nvPr>
            <p:ph type="ftr" sz="quarter" idx="24"/>
          </p:nvPr>
        </p:nvSpPr>
        <p:spPr/>
        <p:txBody>
          <a:bodyPr/>
          <a:lstStyle>
            <a:lvl1pPr>
              <a:defRPr>
                <a:solidFill>
                  <a:schemeClr val="bg1"/>
                </a:solidFill>
              </a:defRPr>
            </a:lvl1pPr>
          </a:lstStyle>
          <a:p>
            <a:r>
              <a:rPr lang="en-GB"/>
              <a:t>Information Classification: PUBLIC</a:t>
            </a:r>
            <a:endParaRPr lang="en-GB" dirty="0"/>
          </a:p>
        </p:txBody>
      </p:sp>
    </p:spTree>
    <p:extLst>
      <p:ext uri="{BB962C8B-B14F-4D97-AF65-F5344CB8AC3E}">
        <p14:creationId xmlns:p14="http://schemas.microsoft.com/office/powerpoint/2010/main" val="1130501692"/>
      </p:ext>
    </p:extLst>
  </p:cSld>
  <p:clrMapOvr>
    <a:masterClrMapping/>
  </p:clrMapOvr>
  <p:transition>
    <p:wipe/>
  </p:transition>
  <p:extLst>
    <p:ext uri="{DCECCB84-F9BA-43D5-87BE-67443E8EF086}">
      <p15:sldGuideLst xmlns:p15="http://schemas.microsoft.com/office/powerpoint/2012/main">
        <p15:guide id="1" pos="3470">
          <p15:clr>
            <a:srgbClr val="FBAE40"/>
          </p15:clr>
        </p15:guide>
        <p15:guide id="2" pos="32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 - Photo Collage - newsprin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17ACA60-3B4E-3AD9-0E37-D78274F9D138}"/>
              </a:ext>
            </a:extLst>
          </p:cNvPr>
          <p:cNvSpPr>
            <a:spLocks noGrp="1"/>
          </p:cNvSpPr>
          <p:nvPr>
            <p:ph type="sldNum" sz="quarter" idx="22"/>
          </p:nvPr>
        </p:nvSpPr>
        <p:spPr/>
        <p:txBody>
          <a:bodyPr/>
          <a:lstStyle/>
          <a:p>
            <a:fld id="{0F961903-03AF-4EAC-BF2C-945F8C5557D1}" type="slidenum">
              <a:rPr lang="en-GB" smtClean="0"/>
              <a:pPr/>
              <a:t>‹#›</a:t>
            </a:fld>
            <a:endParaRPr lang="en-GB" dirty="0"/>
          </a:p>
        </p:txBody>
      </p:sp>
      <p:sp>
        <p:nvSpPr>
          <p:cNvPr id="6" name="Title 1">
            <a:extLst>
              <a:ext uri="{FF2B5EF4-FFF2-40B4-BE49-F238E27FC236}">
                <a16:creationId xmlns:a16="http://schemas.microsoft.com/office/drawing/2014/main" id="{6EDC0879-F08B-6AA7-A37C-63689741D96A}"/>
              </a:ext>
            </a:extLst>
          </p:cNvPr>
          <p:cNvSpPr>
            <a:spLocks noGrp="1"/>
          </p:cNvSpPr>
          <p:nvPr>
            <p:ph type="title" hasCustomPrompt="1"/>
          </p:nvPr>
        </p:nvSpPr>
        <p:spPr>
          <a:xfrm>
            <a:off x="576026" y="2573743"/>
            <a:ext cx="4644000" cy="436231"/>
          </a:xfrm>
        </p:spPr>
        <p:txBody>
          <a:bodyPr rIns="0" anchor="b" anchorCtr="0"/>
          <a:lstStyle>
            <a:lvl1pPr>
              <a:lnSpc>
                <a:spcPts val="4158"/>
              </a:lnSpc>
              <a:defRPr sz="4158">
                <a:solidFill>
                  <a:srgbClr val="00485E"/>
                </a:solidFill>
                <a:latin typeface="Avenir Next LT Pro" panose="020B0504020202020204" pitchFamily="34" charset="77"/>
              </a:defRPr>
            </a:lvl1pPr>
          </a:lstStyle>
          <a:p>
            <a:r>
              <a:rPr lang="en-US" dirty="0"/>
              <a:t>SHORT </a:t>
            </a:r>
            <a:br>
              <a:rPr lang="en-US" dirty="0"/>
            </a:br>
            <a:r>
              <a:rPr lang="en-US" dirty="0"/>
              <a:t>HEADLINE</a:t>
            </a:r>
          </a:p>
        </p:txBody>
      </p:sp>
      <p:sp>
        <p:nvSpPr>
          <p:cNvPr id="7" name="Rectangle 6">
            <a:extLst>
              <a:ext uri="{FF2B5EF4-FFF2-40B4-BE49-F238E27FC236}">
                <a16:creationId xmlns:a16="http://schemas.microsoft.com/office/drawing/2014/main" id="{79DC7599-D8DE-4032-3364-210EBF473BC3}"/>
              </a:ext>
            </a:extLst>
          </p:cNvPr>
          <p:cNvSpPr/>
          <p:nvPr userDrawn="1"/>
        </p:nvSpPr>
        <p:spPr>
          <a:xfrm>
            <a:off x="5508000" y="-1115"/>
            <a:ext cx="6048000" cy="648129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8" name="Picture Placeholder 15">
            <a:extLst>
              <a:ext uri="{FF2B5EF4-FFF2-40B4-BE49-F238E27FC236}">
                <a16:creationId xmlns:a16="http://schemas.microsoft.com/office/drawing/2014/main" id="{AE6CF4D3-1471-93AB-BC84-3A5A587B870E}"/>
              </a:ext>
            </a:extLst>
          </p:cNvPr>
          <p:cNvSpPr>
            <a:spLocks noGrp="1"/>
          </p:cNvSpPr>
          <p:nvPr>
            <p:ph type="pic" sz="quarter" idx="11"/>
          </p:nvPr>
        </p:nvSpPr>
        <p:spPr>
          <a:xfrm>
            <a:off x="5796000" y="-90782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9" name="Picture Placeholder 15">
            <a:extLst>
              <a:ext uri="{FF2B5EF4-FFF2-40B4-BE49-F238E27FC236}">
                <a16:creationId xmlns:a16="http://schemas.microsoft.com/office/drawing/2014/main" id="{B07F54D8-359A-D49C-92AF-91AD5D82049C}"/>
              </a:ext>
            </a:extLst>
          </p:cNvPr>
          <p:cNvSpPr>
            <a:spLocks noGrp="1"/>
          </p:cNvSpPr>
          <p:nvPr>
            <p:ph type="pic" sz="quarter" idx="12"/>
          </p:nvPr>
        </p:nvSpPr>
        <p:spPr>
          <a:xfrm>
            <a:off x="7704000" y="-1688029"/>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1" name="Picture Placeholder 15">
            <a:extLst>
              <a:ext uri="{FF2B5EF4-FFF2-40B4-BE49-F238E27FC236}">
                <a16:creationId xmlns:a16="http://schemas.microsoft.com/office/drawing/2014/main" id="{17BAC184-525A-59A1-13F7-6C3C2DC92693}"/>
              </a:ext>
            </a:extLst>
          </p:cNvPr>
          <p:cNvSpPr>
            <a:spLocks noGrp="1"/>
          </p:cNvSpPr>
          <p:nvPr>
            <p:ph type="pic" sz="quarter" idx="13"/>
          </p:nvPr>
        </p:nvSpPr>
        <p:spPr>
          <a:xfrm>
            <a:off x="9613150" y="-90782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2" name="Picture Placeholder 15">
            <a:extLst>
              <a:ext uri="{FF2B5EF4-FFF2-40B4-BE49-F238E27FC236}">
                <a16:creationId xmlns:a16="http://schemas.microsoft.com/office/drawing/2014/main" id="{2B391016-524E-DCFB-51C7-65240A152BD3}"/>
              </a:ext>
            </a:extLst>
          </p:cNvPr>
          <p:cNvSpPr>
            <a:spLocks noGrp="1"/>
          </p:cNvSpPr>
          <p:nvPr>
            <p:ph type="pic" sz="quarter" idx="14"/>
          </p:nvPr>
        </p:nvSpPr>
        <p:spPr>
          <a:xfrm>
            <a:off x="5796000" y="2235061"/>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3" name="Picture Placeholder 15">
            <a:extLst>
              <a:ext uri="{FF2B5EF4-FFF2-40B4-BE49-F238E27FC236}">
                <a16:creationId xmlns:a16="http://schemas.microsoft.com/office/drawing/2014/main" id="{7B2D6BCC-8762-1A41-364C-460EAA8AB3FD}"/>
              </a:ext>
            </a:extLst>
          </p:cNvPr>
          <p:cNvSpPr>
            <a:spLocks noGrp="1"/>
          </p:cNvSpPr>
          <p:nvPr>
            <p:ph type="pic" sz="quarter" idx="15"/>
          </p:nvPr>
        </p:nvSpPr>
        <p:spPr>
          <a:xfrm>
            <a:off x="7704000" y="1454856"/>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15" name="Picture Placeholder 15">
            <a:extLst>
              <a:ext uri="{FF2B5EF4-FFF2-40B4-BE49-F238E27FC236}">
                <a16:creationId xmlns:a16="http://schemas.microsoft.com/office/drawing/2014/main" id="{62D040BD-1631-0ABB-DABD-E3E78A2EF29E}"/>
              </a:ext>
            </a:extLst>
          </p:cNvPr>
          <p:cNvSpPr>
            <a:spLocks noGrp="1"/>
          </p:cNvSpPr>
          <p:nvPr>
            <p:ph type="pic" sz="quarter" idx="16"/>
          </p:nvPr>
        </p:nvSpPr>
        <p:spPr>
          <a:xfrm>
            <a:off x="9613150" y="2235061"/>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5" name="Picture Placeholder 15">
            <a:extLst>
              <a:ext uri="{FF2B5EF4-FFF2-40B4-BE49-F238E27FC236}">
                <a16:creationId xmlns:a16="http://schemas.microsoft.com/office/drawing/2014/main" id="{DEE44AD2-0560-2512-F5CA-47A6284117C9}"/>
              </a:ext>
            </a:extLst>
          </p:cNvPr>
          <p:cNvSpPr>
            <a:spLocks noGrp="1"/>
          </p:cNvSpPr>
          <p:nvPr>
            <p:ph type="pic" sz="quarter" idx="17"/>
          </p:nvPr>
        </p:nvSpPr>
        <p:spPr>
          <a:xfrm>
            <a:off x="5796000" y="5387988"/>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6" name="Picture Placeholder 15">
            <a:extLst>
              <a:ext uri="{FF2B5EF4-FFF2-40B4-BE49-F238E27FC236}">
                <a16:creationId xmlns:a16="http://schemas.microsoft.com/office/drawing/2014/main" id="{BA9BBE36-8AD5-76D8-E9F2-D90D182398CB}"/>
              </a:ext>
            </a:extLst>
          </p:cNvPr>
          <p:cNvSpPr>
            <a:spLocks noGrp="1"/>
          </p:cNvSpPr>
          <p:nvPr>
            <p:ph type="pic" sz="quarter" idx="18"/>
          </p:nvPr>
        </p:nvSpPr>
        <p:spPr>
          <a:xfrm>
            <a:off x="7704000" y="4607784"/>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27" name="Picture Placeholder 15">
            <a:extLst>
              <a:ext uri="{FF2B5EF4-FFF2-40B4-BE49-F238E27FC236}">
                <a16:creationId xmlns:a16="http://schemas.microsoft.com/office/drawing/2014/main" id="{DC662E54-EFE3-9254-48C2-005602317E31}"/>
              </a:ext>
            </a:extLst>
          </p:cNvPr>
          <p:cNvSpPr>
            <a:spLocks noGrp="1"/>
          </p:cNvSpPr>
          <p:nvPr>
            <p:ph type="pic" sz="quarter" idx="19"/>
          </p:nvPr>
        </p:nvSpPr>
        <p:spPr>
          <a:xfrm>
            <a:off x="9613150" y="5387988"/>
            <a:ext cx="1620000" cy="2949080"/>
          </a:xfrm>
          <a:prstGeom prst="rect">
            <a:avLst/>
          </a:prstGeom>
          <a:solidFill>
            <a:srgbClr val="808183"/>
          </a:solidFill>
          <a:ln>
            <a:noFill/>
          </a:ln>
        </p:spPr>
        <p:txBody>
          <a:bodyPr/>
          <a:lstStyle>
            <a:lvl1pPr marL="0" indent="0">
              <a:buNone/>
              <a:defRPr>
                <a:latin typeface="Avenir Next LT Pro" panose="020B0504020202020204" pitchFamily="34" charset="77"/>
              </a:defRPr>
            </a:lvl1pPr>
          </a:lstStyle>
          <a:p>
            <a:endParaRPr lang="en-US"/>
          </a:p>
        </p:txBody>
      </p:sp>
      <p:sp>
        <p:nvSpPr>
          <p:cNvPr id="30" name="Text Placeholder 29">
            <a:extLst>
              <a:ext uri="{FF2B5EF4-FFF2-40B4-BE49-F238E27FC236}">
                <a16:creationId xmlns:a16="http://schemas.microsoft.com/office/drawing/2014/main" id="{EC350218-55C0-ACF6-794C-5E51AB20D944}"/>
              </a:ext>
            </a:extLst>
          </p:cNvPr>
          <p:cNvSpPr>
            <a:spLocks noGrp="1"/>
          </p:cNvSpPr>
          <p:nvPr>
            <p:ph type="body" sz="quarter" idx="24"/>
          </p:nvPr>
        </p:nvSpPr>
        <p:spPr>
          <a:xfrm>
            <a:off x="576263" y="3200399"/>
            <a:ext cx="4644000" cy="1990725"/>
          </a:xfrm>
        </p:spPr>
        <p:txBody>
          <a:bodyPr/>
          <a:lstStyle>
            <a:lvl1pPr>
              <a:defRPr>
                <a:solidFill>
                  <a:srgbClr val="FF612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ext Placeholder 7">
            <a:extLst>
              <a:ext uri="{FF2B5EF4-FFF2-40B4-BE49-F238E27FC236}">
                <a16:creationId xmlns:a16="http://schemas.microsoft.com/office/drawing/2014/main" id="{AE320BF2-A7DC-8BE0-6AC8-D6F4F6EF4951}"/>
              </a:ext>
            </a:extLst>
          </p:cNvPr>
          <p:cNvSpPr>
            <a:spLocks noGrp="1"/>
          </p:cNvSpPr>
          <p:nvPr>
            <p:ph type="body" sz="quarter" idx="25"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5" name="Footer Placeholder 4">
            <a:extLst>
              <a:ext uri="{FF2B5EF4-FFF2-40B4-BE49-F238E27FC236}">
                <a16:creationId xmlns:a16="http://schemas.microsoft.com/office/drawing/2014/main" id="{270A3AF7-AB56-B5C4-0B5F-1C6922D1A638}"/>
              </a:ext>
            </a:extLst>
          </p:cNvPr>
          <p:cNvSpPr>
            <a:spLocks noGrp="1"/>
          </p:cNvSpPr>
          <p:nvPr>
            <p:ph type="ftr" sz="quarter" idx="26"/>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595107467"/>
      </p:ext>
    </p:extLst>
  </p:cSld>
  <p:clrMapOvr>
    <a:masterClrMapping/>
  </p:clrMapOvr>
  <p:transition>
    <p:wipe/>
  </p:transition>
  <p:extLst>
    <p:ext uri="{DCECCB84-F9BA-43D5-87BE-67443E8EF086}">
      <p15:sldGuideLst xmlns:p15="http://schemas.microsoft.com/office/powerpoint/2012/main">
        <p15:guide id="1" pos="32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Mobile_layout_Dark">
    <p:bg>
      <p:bgPr>
        <a:solidFill>
          <a:srgbClr val="00243D"/>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2819399"/>
            <a:ext cx="3563938" cy="2400611"/>
          </a:xfrm>
        </p:spPr>
        <p:txBody>
          <a:bodyPr/>
          <a:lstStyle>
            <a:lvl1pPr>
              <a:defRPr>
                <a:solidFill>
                  <a:srgbClr val="FF6120"/>
                </a:solidFill>
              </a:defRPr>
            </a:lvl1pPr>
            <a:lvl2pPr>
              <a:defRPr>
                <a:solidFill>
                  <a:schemeClr val="bg1"/>
                </a:solidFill>
              </a:defRPr>
            </a:lvl2pPr>
            <a:lvl3pPr>
              <a:buClrTx/>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7" name="Title 6">
            <a:extLst>
              <a:ext uri="{FF2B5EF4-FFF2-40B4-BE49-F238E27FC236}">
                <a16:creationId xmlns:a16="http://schemas.microsoft.com/office/drawing/2014/main" id="{9F803EAB-132F-D9A4-7708-1716A4EEEB4C}"/>
              </a:ext>
            </a:extLst>
          </p:cNvPr>
          <p:cNvSpPr>
            <a:spLocks noGrp="1"/>
          </p:cNvSpPr>
          <p:nvPr>
            <p:ph type="title" hasCustomPrompt="1"/>
          </p:nvPr>
        </p:nvSpPr>
        <p:spPr>
          <a:xfrm>
            <a:off x="576263" y="576264"/>
            <a:ext cx="3563937" cy="2195512"/>
          </a:xfrm>
        </p:spPr>
        <p:txBody>
          <a:bodyPr anchor="b" anchorCtr="0"/>
          <a:lstStyle>
            <a:lvl1pPr>
              <a:defRPr sz="5400" b="0" cap="all" baseline="0">
                <a:solidFill>
                  <a:schemeClr val="bg1"/>
                </a:solidFill>
                <a:latin typeface="+mn-lt"/>
                <a:cs typeface="Times New Roman" panose="02020603050405020304" pitchFamily="18" charset="0"/>
              </a:defRPr>
            </a:lvl1pPr>
          </a:lstStyle>
          <a:p>
            <a:r>
              <a:rPr lang="en-US" dirty="0"/>
              <a:t>Short Headline</a:t>
            </a:r>
            <a:endParaRPr lang="en-GB" dirty="0"/>
          </a:p>
        </p:txBody>
      </p:sp>
      <p:pic>
        <p:nvPicPr>
          <p:cNvPr id="9" name="Picture 8" descr="iPhone-6-Flat-Mockup---Black.png">
            <a:extLst>
              <a:ext uri="{FF2B5EF4-FFF2-40B4-BE49-F238E27FC236}">
                <a16:creationId xmlns:a16="http://schemas.microsoft.com/office/drawing/2014/main" id="{D2114FD1-3675-C5B7-22BA-E9697C29FE6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7694613" y="-698842"/>
            <a:ext cx="3196253" cy="6064536"/>
          </a:xfrm>
          <a:prstGeom prst="rect">
            <a:avLst/>
          </a:prstGeom>
        </p:spPr>
      </p:pic>
      <p:pic>
        <p:nvPicPr>
          <p:cNvPr id="11" name="Picture 10" descr="iPhone-6-Flat-Mockup---Black.png">
            <a:extLst>
              <a:ext uri="{FF2B5EF4-FFF2-40B4-BE49-F238E27FC236}">
                <a16:creationId xmlns:a16="http://schemas.microsoft.com/office/drawing/2014/main" id="{7E8448EA-D00E-A194-F414-DE3D8CE0EBA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121150" y="1201145"/>
            <a:ext cx="3196253" cy="6193878"/>
          </a:xfrm>
          <a:prstGeom prst="rect">
            <a:avLst/>
          </a:prstGeom>
        </p:spPr>
      </p:pic>
      <p:sp>
        <p:nvSpPr>
          <p:cNvPr id="12" name="Picture Placeholder 7">
            <a:extLst>
              <a:ext uri="{FF2B5EF4-FFF2-40B4-BE49-F238E27FC236}">
                <a16:creationId xmlns:a16="http://schemas.microsoft.com/office/drawing/2014/main" id="{EC66A661-4425-904E-0B6A-8764D3AA600D}"/>
              </a:ext>
            </a:extLst>
          </p:cNvPr>
          <p:cNvSpPr>
            <a:spLocks noGrp="1"/>
          </p:cNvSpPr>
          <p:nvPr>
            <p:ph type="pic" sz="quarter" idx="38"/>
          </p:nvPr>
        </p:nvSpPr>
        <p:spPr>
          <a:xfrm>
            <a:off x="4376083" y="2032556"/>
            <a:ext cx="2757117" cy="4549622"/>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13" name="Picture Placeholder 7">
            <a:extLst>
              <a:ext uri="{FF2B5EF4-FFF2-40B4-BE49-F238E27FC236}">
                <a16:creationId xmlns:a16="http://schemas.microsoft.com/office/drawing/2014/main" id="{1D417E41-40A9-0B9E-E17A-879EDB50B35F}"/>
              </a:ext>
            </a:extLst>
          </p:cNvPr>
          <p:cNvSpPr>
            <a:spLocks noGrp="1"/>
          </p:cNvSpPr>
          <p:nvPr>
            <p:ph type="pic" sz="quarter" idx="39"/>
          </p:nvPr>
        </p:nvSpPr>
        <p:spPr>
          <a:xfrm>
            <a:off x="7928757" y="44805"/>
            <a:ext cx="2757117" cy="4549622"/>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6" name="Text Placeholder 7">
            <a:extLst>
              <a:ext uri="{FF2B5EF4-FFF2-40B4-BE49-F238E27FC236}">
                <a16:creationId xmlns:a16="http://schemas.microsoft.com/office/drawing/2014/main" id="{CE178CC7-DEF3-0EBC-1577-4DD15428481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D3062D51-DD38-E4E5-FF83-5413F7C25FA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B1E68645-FB4B-7D14-922C-912AAB2918E8}"/>
              </a:ext>
            </a:extLst>
          </p:cNvPr>
          <p:cNvSpPr>
            <a:spLocks noGrp="1"/>
          </p:cNvSpPr>
          <p:nvPr>
            <p:ph type="ftr" sz="quarter" idx="40"/>
          </p:nvPr>
        </p:nvSpPr>
        <p:spPr/>
        <p:txBody>
          <a:bodyPr/>
          <a:lstStyle>
            <a:lvl1pPr>
              <a:defRPr>
                <a:solidFill>
                  <a:schemeClr val="bg1"/>
                </a:solidFill>
              </a:defRPr>
            </a:lvl1pPr>
          </a:lstStyle>
          <a:p>
            <a:r>
              <a:rPr lang="en-GB"/>
              <a:t>Information Classification: PUBLIC</a:t>
            </a:r>
            <a:endParaRPr lang="en-GB" dirty="0"/>
          </a:p>
        </p:txBody>
      </p:sp>
      <p:pic>
        <p:nvPicPr>
          <p:cNvPr id="8" name="Picture 7">
            <a:extLst>
              <a:ext uri="{FF2B5EF4-FFF2-40B4-BE49-F238E27FC236}">
                <a16:creationId xmlns:a16="http://schemas.microsoft.com/office/drawing/2014/main" id="{18D35E54-01AF-23F2-3903-CE90D6254B41}"/>
              </a:ext>
            </a:extLst>
          </p:cNvPr>
          <p:cNvPicPr>
            <a:picLocks noChangeAspect="1"/>
          </p:cNvPicPr>
          <p:nvPr userDrawn="1"/>
        </p:nvPicPr>
        <p:blipFill>
          <a:blip r:embed="rId3"/>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835889050"/>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 1 row chart / table single head">
    <p:spTree>
      <p:nvGrpSpPr>
        <p:cNvPr id="1" name=""/>
        <p:cNvGrpSpPr/>
        <p:nvPr/>
      </p:nvGrpSpPr>
      <p:grpSpPr>
        <a:xfrm>
          <a:off x="0" y="0"/>
          <a:ext cx="0" cy="0"/>
          <a:chOff x="0" y="0"/>
          <a:chExt cx="0" cy="0"/>
        </a:xfrm>
      </p:grpSpPr>
      <p:sp>
        <p:nvSpPr>
          <p:cNvPr id="20" name="Text Placeholder 12"/>
          <p:cNvSpPr>
            <a:spLocks noGrp="1"/>
          </p:cNvSpPr>
          <p:nvPr>
            <p:ph type="body" sz="quarter" idx="17" hasCustomPrompt="1"/>
          </p:nvPr>
        </p:nvSpPr>
        <p:spPr>
          <a:xfrm>
            <a:off x="5904000" y="1439863"/>
            <a:ext cx="5040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2" y="1439863"/>
            <a:ext cx="5039737" cy="288000"/>
          </a:xfrm>
        </p:spPr>
        <p:txBody>
          <a:bodyPr/>
          <a:lstStyle>
            <a:lvl1pPr algn="ctr">
              <a:defRPr cap="all" spc="0" baseline="0"/>
            </a:lvl1pPr>
          </a:lstStyle>
          <a:p>
            <a:pPr lvl="0"/>
            <a:r>
              <a:rPr lang="en-US" dirty="0"/>
              <a:t>Single line heading</a:t>
            </a:r>
          </a:p>
        </p:txBody>
      </p:sp>
      <p:sp>
        <p:nvSpPr>
          <p:cNvPr id="9" name="Content Placeholder 3"/>
          <p:cNvSpPr>
            <a:spLocks noGrp="1"/>
          </p:cNvSpPr>
          <p:nvPr>
            <p:ph sz="quarter" idx="31"/>
          </p:nvPr>
        </p:nvSpPr>
        <p:spPr>
          <a:xfrm>
            <a:off x="5904000" y="1727863"/>
            <a:ext cx="5040225"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p:cNvSpPr>
            <a:spLocks noGrp="1"/>
          </p:cNvSpPr>
          <p:nvPr>
            <p:ph sz="quarter" idx="30"/>
          </p:nvPr>
        </p:nvSpPr>
        <p:spPr>
          <a:xfrm>
            <a:off x="576262" y="1727863"/>
            <a:ext cx="5039737"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3F1F6191-C141-F56A-C562-D9E21219F6D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6" name="Title 5">
            <a:extLst>
              <a:ext uri="{FF2B5EF4-FFF2-40B4-BE49-F238E27FC236}">
                <a16:creationId xmlns:a16="http://schemas.microsoft.com/office/drawing/2014/main" id="{52AFD575-D302-2CB9-CA0D-54A12888A8C8}"/>
              </a:ext>
            </a:extLst>
          </p:cNvPr>
          <p:cNvSpPr>
            <a:spLocks noGrp="1"/>
          </p:cNvSpPr>
          <p:nvPr>
            <p:ph type="title"/>
          </p:nvPr>
        </p:nvSpPr>
        <p:spPr/>
        <p:txBody>
          <a:bodyPr/>
          <a:lstStyle/>
          <a:p>
            <a:r>
              <a:rPr lang="en-US"/>
              <a:t>Click to edit Master title style</a:t>
            </a:r>
            <a:endParaRPr lang="en-GB"/>
          </a:p>
        </p:txBody>
      </p:sp>
      <p:sp>
        <p:nvSpPr>
          <p:cNvPr id="7" name="Footer Placeholder 6">
            <a:extLst>
              <a:ext uri="{FF2B5EF4-FFF2-40B4-BE49-F238E27FC236}">
                <a16:creationId xmlns:a16="http://schemas.microsoft.com/office/drawing/2014/main" id="{B2751788-372A-C602-1384-0F5E60AF9F33}"/>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238D7C8A-2684-8A6B-BF73-848DCCDBD46A}"/>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4FE1665A-C0B8-8D55-4E29-8C006F588D0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927294761"/>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Mobile_layout_Light">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10" name="Content Placeholder 3">
            <a:extLst>
              <a:ext uri="{FF2B5EF4-FFF2-40B4-BE49-F238E27FC236}">
                <a16:creationId xmlns:a16="http://schemas.microsoft.com/office/drawing/2014/main" id="{BCF3F598-41F4-EF9F-761F-42F4F823C4E8}"/>
              </a:ext>
            </a:extLst>
          </p:cNvPr>
          <p:cNvSpPr>
            <a:spLocks noGrp="1"/>
          </p:cNvSpPr>
          <p:nvPr>
            <p:ph sz="quarter" idx="30"/>
          </p:nvPr>
        </p:nvSpPr>
        <p:spPr>
          <a:xfrm>
            <a:off x="576263" y="2819399"/>
            <a:ext cx="3476626" cy="2400611"/>
          </a:xfrm>
        </p:spPr>
        <p:txBody>
          <a:bodyPr/>
          <a:lstStyle>
            <a:lvl1pPr>
              <a:defRPr>
                <a:solidFill>
                  <a:srgbClr val="FF6120"/>
                </a:solidFill>
              </a:defRPr>
            </a:lvl1pPr>
            <a:lvl2pPr>
              <a:defRPr>
                <a:solidFill>
                  <a:schemeClr val="tx2"/>
                </a:solidFill>
              </a:defRPr>
            </a:lvl2pPr>
            <a:lvl3pPr>
              <a:buClrTx/>
              <a:defRPr>
                <a:solidFill>
                  <a:schemeClr val="tx2"/>
                </a:solidFill>
              </a:defRPr>
            </a:lvl3pPr>
            <a:lvl4pPr marL="360000" indent="-180000">
              <a:buClrTx/>
              <a:buFont typeface="Avenir Next LT Pro" panose="020B0504020202020204" pitchFamily="34" charset="0"/>
              <a:buChar char="—"/>
              <a:defRPr>
                <a:solidFill>
                  <a:schemeClr val="tx2"/>
                </a:solidFill>
              </a:defRPr>
            </a:lvl4pPr>
            <a:lvl5pPr marL="540000" indent="-180000">
              <a:buClrTx/>
              <a:buFont typeface="Avenir Next LT Pro" panose="020B0504020202020204" pitchFamily="34" charset="0"/>
              <a:buChar cha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6">
            <a:extLst>
              <a:ext uri="{FF2B5EF4-FFF2-40B4-BE49-F238E27FC236}">
                <a16:creationId xmlns:a16="http://schemas.microsoft.com/office/drawing/2014/main" id="{75225B00-820D-2AC9-6CAA-0568224511C6}"/>
              </a:ext>
            </a:extLst>
          </p:cNvPr>
          <p:cNvSpPr>
            <a:spLocks noGrp="1"/>
          </p:cNvSpPr>
          <p:nvPr>
            <p:ph type="title" hasCustomPrompt="1"/>
          </p:nvPr>
        </p:nvSpPr>
        <p:spPr>
          <a:xfrm>
            <a:off x="576263" y="576264"/>
            <a:ext cx="3563937" cy="2195512"/>
          </a:xfrm>
        </p:spPr>
        <p:txBody>
          <a:bodyPr anchor="b" anchorCtr="0"/>
          <a:lstStyle>
            <a:lvl1pPr>
              <a:defRPr sz="5400" b="0" cap="all" baseline="0">
                <a:solidFill>
                  <a:srgbClr val="00485E"/>
                </a:solidFill>
                <a:latin typeface="+mn-lt"/>
                <a:cs typeface="Times New Roman" panose="02020603050405020304" pitchFamily="18" charset="0"/>
              </a:defRPr>
            </a:lvl1pPr>
          </a:lstStyle>
          <a:p>
            <a:r>
              <a:rPr lang="en-US" dirty="0"/>
              <a:t>Short Headline</a:t>
            </a:r>
            <a:endParaRPr lang="en-GB" dirty="0"/>
          </a:p>
        </p:txBody>
      </p:sp>
      <p:pic>
        <p:nvPicPr>
          <p:cNvPr id="13" name="Picture 12" descr="iPhone-6-Flat-Mockup---Black.png">
            <a:extLst>
              <a:ext uri="{FF2B5EF4-FFF2-40B4-BE49-F238E27FC236}">
                <a16:creationId xmlns:a16="http://schemas.microsoft.com/office/drawing/2014/main" id="{F97AA20C-A05B-8070-1548-B7EB9170679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394"/>
          <a:stretch/>
        </p:blipFill>
        <p:spPr>
          <a:xfrm>
            <a:off x="7694613" y="-698842"/>
            <a:ext cx="3196253" cy="6064536"/>
          </a:xfrm>
          <a:prstGeom prst="rect">
            <a:avLst/>
          </a:prstGeom>
        </p:spPr>
      </p:pic>
      <p:pic>
        <p:nvPicPr>
          <p:cNvPr id="14" name="Picture 13" descr="iPhone-6-Flat-Mockup---Black.png">
            <a:extLst>
              <a:ext uri="{FF2B5EF4-FFF2-40B4-BE49-F238E27FC236}">
                <a16:creationId xmlns:a16="http://schemas.microsoft.com/office/drawing/2014/main" id="{A1CA38B8-AF3C-EC21-5AF8-5D150AC7F6F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 b="-707"/>
          <a:stretch/>
        </p:blipFill>
        <p:spPr>
          <a:xfrm>
            <a:off x="4121150" y="1201145"/>
            <a:ext cx="3196253" cy="6193878"/>
          </a:xfrm>
          <a:prstGeom prst="rect">
            <a:avLst/>
          </a:prstGeom>
        </p:spPr>
      </p:pic>
      <p:sp>
        <p:nvSpPr>
          <p:cNvPr id="15" name="Picture Placeholder 7">
            <a:extLst>
              <a:ext uri="{FF2B5EF4-FFF2-40B4-BE49-F238E27FC236}">
                <a16:creationId xmlns:a16="http://schemas.microsoft.com/office/drawing/2014/main" id="{22C93FFF-D094-A79B-BBC4-E60E5019B3C2}"/>
              </a:ext>
            </a:extLst>
          </p:cNvPr>
          <p:cNvSpPr>
            <a:spLocks noGrp="1"/>
          </p:cNvSpPr>
          <p:nvPr>
            <p:ph type="pic" sz="quarter" idx="38"/>
          </p:nvPr>
        </p:nvSpPr>
        <p:spPr>
          <a:xfrm>
            <a:off x="4376083" y="2032556"/>
            <a:ext cx="2757117" cy="4549622"/>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16" name="Picture Placeholder 7">
            <a:extLst>
              <a:ext uri="{FF2B5EF4-FFF2-40B4-BE49-F238E27FC236}">
                <a16:creationId xmlns:a16="http://schemas.microsoft.com/office/drawing/2014/main" id="{43E81078-F60B-9196-7309-7F6EBA57AA28}"/>
              </a:ext>
            </a:extLst>
          </p:cNvPr>
          <p:cNvSpPr>
            <a:spLocks noGrp="1"/>
          </p:cNvSpPr>
          <p:nvPr>
            <p:ph type="pic" sz="quarter" idx="39"/>
          </p:nvPr>
        </p:nvSpPr>
        <p:spPr>
          <a:xfrm>
            <a:off x="7928757" y="44805"/>
            <a:ext cx="2757117" cy="4549622"/>
          </a:xfrm>
          <a:prstGeom prst="rect">
            <a:avLst/>
          </a:prstGeom>
          <a:solidFill>
            <a:srgbClr val="676867"/>
          </a:solidFill>
        </p:spPr>
        <p:txBody>
          <a:bodyPr/>
          <a:lstStyle>
            <a:lvl1pPr>
              <a:defRPr>
                <a:latin typeface="Avenir Next LT Pro" panose="020B0504020202020204" pitchFamily="34" charset="77"/>
              </a:defRPr>
            </a:lvl1pPr>
          </a:lstStyle>
          <a:p>
            <a:endParaRPr lang="en-US" dirty="0"/>
          </a:p>
        </p:txBody>
      </p:sp>
      <p:sp>
        <p:nvSpPr>
          <p:cNvPr id="4" name="Source">
            <a:extLst>
              <a:ext uri="{FF2B5EF4-FFF2-40B4-BE49-F238E27FC236}">
                <a16:creationId xmlns:a16="http://schemas.microsoft.com/office/drawing/2014/main" id="{C3E6FE1E-BD9D-6362-7552-A6D3699EC928}"/>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7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B0837D0-9F55-87E9-CD87-154BA75CEF2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2" name="Footer Placeholder 1">
            <a:extLst>
              <a:ext uri="{FF2B5EF4-FFF2-40B4-BE49-F238E27FC236}">
                <a16:creationId xmlns:a16="http://schemas.microsoft.com/office/drawing/2014/main" id="{D6FCAFE4-CF7D-3718-6C84-498E3ED69F48}"/>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4048081020"/>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 Content with image - dark">
    <p:bg>
      <p:bgPr>
        <a:solidFill>
          <a:srgbClr val="00243D"/>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panose="020B0503020202020204" pitchFamily="34" charset="0"/>
            </a:endParaRPr>
          </a:p>
        </p:txBody>
      </p:sp>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761038" y="-1115"/>
            <a:ext cx="5759450" cy="648129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7" name="Slide Number Placeholder 6">
            <a:extLst>
              <a:ext uri="{FF2B5EF4-FFF2-40B4-BE49-F238E27FC236}">
                <a16:creationId xmlns:a16="http://schemas.microsoft.com/office/drawing/2014/main" id="{9010D2F0-8657-B30B-B4F6-DED74E063786}"/>
              </a:ext>
            </a:extLst>
          </p:cNvPr>
          <p:cNvSpPr>
            <a:spLocks noGrp="1"/>
          </p:cNvSpPr>
          <p:nvPr>
            <p:ph type="sldNum" sz="quarter" idx="19"/>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2F57425D-7E65-3402-BBC7-D03F0C1CE83B}"/>
              </a:ext>
            </a:extLst>
          </p:cNvPr>
          <p:cNvSpPr>
            <a:spLocks noGrp="1"/>
          </p:cNvSpPr>
          <p:nvPr>
            <p:ph type="title" hasCustomPrompt="1"/>
          </p:nvPr>
        </p:nvSpPr>
        <p:spPr>
          <a:xfrm>
            <a:off x="576026" y="2573743"/>
            <a:ext cx="4895851"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9" name="Text Placeholder 7">
            <a:extLst>
              <a:ext uri="{FF2B5EF4-FFF2-40B4-BE49-F238E27FC236}">
                <a16:creationId xmlns:a16="http://schemas.microsoft.com/office/drawing/2014/main" id="{7ED8CA80-2FF4-3412-82FA-925AB0B8FB58}"/>
              </a:ext>
            </a:extLst>
          </p:cNvPr>
          <p:cNvSpPr>
            <a:spLocks noGrp="1"/>
          </p:cNvSpPr>
          <p:nvPr>
            <p:ph type="body" sz="quarter" idx="22"/>
          </p:nvPr>
        </p:nvSpPr>
        <p:spPr>
          <a:xfrm>
            <a:off x="576261" y="3200399"/>
            <a:ext cx="4895851" cy="2047876"/>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ext Placeholder 7">
            <a:extLst>
              <a:ext uri="{FF2B5EF4-FFF2-40B4-BE49-F238E27FC236}">
                <a16:creationId xmlns:a16="http://schemas.microsoft.com/office/drawing/2014/main" id="{26BB8B26-9E4B-57F1-59D3-8600AA7FAEFB}"/>
              </a:ext>
            </a:extLst>
          </p:cNvPr>
          <p:cNvSpPr>
            <a:spLocks noGrp="1"/>
          </p:cNvSpPr>
          <p:nvPr>
            <p:ph type="body" sz="quarter" idx="23"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3" name="Footer Placeholder 2">
            <a:extLst>
              <a:ext uri="{FF2B5EF4-FFF2-40B4-BE49-F238E27FC236}">
                <a16:creationId xmlns:a16="http://schemas.microsoft.com/office/drawing/2014/main" id="{BACEF85E-D804-D3A5-F82E-B469E873D4EC}"/>
              </a:ext>
            </a:extLst>
          </p:cNvPr>
          <p:cNvSpPr>
            <a:spLocks noGrp="1"/>
          </p:cNvSpPr>
          <p:nvPr>
            <p:ph type="ftr" sz="quarter" idx="24"/>
          </p:nvPr>
        </p:nvSpPr>
        <p:spPr/>
        <p:txBody>
          <a:bodyPr/>
          <a:lstStyle>
            <a:lvl1pPr>
              <a:defRPr>
                <a:solidFill>
                  <a:schemeClr val="bg1"/>
                </a:solidFill>
              </a:defRPr>
            </a:lvl1pPr>
          </a:lstStyle>
          <a:p>
            <a:r>
              <a:rPr lang="en-GB"/>
              <a:t>Information Classification: PUBLIC</a:t>
            </a:r>
            <a:endParaRPr lang="en-GB" dirty="0"/>
          </a:p>
        </p:txBody>
      </p:sp>
      <p:pic>
        <p:nvPicPr>
          <p:cNvPr id="5" name="Picture 4">
            <a:extLst>
              <a:ext uri="{FF2B5EF4-FFF2-40B4-BE49-F238E27FC236}">
                <a16:creationId xmlns:a16="http://schemas.microsoft.com/office/drawing/2014/main" id="{20839B96-1D8C-EA32-1D8B-59D354FF3221}"/>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729814714"/>
      </p:ext>
    </p:extLst>
  </p:cSld>
  <p:clrMapOvr>
    <a:masterClrMapping/>
  </p:clrMapOvr>
  <p:transition>
    <p:wipe/>
  </p:transition>
  <p:extLst>
    <p:ext uri="{DCECCB84-F9BA-43D5-87BE-67443E8EF086}">
      <p15:sldGuideLst xmlns:p15="http://schemas.microsoft.com/office/powerpoint/2012/main">
        <p15:guide id="1" pos="3447">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 Content with image - newsprint">
    <p:spTree>
      <p:nvGrpSpPr>
        <p:cNvPr id="1" name=""/>
        <p:cNvGrpSpPr/>
        <p:nvPr/>
      </p:nvGrpSpPr>
      <p:grpSpPr>
        <a:xfrm>
          <a:off x="0" y="0"/>
          <a:ext cx="0" cy="0"/>
          <a:chOff x="0" y="0"/>
          <a:chExt cx="0" cy="0"/>
        </a:xfrm>
      </p:grpSpPr>
      <p:sp>
        <p:nvSpPr>
          <p:cNvPr id="24" name="Picture Placeholder 15">
            <a:extLst>
              <a:ext uri="{FF2B5EF4-FFF2-40B4-BE49-F238E27FC236}">
                <a16:creationId xmlns:a16="http://schemas.microsoft.com/office/drawing/2014/main" id="{33148F70-AFB4-0151-EA12-DC39FED8F95D}"/>
              </a:ext>
            </a:extLst>
          </p:cNvPr>
          <p:cNvSpPr>
            <a:spLocks noGrp="1"/>
          </p:cNvSpPr>
          <p:nvPr>
            <p:ph type="pic" sz="quarter" idx="19"/>
          </p:nvPr>
        </p:nvSpPr>
        <p:spPr>
          <a:xfrm>
            <a:off x="5761038" y="-1115"/>
            <a:ext cx="5759450" cy="648129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4" name="Slide Number Placeholder 3">
            <a:extLst>
              <a:ext uri="{FF2B5EF4-FFF2-40B4-BE49-F238E27FC236}">
                <a16:creationId xmlns:a16="http://schemas.microsoft.com/office/drawing/2014/main" id="{39E77E3F-701D-9E94-B75A-5E3E73CBD40B}"/>
              </a:ext>
            </a:extLst>
          </p:cNvPr>
          <p:cNvSpPr>
            <a:spLocks noGrp="1"/>
          </p:cNvSpPr>
          <p:nvPr>
            <p:ph type="sldNum" sz="quarter" idx="22"/>
          </p:nvPr>
        </p:nvSpPr>
        <p:spPr/>
        <p:txBody>
          <a:bodyPr/>
          <a:lstStyle/>
          <a:p>
            <a:fld id="{0F961903-03AF-4EAC-BF2C-945F8C5557D1}" type="slidenum">
              <a:rPr lang="en-GB" smtClean="0"/>
              <a:pPr/>
              <a:t>‹#›</a:t>
            </a:fld>
            <a:endParaRPr lang="en-GB" dirty="0"/>
          </a:p>
        </p:txBody>
      </p:sp>
      <p:sp>
        <p:nvSpPr>
          <p:cNvPr id="7" name="Title 1">
            <a:extLst>
              <a:ext uri="{FF2B5EF4-FFF2-40B4-BE49-F238E27FC236}">
                <a16:creationId xmlns:a16="http://schemas.microsoft.com/office/drawing/2014/main" id="{084FA926-BC3B-F333-93D6-1A7ABFDD5C61}"/>
              </a:ext>
            </a:extLst>
          </p:cNvPr>
          <p:cNvSpPr>
            <a:spLocks noGrp="1"/>
          </p:cNvSpPr>
          <p:nvPr>
            <p:ph type="title" hasCustomPrompt="1"/>
          </p:nvPr>
        </p:nvSpPr>
        <p:spPr>
          <a:xfrm>
            <a:off x="576026" y="2573743"/>
            <a:ext cx="4895850" cy="436231"/>
          </a:xfrm>
        </p:spPr>
        <p:txBody>
          <a:bodyPr rIns="0" anchor="b" anchorCtr="0"/>
          <a:lstStyle>
            <a:lvl1pPr>
              <a:lnSpc>
                <a:spcPts val="4158"/>
              </a:lnSpc>
              <a:defRPr sz="4158">
                <a:solidFill>
                  <a:srgbClr val="00485E"/>
                </a:solidFill>
                <a:latin typeface="Avenir Next LT Pro" panose="020B0504020202020204" pitchFamily="34" charset="77"/>
              </a:defRPr>
            </a:lvl1pPr>
          </a:lstStyle>
          <a:p>
            <a:r>
              <a:rPr lang="en-US" dirty="0"/>
              <a:t>SHORT </a:t>
            </a:r>
            <a:br>
              <a:rPr lang="en-US" dirty="0"/>
            </a:br>
            <a:r>
              <a:rPr lang="en-US" dirty="0"/>
              <a:t>HEADLINE</a:t>
            </a:r>
          </a:p>
        </p:txBody>
      </p:sp>
      <p:sp>
        <p:nvSpPr>
          <p:cNvPr id="8" name="Text Placeholder 29">
            <a:extLst>
              <a:ext uri="{FF2B5EF4-FFF2-40B4-BE49-F238E27FC236}">
                <a16:creationId xmlns:a16="http://schemas.microsoft.com/office/drawing/2014/main" id="{7CF4FB5C-56E1-6527-B79A-323715E748C0}"/>
              </a:ext>
            </a:extLst>
          </p:cNvPr>
          <p:cNvSpPr>
            <a:spLocks noGrp="1"/>
          </p:cNvSpPr>
          <p:nvPr>
            <p:ph type="body" sz="quarter" idx="24"/>
          </p:nvPr>
        </p:nvSpPr>
        <p:spPr>
          <a:xfrm>
            <a:off x="576263" y="3200399"/>
            <a:ext cx="4895850" cy="1990725"/>
          </a:xfrm>
        </p:spPr>
        <p:txBody>
          <a:bodyPr/>
          <a:lstStyle>
            <a:lvl1pPr>
              <a:defRPr>
                <a:solidFill>
                  <a:srgbClr val="FF612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ext Placeholder 7">
            <a:extLst>
              <a:ext uri="{FF2B5EF4-FFF2-40B4-BE49-F238E27FC236}">
                <a16:creationId xmlns:a16="http://schemas.microsoft.com/office/drawing/2014/main" id="{6C5A8E66-701D-CC8C-A6DC-89BD5620487E}"/>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6" name="Footer Placeholder 5">
            <a:extLst>
              <a:ext uri="{FF2B5EF4-FFF2-40B4-BE49-F238E27FC236}">
                <a16:creationId xmlns:a16="http://schemas.microsoft.com/office/drawing/2014/main" id="{27482BA6-2D74-5878-81BA-62117503D015}"/>
              </a:ext>
            </a:extLst>
          </p:cNvPr>
          <p:cNvSpPr>
            <a:spLocks noGrp="1"/>
          </p:cNvSpPr>
          <p:nvPr>
            <p:ph type="ftr" sz="quarter" idx="25"/>
          </p:nvPr>
        </p:nvSpPr>
        <p:spPr/>
        <p:txBody>
          <a:bodyPr/>
          <a:lstStyle/>
          <a:p>
            <a:r>
              <a:rPr lang="en-GB"/>
              <a:t>Information Classification: PUBLIC</a:t>
            </a:r>
            <a:endParaRPr lang="en-GB" dirty="0"/>
          </a:p>
        </p:txBody>
      </p:sp>
      <p:pic>
        <p:nvPicPr>
          <p:cNvPr id="3" name="Picture 2">
            <a:extLst>
              <a:ext uri="{FF2B5EF4-FFF2-40B4-BE49-F238E27FC236}">
                <a16:creationId xmlns:a16="http://schemas.microsoft.com/office/drawing/2014/main" id="{A4A75DB7-1C00-031D-65CA-1D188FAA838C}"/>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2650838978"/>
      </p:ext>
    </p:extLst>
  </p:cSld>
  <p:clrMapOvr>
    <a:masterClrMapping/>
  </p:clrMapOvr>
  <p:transition>
    <p:wipe/>
  </p:transition>
  <p:extLst>
    <p:ext uri="{DCECCB84-F9BA-43D5-87BE-67443E8EF086}">
      <p15:sldGuideLst xmlns:p15="http://schemas.microsoft.com/office/powerpoint/2012/main">
        <p15:guide id="1" pos="3447">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 - Project slide with image - dark">
    <p:bg>
      <p:bgPr>
        <a:solidFill>
          <a:srgbClr val="00243D"/>
        </a:solidFill>
        <a:effectLst/>
      </p:bgPr>
    </p:bg>
    <p:spTree>
      <p:nvGrpSpPr>
        <p:cNvPr id="1" name=""/>
        <p:cNvGrpSpPr/>
        <p:nvPr/>
      </p:nvGrpSpPr>
      <p:grpSpPr>
        <a:xfrm>
          <a:off x="0" y="0"/>
          <a:ext cx="0" cy="0"/>
          <a:chOff x="0" y="0"/>
          <a:chExt cx="0" cy="0"/>
        </a:xfrm>
      </p:grpSpPr>
      <p:sp>
        <p:nvSpPr>
          <p:cNvPr id="22" name="Picture Placeholder 15">
            <a:extLst>
              <a:ext uri="{FF2B5EF4-FFF2-40B4-BE49-F238E27FC236}">
                <a16:creationId xmlns:a16="http://schemas.microsoft.com/office/drawing/2014/main" id="{588F67F4-191F-DE38-FDF9-7ABA026153B1}"/>
              </a:ext>
            </a:extLst>
          </p:cNvPr>
          <p:cNvSpPr>
            <a:spLocks noGrp="1"/>
          </p:cNvSpPr>
          <p:nvPr>
            <p:ph type="pic" sz="quarter" idx="17"/>
          </p:nvPr>
        </p:nvSpPr>
        <p:spPr>
          <a:xfrm>
            <a:off x="5761038" y="-1115"/>
            <a:ext cx="5759450" cy="648129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dirty="0"/>
          </a:p>
        </p:txBody>
      </p:sp>
      <p:sp>
        <p:nvSpPr>
          <p:cNvPr id="4" name="Slide Number Placeholder 3">
            <a:extLst>
              <a:ext uri="{FF2B5EF4-FFF2-40B4-BE49-F238E27FC236}">
                <a16:creationId xmlns:a16="http://schemas.microsoft.com/office/drawing/2014/main" id="{6C12EB97-2A39-A07C-EB11-4F5EC5C9E426}"/>
              </a:ext>
            </a:extLst>
          </p:cNvPr>
          <p:cNvSpPr>
            <a:spLocks noGrp="1"/>
          </p:cNvSpPr>
          <p:nvPr>
            <p:ph type="sldNum" sz="quarter" idx="21"/>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7" name="Title 1">
            <a:extLst>
              <a:ext uri="{FF2B5EF4-FFF2-40B4-BE49-F238E27FC236}">
                <a16:creationId xmlns:a16="http://schemas.microsoft.com/office/drawing/2014/main" id="{4C972D21-6B1F-E2D3-06C9-CD2B655C6B54}"/>
              </a:ext>
            </a:extLst>
          </p:cNvPr>
          <p:cNvSpPr>
            <a:spLocks noGrp="1"/>
          </p:cNvSpPr>
          <p:nvPr>
            <p:ph type="title" hasCustomPrompt="1"/>
          </p:nvPr>
        </p:nvSpPr>
        <p:spPr>
          <a:xfrm>
            <a:off x="576026" y="1420813"/>
            <a:ext cx="4895851" cy="436231"/>
          </a:xfrm>
        </p:spPr>
        <p:txBody>
          <a:bodyPr rIns="0" anchor="b" anchorCtr="0"/>
          <a:lstStyle>
            <a:lvl1pPr>
              <a:lnSpc>
                <a:spcPts val="4158"/>
              </a:lnSpc>
              <a:defRPr sz="4158">
                <a:solidFill>
                  <a:schemeClr val="bg1"/>
                </a:solidFill>
                <a:latin typeface="Avenir Next LT Pro" panose="020B0504020202020204" pitchFamily="34" charset="77"/>
              </a:defRPr>
            </a:lvl1pPr>
          </a:lstStyle>
          <a:p>
            <a:r>
              <a:rPr lang="en-US" dirty="0"/>
              <a:t>SHORT </a:t>
            </a:r>
            <a:br>
              <a:rPr lang="en-US" dirty="0"/>
            </a:br>
            <a:r>
              <a:rPr lang="en-US" dirty="0"/>
              <a:t>HEADLINE</a:t>
            </a:r>
          </a:p>
        </p:txBody>
      </p:sp>
      <p:sp>
        <p:nvSpPr>
          <p:cNvPr id="8" name="Text Placeholder 7">
            <a:extLst>
              <a:ext uri="{FF2B5EF4-FFF2-40B4-BE49-F238E27FC236}">
                <a16:creationId xmlns:a16="http://schemas.microsoft.com/office/drawing/2014/main" id="{AFD44C0B-A8CF-C62D-D26C-05A5B86D792C}"/>
              </a:ext>
            </a:extLst>
          </p:cNvPr>
          <p:cNvSpPr>
            <a:spLocks noGrp="1"/>
          </p:cNvSpPr>
          <p:nvPr>
            <p:ph type="body" sz="quarter" idx="22"/>
          </p:nvPr>
        </p:nvSpPr>
        <p:spPr>
          <a:xfrm>
            <a:off x="576261" y="2047469"/>
            <a:ext cx="4895851" cy="2047876"/>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Rectangle 15">
            <a:extLst>
              <a:ext uri="{FF2B5EF4-FFF2-40B4-BE49-F238E27FC236}">
                <a16:creationId xmlns:a16="http://schemas.microsoft.com/office/drawing/2014/main" id="{B6EDDB20-876B-2BB6-8949-E0F16D586E09}"/>
              </a:ext>
            </a:extLst>
          </p:cNvPr>
          <p:cNvSpPr/>
          <p:nvPr userDrawn="1"/>
        </p:nvSpPr>
        <p:spPr bwMode="auto">
          <a:xfrm>
            <a:off x="576263" y="4320000"/>
            <a:ext cx="54000" cy="1080000"/>
          </a:xfrm>
          <a:prstGeom prst="rect">
            <a:avLst/>
          </a:prstGeom>
          <a:solidFill>
            <a:srgbClr val="F75C8F"/>
          </a:solidFill>
          <a:ln w="12700" algn="ctr">
            <a:noFill/>
            <a:miter lim="800000"/>
            <a:headEnd/>
            <a:tailEnd/>
          </a:ln>
          <a:effectLst/>
        </p:spPr>
        <p:txBody>
          <a:bodyPr wrap="none" lIns="36000" tIns="36000" rIns="36000" bIns="36000" rtlCol="0" anchor="t"/>
          <a:lstStyle/>
          <a:p>
            <a:pPr algn="ctr" defTabSz="863600"/>
            <a:endParaRPr lang="en-GB" sz="1100" dirty="0"/>
          </a:p>
        </p:txBody>
      </p:sp>
      <p:sp>
        <p:nvSpPr>
          <p:cNvPr id="18" name="Text Placeholder 17">
            <a:extLst>
              <a:ext uri="{FF2B5EF4-FFF2-40B4-BE49-F238E27FC236}">
                <a16:creationId xmlns:a16="http://schemas.microsoft.com/office/drawing/2014/main" id="{E371D441-FC19-9929-7419-2987ADDE71CF}"/>
              </a:ext>
            </a:extLst>
          </p:cNvPr>
          <p:cNvSpPr>
            <a:spLocks noGrp="1"/>
          </p:cNvSpPr>
          <p:nvPr>
            <p:ph type="body" sz="quarter" idx="23" hasCustomPrompt="1"/>
          </p:nvPr>
        </p:nvSpPr>
        <p:spPr>
          <a:xfrm>
            <a:off x="719999" y="4320000"/>
            <a:ext cx="2160000" cy="1225138"/>
          </a:xfrm>
        </p:spPr>
        <p:txBody>
          <a:bodyPr/>
          <a:lstStyle>
            <a:lvl1pPr>
              <a:defRPr sz="1200" cap="all" baseline="0">
                <a:solidFill>
                  <a:srgbClr val="F75C8F"/>
                </a:solidFill>
              </a:defRPr>
            </a:lvl1pPr>
            <a:lvl2pPr>
              <a:spcAft>
                <a:spcPts val="300"/>
              </a:spcAft>
              <a:defRPr sz="1100">
                <a:solidFill>
                  <a:schemeClr val="bg1"/>
                </a:solidFill>
              </a:defRPr>
            </a:lvl2pPr>
            <a:lvl3pPr>
              <a:spcAft>
                <a:spcPts val="300"/>
              </a:spcAft>
              <a:buClrTx/>
              <a:defRPr sz="1100">
                <a:solidFill>
                  <a:schemeClr val="bg1"/>
                </a:solidFill>
              </a:defRPr>
            </a:lvl3pPr>
            <a:lvl4pPr>
              <a:spcAft>
                <a:spcPts val="300"/>
              </a:spcAft>
              <a:buClr>
                <a:schemeClr val="bg1"/>
              </a:buClr>
              <a:defRPr sz="1100">
                <a:solidFill>
                  <a:schemeClr val="bg1"/>
                </a:solidFill>
              </a:defRPr>
            </a:lvl4pPr>
            <a:lvl5pPr>
              <a:spcAft>
                <a:spcPts val="300"/>
              </a:spcAft>
              <a:buClr>
                <a:schemeClr val="bg1"/>
              </a:buClr>
              <a:defRPr sz="1100">
                <a:solidFill>
                  <a:schemeClr val="bg1"/>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Rectangle 18">
            <a:extLst>
              <a:ext uri="{FF2B5EF4-FFF2-40B4-BE49-F238E27FC236}">
                <a16:creationId xmlns:a16="http://schemas.microsoft.com/office/drawing/2014/main" id="{2D6D2D6E-1DAB-8CC0-53DF-30CB1F097AE9}"/>
              </a:ext>
            </a:extLst>
          </p:cNvPr>
          <p:cNvSpPr/>
          <p:nvPr userDrawn="1"/>
        </p:nvSpPr>
        <p:spPr bwMode="auto">
          <a:xfrm>
            <a:off x="3168377" y="4320000"/>
            <a:ext cx="54000" cy="1080000"/>
          </a:xfrm>
          <a:prstGeom prst="rect">
            <a:avLst/>
          </a:prstGeom>
          <a:solidFill>
            <a:srgbClr val="F5E02E"/>
          </a:solidFill>
          <a:ln w="12700" algn="ctr">
            <a:noFill/>
            <a:miter lim="800000"/>
            <a:headEnd/>
            <a:tailEnd/>
          </a:ln>
          <a:effectLst/>
        </p:spPr>
        <p:txBody>
          <a:bodyPr wrap="none" lIns="36000" tIns="36000" rIns="36000" bIns="36000" rtlCol="0" anchor="t"/>
          <a:lstStyle/>
          <a:p>
            <a:pPr algn="ctr" defTabSz="863600"/>
            <a:endParaRPr lang="en-GB" sz="1100" dirty="0"/>
          </a:p>
        </p:txBody>
      </p:sp>
      <p:sp>
        <p:nvSpPr>
          <p:cNvPr id="20" name="Text Placeholder 17">
            <a:extLst>
              <a:ext uri="{FF2B5EF4-FFF2-40B4-BE49-F238E27FC236}">
                <a16:creationId xmlns:a16="http://schemas.microsoft.com/office/drawing/2014/main" id="{A9F03458-9087-80E8-6DC9-9D3490BEED0B}"/>
              </a:ext>
            </a:extLst>
          </p:cNvPr>
          <p:cNvSpPr>
            <a:spLocks noGrp="1"/>
          </p:cNvSpPr>
          <p:nvPr>
            <p:ph type="body" sz="quarter" idx="24" hasCustomPrompt="1"/>
          </p:nvPr>
        </p:nvSpPr>
        <p:spPr>
          <a:xfrm>
            <a:off x="3312113" y="4320000"/>
            <a:ext cx="2160000" cy="1225138"/>
          </a:xfrm>
        </p:spPr>
        <p:txBody>
          <a:bodyPr/>
          <a:lstStyle>
            <a:lvl1pPr>
              <a:defRPr sz="1200" cap="all" baseline="0">
                <a:solidFill>
                  <a:srgbClr val="F5E02E"/>
                </a:solidFill>
              </a:defRPr>
            </a:lvl1pPr>
            <a:lvl2pPr>
              <a:spcAft>
                <a:spcPts val="300"/>
              </a:spcAft>
              <a:defRPr sz="1100">
                <a:solidFill>
                  <a:schemeClr val="bg1"/>
                </a:solidFill>
              </a:defRPr>
            </a:lvl2pPr>
            <a:lvl3pPr>
              <a:spcAft>
                <a:spcPts val="300"/>
              </a:spcAft>
              <a:buClrTx/>
              <a:defRPr sz="1100">
                <a:solidFill>
                  <a:schemeClr val="bg1"/>
                </a:solidFill>
              </a:defRPr>
            </a:lvl3pPr>
            <a:lvl4pPr>
              <a:spcAft>
                <a:spcPts val="300"/>
              </a:spcAft>
              <a:buClr>
                <a:schemeClr val="bg1"/>
              </a:buClr>
              <a:defRPr sz="1100">
                <a:solidFill>
                  <a:schemeClr val="bg1"/>
                </a:solidFill>
              </a:defRPr>
            </a:lvl4pPr>
            <a:lvl5pPr>
              <a:spcAft>
                <a:spcPts val="300"/>
              </a:spcAft>
              <a:buClr>
                <a:schemeClr val="bg1"/>
              </a:buClr>
              <a:defRPr sz="1100">
                <a:solidFill>
                  <a:schemeClr val="bg1"/>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ext Placeholder 7">
            <a:extLst>
              <a:ext uri="{FF2B5EF4-FFF2-40B4-BE49-F238E27FC236}">
                <a16:creationId xmlns:a16="http://schemas.microsoft.com/office/drawing/2014/main" id="{40DBD408-FE36-C9C6-236C-458D3050323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5" name="Source">
            <a:extLst>
              <a:ext uri="{FF2B5EF4-FFF2-40B4-BE49-F238E27FC236}">
                <a16:creationId xmlns:a16="http://schemas.microsoft.com/office/drawing/2014/main" id="{8A2E79F1-2FF9-F494-D9C0-C92D33D8C1C6}"/>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1C15112B-C5C2-52BC-D652-B0F1937D28CA}"/>
              </a:ext>
            </a:extLst>
          </p:cNvPr>
          <p:cNvSpPr>
            <a:spLocks noGrp="1"/>
          </p:cNvSpPr>
          <p:nvPr>
            <p:ph type="ftr" sz="quarter" idx="25"/>
          </p:nvPr>
        </p:nvSpPr>
        <p:spPr/>
        <p:txBody>
          <a:bodyPr/>
          <a:lstStyle>
            <a:lvl1pPr>
              <a:defRPr>
                <a:solidFill>
                  <a:schemeClr val="bg1"/>
                </a:solidFill>
              </a:defRPr>
            </a:lvl1pPr>
          </a:lstStyle>
          <a:p>
            <a:r>
              <a:rPr lang="en-GB"/>
              <a:t>Information Classification: PUBLIC</a:t>
            </a:r>
            <a:endParaRPr lang="en-GB" dirty="0"/>
          </a:p>
        </p:txBody>
      </p:sp>
      <p:pic>
        <p:nvPicPr>
          <p:cNvPr id="3" name="Picture 2">
            <a:extLst>
              <a:ext uri="{FF2B5EF4-FFF2-40B4-BE49-F238E27FC236}">
                <a16:creationId xmlns:a16="http://schemas.microsoft.com/office/drawing/2014/main" id="{44DB2181-6E4D-9C8F-DD2B-8FDFC50CF00E}"/>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118487270"/>
      </p:ext>
    </p:extLst>
  </p:cSld>
  <p:clrMapOvr>
    <a:masterClrMapping/>
  </p:clrMapOvr>
  <p:transition>
    <p:wipe/>
  </p:transition>
  <p:extLst>
    <p:ext uri="{DCECCB84-F9BA-43D5-87BE-67443E8EF086}">
      <p15:sldGuideLst xmlns:p15="http://schemas.microsoft.com/office/powerpoint/2012/main">
        <p15:guide id="1" pos="3447">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 - Project slide with image - newsprint">
    <p:spTree>
      <p:nvGrpSpPr>
        <p:cNvPr id="1" name=""/>
        <p:cNvGrpSpPr/>
        <p:nvPr/>
      </p:nvGrpSpPr>
      <p:grpSpPr>
        <a:xfrm>
          <a:off x="0" y="0"/>
          <a:ext cx="0" cy="0"/>
          <a:chOff x="0" y="0"/>
          <a:chExt cx="0" cy="0"/>
        </a:xfrm>
      </p:grpSpPr>
      <p:sp>
        <p:nvSpPr>
          <p:cNvPr id="9" name="Picture Placeholder 15">
            <a:extLst>
              <a:ext uri="{FF2B5EF4-FFF2-40B4-BE49-F238E27FC236}">
                <a16:creationId xmlns:a16="http://schemas.microsoft.com/office/drawing/2014/main" id="{81DE03C2-9B8C-D44A-FD1A-21F6BC2D5763}"/>
              </a:ext>
            </a:extLst>
          </p:cNvPr>
          <p:cNvSpPr>
            <a:spLocks noGrp="1"/>
          </p:cNvSpPr>
          <p:nvPr>
            <p:ph type="pic" sz="quarter" idx="17"/>
          </p:nvPr>
        </p:nvSpPr>
        <p:spPr>
          <a:xfrm>
            <a:off x="5761038" y="-1115"/>
            <a:ext cx="5759450" cy="648129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11" name="Title 1">
            <a:extLst>
              <a:ext uri="{FF2B5EF4-FFF2-40B4-BE49-F238E27FC236}">
                <a16:creationId xmlns:a16="http://schemas.microsoft.com/office/drawing/2014/main" id="{768449E3-B38D-9065-8DA9-9C089B4A60DD}"/>
              </a:ext>
            </a:extLst>
          </p:cNvPr>
          <p:cNvSpPr>
            <a:spLocks noGrp="1"/>
          </p:cNvSpPr>
          <p:nvPr>
            <p:ph type="title" hasCustomPrompt="1"/>
          </p:nvPr>
        </p:nvSpPr>
        <p:spPr>
          <a:xfrm>
            <a:off x="576026" y="1420813"/>
            <a:ext cx="4895851" cy="436231"/>
          </a:xfrm>
        </p:spPr>
        <p:txBody>
          <a:bodyPr rIns="0" anchor="b" anchorCtr="0"/>
          <a:lstStyle>
            <a:lvl1pPr>
              <a:lnSpc>
                <a:spcPts val="4158"/>
              </a:lnSpc>
              <a:defRPr sz="4158">
                <a:solidFill>
                  <a:srgbClr val="00485E"/>
                </a:solidFill>
                <a:latin typeface="Avenir Next LT Pro" panose="020B0504020202020204" pitchFamily="34" charset="77"/>
              </a:defRPr>
            </a:lvl1pPr>
          </a:lstStyle>
          <a:p>
            <a:r>
              <a:rPr lang="en-US" dirty="0"/>
              <a:t>SHORT </a:t>
            </a:r>
            <a:br>
              <a:rPr lang="en-US" dirty="0"/>
            </a:br>
            <a:r>
              <a:rPr lang="en-US" dirty="0"/>
              <a:t>HEADLINE</a:t>
            </a:r>
          </a:p>
        </p:txBody>
      </p:sp>
      <p:sp>
        <p:nvSpPr>
          <p:cNvPr id="12" name="Text Placeholder 7">
            <a:extLst>
              <a:ext uri="{FF2B5EF4-FFF2-40B4-BE49-F238E27FC236}">
                <a16:creationId xmlns:a16="http://schemas.microsoft.com/office/drawing/2014/main" id="{BBCAA992-669E-B424-E818-890F20E30E00}"/>
              </a:ext>
            </a:extLst>
          </p:cNvPr>
          <p:cNvSpPr>
            <a:spLocks noGrp="1"/>
          </p:cNvSpPr>
          <p:nvPr>
            <p:ph type="body" sz="quarter" idx="22"/>
          </p:nvPr>
        </p:nvSpPr>
        <p:spPr>
          <a:xfrm>
            <a:off x="576261" y="2047469"/>
            <a:ext cx="4895851" cy="2047876"/>
          </a:xfrm>
        </p:spPr>
        <p:txBody>
          <a:bodyPr/>
          <a:lstStyle>
            <a:lvl1pPr>
              <a:defRPr>
                <a:solidFill>
                  <a:srgbClr val="FF6120"/>
                </a:solidFill>
              </a:defRPr>
            </a:lvl1pPr>
            <a:lvl2pPr>
              <a:defRPr>
                <a:solidFill>
                  <a:schemeClr val="tx2"/>
                </a:solidFill>
              </a:defRPr>
            </a:lvl2pPr>
            <a:lvl3pPr>
              <a:defRPr>
                <a:solidFill>
                  <a:schemeClr val="tx2"/>
                </a:solidFill>
              </a:defRPr>
            </a:lvl3pPr>
            <a:lvl4pPr>
              <a:buClr>
                <a:schemeClr val="tx2"/>
              </a:buClr>
              <a:defRPr>
                <a:solidFill>
                  <a:schemeClr val="tx2"/>
                </a:solidFill>
              </a:defRPr>
            </a:lvl4pPr>
            <a:lvl5pPr>
              <a:buClr>
                <a:schemeClr val="tx2"/>
              </a:buCl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a:extLst>
              <a:ext uri="{FF2B5EF4-FFF2-40B4-BE49-F238E27FC236}">
                <a16:creationId xmlns:a16="http://schemas.microsoft.com/office/drawing/2014/main" id="{375D89DD-4156-341A-58C0-60911CE14A44}"/>
              </a:ext>
            </a:extLst>
          </p:cNvPr>
          <p:cNvSpPr/>
          <p:nvPr userDrawn="1"/>
        </p:nvSpPr>
        <p:spPr bwMode="auto">
          <a:xfrm>
            <a:off x="576263" y="4320000"/>
            <a:ext cx="54000" cy="1080000"/>
          </a:xfrm>
          <a:prstGeom prst="rect">
            <a:avLst/>
          </a:prstGeom>
          <a:solidFill>
            <a:srgbClr val="F75C8F"/>
          </a:solidFill>
          <a:ln w="12700" algn="ctr">
            <a:noFill/>
            <a:miter lim="800000"/>
            <a:headEnd/>
            <a:tailEnd/>
          </a:ln>
          <a:effectLst/>
        </p:spPr>
        <p:txBody>
          <a:bodyPr wrap="none" lIns="36000" tIns="36000" rIns="36000" bIns="36000" rtlCol="0" anchor="t"/>
          <a:lstStyle/>
          <a:p>
            <a:pPr algn="ctr" defTabSz="863600"/>
            <a:endParaRPr lang="en-GB" sz="1100" dirty="0"/>
          </a:p>
        </p:txBody>
      </p:sp>
      <p:sp>
        <p:nvSpPr>
          <p:cNvPr id="14" name="Text Placeholder 17">
            <a:extLst>
              <a:ext uri="{FF2B5EF4-FFF2-40B4-BE49-F238E27FC236}">
                <a16:creationId xmlns:a16="http://schemas.microsoft.com/office/drawing/2014/main" id="{F8453C58-0306-FDCD-A686-98E49A7A66A9}"/>
              </a:ext>
            </a:extLst>
          </p:cNvPr>
          <p:cNvSpPr>
            <a:spLocks noGrp="1"/>
          </p:cNvSpPr>
          <p:nvPr>
            <p:ph type="body" sz="quarter" idx="25" hasCustomPrompt="1"/>
          </p:nvPr>
        </p:nvSpPr>
        <p:spPr>
          <a:xfrm>
            <a:off x="719999" y="4320000"/>
            <a:ext cx="2160000" cy="1225138"/>
          </a:xfrm>
        </p:spPr>
        <p:txBody>
          <a:bodyPr/>
          <a:lstStyle>
            <a:lvl1pPr>
              <a:defRPr sz="1200" cap="all" baseline="0">
                <a:solidFill>
                  <a:srgbClr val="F75C8F"/>
                </a:solidFill>
              </a:defRPr>
            </a:lvl1pPr>
            <a:lvl2pPr>
              <a:spcAft>
                <a:spcPts val="300"/>
              </a:spcAft>
              <a:defRPr sz="1100">
                <a:solidFill>
                  <a:schemeClr val="tx2"/>
                </a:solidFill>
              </a:defRPr>
            </a:lvl2pPr>
            <a:lvl3pPr>
              <a:spcAft>
                <a:spcPts val="300"/>
              </a:spcAft>
              <a:buClrTx/>
              <a:defRPr sz="1100">
                <a:solidFill>
                  <a:schemeClr val="tx2"/>
                </a:solidFill>
              </a:defRPr>
            </a:lvl3pPr>
            <a:lvl4pPr>
              <a:spcAft>
                <a:spcPts val="300"/>
              </a:spcAft>
              <a:buClr>
                <a:schemeClr val="tx2"/>
              </a:buClr>
              <a:defRPr sz="1100">
                <a:solidFill>
                  <a:schemeClr val="tx2"/>
                </a:solidFill>
              </a:defRPr>
            </a:lvl4pPr>
            <a:lvl5pPr>
              <a:spcAft>
                <a:spcPts val="300"/>
              </a:spcAft>
              <a:buClr>
                <a:schemeClr val="tx2"/>
              </a:buClr>
              <a:defRPr sz="1100">
                <a:solidFill>
                  <a:schemeClr val="tx2"/>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Rectangle 14">
            <a:extLst>
              <a:ext uri="{FF2B5EF4-FFF2-40B4-BE49-F238E27FC236}">
                <a16:creationId xmlns:a16="http://schemas.microsoft.com/office/drawing/2014/main" id="{1A650F01-A402-0AEC-BB8F-A276A1B5CFCE}"/>
              </a:ext>
            </a:extLst>
          </p:cNvPr>
          <p:cNvSpPr/>
          <p:nvPr userDrawn="1"/>
        </p:nvSpPr>
        <p:spPr bwMode="auto">
          <a:xfrm>
            <a:off x="3168377" y="4320000"/>
            <a:ext cx="54000" cy="1080000"/>
          </a:xfrm>
          <a:prstGeom prst="rect">
            <a:avLst/>
          </a:prstGeom>
          <a:solidFill>
            <a:schemeClr val="accent4"/>
          </a:solidFill>
          <a:ln w="12700" algn="ctr">
            <a:noFill/>
            <a:miter lim="800000"/>
            <a:headEnd/>
            <a:tailEnd/>
          </a:ln>
          <a:effectLst/>
        </p:spPr>
        <p:txBody>
          <a:bodyPr wrap="none" lIns="36000" tIns="36000" rIns="36000" bIns="36000" rtlCol="0" anchor="t"/>
          <a:lstStyle/>
          <a:p>
            <a:pPr algn="ctr" defTabSz="863600"/>
            <a:endParaRPr lang="en-GB" sz="1100" dirty="0"/>
          </a:p>
        </p:txBody>
      </p:sp>
      <p:sp>
        <p:nvSpPr>
          <p:cNvPr id="16" name="Text Placeholder 17">
            <a:extLst>
              <a:ext uri="{FF2B5EF4-FFF2-40B4-BE49-F238E27FC236}">
                <a16:creationId xmlns:a16="http://schemas.microsoft.com/office/drawing/2014/main" id="{5AB0342C-A0D0-B63F-E711-3AB60B0B3635}"/>
              </a:ext>
            </a:extLst>
          </p:cNvPr>
          <p:cNvSpPr>
            <a:spLocks noGrp="1"/>
          </p:cNvSpPr>
          <p:nvPr>
            <p:ph type="body" sz="quarter" idx="26" hasCustomPrompt="1"/>
          </p:nvPr>
        </p:nvSpPr>
        <p:spPr>
          <a:xfrm>
            <a:off x="3312113" y="4320000"/>
            <a:ext cx="2160000" cy="1225138"/>
          </a:xfrm>
        </p:spPr>
        <p:txBody>
          <a:bodyPr/>
          <a:lstStyle>
            <a:lvl1pPr>
              <a:defRPr sz="1200" cap="all" baseline="0">
                <a:solidFill>
                  <a:schemeClr val="accent4"/>
                </a:solidFill>
              </a:defRPr>
            </a:lvl1pPr>
            <a:lvl2pPr>
              <a:spcAft>
                <a:spcPts val="300"/>
              </a:spcAft>
              <a:defRPr sz="1100">
                <a:solidFill>
                  <a:schemeClr val="tx2"/>
                </a:solidFill>
              </a:defRPr>
            </a:lvl2pPr>
            <a:lvl3pPr>
              <a:spcAft>
                <a:spcPts val="300"/>
              </a:spcAft>
              <a:buClrTx/>
              <a:defRPr sz="1100">
                <a:solidFill>
                  <a:schemeClr val="tx2"/>
                </a:solidFill>
              </a:defRPr>
            </a:lvl3pPr>
            <a:lvl4pPr>
              <a:spcAft>
                <a:spcPts val="300"/>
              </a:spcAft>
              <a:buClr>
                <a:schemeClr val="tx2"/>
              </a:buClr>
              <a:defRPr sz="1100">
                <a:solidFill>
                  <a:schemeClr val="tx2"/>
                </a:solidFill>
              </a:defRPr>
            </a:lvl4pPr>
            <a:lvl5pPr>
              <a:spcAft>
                <a:spcPts val="300"/>
              </a:spcAft>
              <a:buClr>
                <a:schemeClr val="tx2"/>
              </a:buClr>
              <a:defRPr sz="1100">
                <a:solidFill>
                  <a:schemeClr val="tx2"/>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Slide Number Placeholder 7">
            <a:extLst>
              <a:ext uri="{FF2B5EF4-FFF2-40B4-BE49-F238E27FC236}">
                <a16:creationId xmlns:a16="http://schemas.microsoft.com/office/drawing/2014/main" id="{9A84E30C-9E2A-1BB7-3A28-A06557BB9313}"/>
              </a:ext>
            </a:extLst>
          </p:cNvPr>
          <p:cNvSpPr>
            <a:spLocks noGrp="1"/>
          </p:cNvSpPr>
          <p:nvPr>
            <p:ph type="sldNum" sz="quarter" idx="24"/>
          </p:nvPr>
        </p:nvSpPr>
        <p:spPr/>
        <p:txBody>
          <a:bodyPr/>
          <a:lstStyle/>
          <a:p>
            <a:fld id="{0F961903-03AF-4EAC-BF2C-945F8C5557D1}" type="slidenum">
              <a:rPr lang="en-GB" smtClean="0"/>
              <a:pPr/>
              <a:t>‹#›</a:t>
            </a:fld>
            <a:endParaRPr lang="en-GB" dirty="0"/>
          </a:p>
        </p:txBody>
      </p:sp>
      <p:sp>
        <p:nvSpPr>
          <p:cNvPr id="2" name="Text Placeholder 7">
            <a:extLst>
              <a:ext uri="{FF2B5EF4-FFF2-40B4-BE49-F238E27FC236}">
                <a16:creationId xmlns:a16="http://schemas.microsoft.com/office/drawing/2014/main" id="{BD6A2C7B-5212-7FFF-195D-9A89797A492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84D9AC2E-4634-8424-DBE3-DA008C47EEF4}"/>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5" name="Footer Placeholder 4">
            <a:extLst>
              <a:ext uri="{FF2B5EF4-FFF2-40B4-BE49-F238E27FC236}">
                <a16:creationId xmlns:a16="http://schemas.microsoft.com/office/drawing/2014/main" id="{F34BC372-803A-B67B-D60A-12A702963803}"/>
              </a:ext>
            </a:extLst>
          </p:cNvPr>
          <p:cNvSpPr>
            <a:spLocks noGrp="1"/>
          </p:cNvSpPr>
          <p:nvPr>
            <p:ph type="ftr" sz="quarter" idx="27"/>
          </p:nvPr>
        </p:nvSpPr>
        <p:spPr/>
        <p:txBody>
          <a:bodyPr/>
          <a:lstStyle/>
          <a:p>
            <a:r>
              <a:rPr lang="en-GB"/>
              <a:t>Information Classification: PUBLIC</a:t>
            </a:r>
            <a:endParaRPr lang="en-GB" dirty="0"/>
          </a:p>
        </p:txBody>
      </p:sp>
      <p:pic>
        <p:nvPicPr>
          <p:cNvPr id="6" name="Picture 5">
            <a:extLst>
              <a:ext uri="{FF2B5EF4-FFF2-40B4-BE49-F238E27FC236}">
                <a16:creationId xmlns:a16="http://schemas.microsoft.com/office/drawing/2014/main" id="{2C351A60-5B7C-AEAF-F0D9-263C60D37415}"/>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3775287788"/>
      </p:ext>
    </p:extLst>
  </p:cSld>
  <p:clrMapOvr>
    <a:masterClrMapping/>
  </p:clrMapOvr>
  <p:transition>
    <p:wipe/>
  </p:transition>
  <p:extLst>
    <p:ext uri="{DCECCB84-F9BA-43D5-87BE-67443E8EF086}">
      <p15:sldGuideLst xmlns:p15="http://schemas.microsoft.com/office/powerpoint/2012/main">
        <p15:guide id="1" pos="3447">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0 - Headline, copy, 2 col with icons">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5A00C00-5E5A-A5B4-D4BD-95590287E6C0}"/>
              </a:ext>
            </a:extLst>
          </p:cNvPr>
          <p:cNvSpPr/>
          <p:nvPr userDrawn="1"/>
        </p:nvSpPr>
        <p:spPr>
          <a:xfrm>
            <a:off x="5328000" y="0"/>
            <a:ext cx="3096000" cy="6481290"/>
          </a:xfrm>
          <a:prstGeom prst="rect">
            <a:avLst/>
          </a:prstGeom>
          <a:solidFill>
            <a:srgbClr val="F5E0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7" name="Rectangle 6">
            <a:extLst>
              <a:ext uri="{FF2B5EF4-FFF2-40B4-BE49-F238E27FC236}">
                <a16:creationId xmlns:a16="http://schemas.microsoft.com/office/drawing/2014/main" id="{CB25B7CA-0AF9-1A3A-1517-DBCF612EC38E}"/>
              </a:ext>
            </a:extLst>
          </p:cNvPr>
          <p:cNvSpPr/>
          <p:nvPr userDrawn="1"/>
        </p:nvSpPr>
        <p:spPr>
          <a:xfrm>
            <a:off x="8424000" y="0"/>
            <a:ext cx="3096000" cy="6481290"/>
          </a:xfrm>
          <a:prstGeom prst="rect">
            <a:avLst/>
          </a:prstGeom>
          <a:solidFill>
            <a:srgbClr val="F75C8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9" name="Text Placeholder 8">
            <a:extLst>
              <a:ext uri="{FF2B5EF4-FFF2-40B4-BE49-F238E27FC236}">
                <a16:creationId xmlns:a16="http://schemas.microsoft.com/office/drawing/2014/main" id="{6DFC2BC4-F2FF-D49A-2C6C-A3CB7212D607}"/>
              </a:ext>
            </a:extLst>
          </p:cNvPr>
          <p:cNvSpPr>
            <a:spLocks noGrp="1"/>
          </p:cNvSpPr>
          <p:nvPr>
            <p:ph type="body" sz="quarter" idx="22" hasCustomPrompt="1"/>
          </p:nvPr>
        </p:nvSpPr>
        <p:spPr>
          <a:xfrm>
            <a:off x="5615999" y="1713047"/>
            <a:ext cx="2520000" cy="985129"/>
          </a:xfrm>
          <a:prstGeom prst="rect">
            <a:avLst/>
          </a:prstGeom>
        </p:spPr>
        <p:txBody>
          <a:bodyPr lIns="0" rIns="0"/>
          <a:lstStyle>
            <a:lvl1pPr marL="0" indent="0">
              <a:lnSpc>
                <a:spcPts val="3024"/>
              </a:lnSpc>
              <a:buNone/>
              <a:defRPr sz="3024" b="0">
                <a:solidFill>
                  <a:schemeClr val="bg1"/>
                </a:solidFill>
                <a:latin typeface="+mn-lt"/>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15" name="Text Placeholder 8">
            <a:extLst>
              <a:ext uri="{FF2B5EF4-FFF2-40B4-BE49-F238E27FC236}">
                <a16:creationId xmlns:a16="http://schemas.microsoft.com/office/drawing/2014/main" id="{9DE6892E-C4DA-31AC-E1EB-EBC160A00B1F}"/>
              </a:ext>
            </a:extLst>
          </p:cNvPr>
          <p:cNvSpPr>
            <a:spLocks noGrp="1"/>
          </p:cNvSpPr>
          <p:nvPr>
            <p:ph type="body" sz="quarter" idx="23" hasCustomPrompt="1"/>
          </p:nvPr>
        </p:nvSpPr>
        <p:spPr>
          <a:xfrm>
            <a:off x="8712000" y="1713047"/>
            <a:ext cx="2520000" cy="985129"/>
          </a:xfrm>
          <a:prstGeom prst="rect">
            <a:avLst/>
          </a:prstGeom>
        </p:spPr>
        <p:txBody>
          <a:bodyPr lIns="0" rIns="0"/>
          <a:lstStyle>
            <a:lvl1pPr marL="0" indent="0">
              <a:lnSpc>
                <a:spcPts val="3024"/>
              </a:lnSpc>
              <a:buNone/>
              <a:defRPr sz="3024" b="0">
                <a:solidFill>
                  <a:schemeClr val="bg1"/>
                </a:solidFill>
                <a:latin typeface="+mn-lt"/>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26" name="Picture Placeholder 25">
            <a:extLst>
              <a:ext uri="{FF2B5EF4-FFF2-40B4-BE49-F238E27FC236}">
                <a16:creationId xmlns:a16="http://schemas.microsoft.com/office/drawing/2014/main" id="{23D807CB-AE9D-4F66-3F4F-D1576A7D44C8}"/>
              </a:ext>
            </a:extLst>
          </p:cNvPr>
          <p:cNvSpPr>
            <a:spLocks noGrp="1"/>
          </p:cNvSpPr>
          <p:nvPr>
            <p:ph type="pic" sz="quarter" idx="24" hasCustomPrompt="1"/>
          </p:nvPr>
        </p:nvSpPr>
        <p:spPr>
          <a:xfrm>
            <a:off x="5616000" y="791863"/>
            <a:ext cx="648000" cy="648000"/>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7" name="Picture Placeholder 25">
            <a:extLst>
              <a:ext uri="{FF2B5EF4-FFF2-40B4-BE49-F238E27FC236}">
                <a16:creationId xmlns:a16="http://schemas.microsoft.com/office/drawing/2014/main" id="{3E60D1F6-F4EC-2F4A-58D6-1F003272E906}"/>
              </a:ext>
            </a:extLst>
          </p:cNvPr>
          <p:cNvSpPr>
            <a:spLocks noGrp="1"/>
          </p:cNvSpPr>
          <p:nvPr>
            <p:ph type="pic" sz="quarter" idx="25" hasCustomPrompt="1"/>
          </p:nvPr>
        </p:nvSpPr>
        <p:spPr>
          <a:xfrm>
            <a:off x="8712000" y="791863"/>
            <a:ext cx="648000" cy="648000"/>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9" name="Text Placeholder 28">
            <a:extLst>
              <a:ext uri="{FF2B5EF4-FFF2-40B4-BE49-F238E27FC236}">
                <a16:creationId xmlns:a16="http://schemas.microsoft.com/office/drawing/2014/main" id="{A822F748-C123-60EC-5B79-72B90A5A78D1}"/>
              </a:ext>
            </a:extLst>
          </p:cNvPr>
          <p:cNvSpPr>
            <a:spLocks noGrp="1"/>
          </p:cNvSpPr>
          <p:nvPr>
            <p:ph type="body" sz="quarter" idx="26" hasCustomPrompt="1"/>
          </p:nvPr>
        </p:nvSpPr>
        <p:spPr>
          <a:xfrm>
            <a:off x="5615999" y="2971799"/>
            <a:ext cx="2520000" cy="2177187"/>
          </a:xfrm>
          <a:prstGeom prst="rect">
            <a:avLst/>
          </a:prstGeom>
        </p:spPr>
        <p:txBody>
          <a:bodyPr/>
          <a:lstStyle>
            <a:lvl1pPr>
              <a:spcAft>
                <a:spcPts val="1200"/>
              </a:spcAft>
              <a:defRPr sz="2000" b="0" i="1">
                <a:solidFill>
                  <a:schemeClr val="tx2"/>
                </a:solidFill>
                <a:latin typeface="+mn-lt"/>
                <a:cs typeface="Times New Roman" panose="02020603050405020304" pitchFamily="18" charset="0"/>
              </a:defRPr>
            </a:lvl1pPr>
            <a:lvl2pPr marL="576000" indent="-576000">
              <a:spcAft>
                <a:spcPts val="1200"/>
              </a:spcAft>
              <a:buSzPct val="100000"/>
              <a:buFont typeface="+mj-lt"/>
              <a:buAutoNum type="alphaUcPeriod"/>
              <a:defRPr sz="3600">
                <a:solidFill>
                  <a:schemeClr val="tx2"/>
                </a:solidFill>
                <a:latin typeface="+mn-lt"/>
                <a:cs typeface="Times New Roman" panose="02020603050405020304" pitchFamily="18" charset="0"/>
              </a:defRPr>
            </a:lvl2pPr>
            <a:lvl3pPr marL="0" indent="0">
              <a:buNone/>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Subheading</a:t>
            </a:r>
          </a:p>
          <a:p>
            <a:pPr lvl="1"/>
            <a:r>
              <a:rPr lang="en-US" dirty="0"/>
              <a:t>Second level</a:t>
            </a:r>
          </a:p>
        </p:txBody>
      </p:sp>
      <p:sp>
        <p:nvSpPr>
          <p:cNvPr id="5" name="Slide Number Placeholder 4">
            <a:extLst>
              <a:ext uri="{FF2B5EF4-FFF2-40B4-BE49-F238E27FC236}">
                <a16:creationId xmlns:a16="http://schemas.microsoft.com/office/drawing/2014/main" id="{371D22CE-6961-93ED-9B4C-AF797E3C0F22}"/>
              </a:ext>
            </a:extLst>
          </p:cNvPr>
          <p:cNvSpPr>
            <a:spLocks noGrp="1"/>
          </p:cNvSpPr>
          <p:nvPr>
            <p:ph type="sldNum" sz="quarter" idx="29"/>
          </p:nvPr>
        </p:nvSpPr>
        <p:spPr/>
        <p:txBody>
          <a:bodyPr/>
          <a:lstStyle/>
          <a:p>
            <a:fld id="{0F961903-03AF-4EAC-BF2C-945F8C5557D1}" type="slidenum">
              <a:rPr lang="en-GB" smtClean="0"/>
              <a:pPr/>
              <a:t>‹#›</a:t>
            </a:fld>
            <a:endParaRPr lang="en-GB" dirty="0"/>
          </a:p>
        </p:txBody>
      </p:sp>
      <p:sp>
        <p:nvSpPr>
          <p:cNvPr id="10" name="Title 1">
            <a:extLst>
              <a:ext uri="{FF2B5EF4-FFF2-40B4-BE49-F238E27FC236}">
                <a16:creationId xmlns:a16="http://schemas.microsoft.com/office/drawing/2014/main" id="{5FFC31B0-F86C-0F8B-BFF2-7D514530B9CD}"/>
              </a:ext>
            </a:extLst>
          </p:cNvPr>
          <p:cNvSpPr>
            <a:spLocks noGrp="1"/>
          </p:cNvSpPr>
          <p:nvPr>
            <p:ph type="title" hasCustomPrompt="1"/>
          </p:nvPr>
        </p:nvSpPr>
        <p:spPr>
          <a:xfrm>
            <a:off x="576026" y="2345143"/>
            <a:ext cx="4464050" cy="436231"/>
          </a:xfrm>
        </p:spPr>
        <p:txBody>
          <a:bodyPr rIns="0" anchor="b" anchorCtr="0"/>
          <a:lstStyle>
            <a:lvl1pPr>
              <a:lnSpc>
                <a:spcPts val="4158"/>
              </a:lnSpc>
              <a:defRPr sz="4158">
                <a:solidFill>
                  <a:srgbClr val="00485E"/>
                </a:solidFill>
                <a:latin typeface="Avenir Next LT Pro" panose="020B0504020202020204" pitchFamily="34" charset="77"/>
              </a:defRPr>
            </a:lvl1pPr>
          </a:lstStyle>
          <a:p>
            <a:r>
              <a:rPr lang="en-US" dirty="0"/>
              <a:t>SHORT </a:t>
            </a:r>
            <a:br>
              <a:rPr lang="en-US" dirty="0"/>
            </a:br>
            <a:r>
              <a:rPr lang="en-US" dirty="0"/>
              <a:t>HEADLINE</a:t>
            </a:r>
          </a:p>
        </p:txBody>
      </p:sp>
      <p:sp>
        <p:nvSpPr>
          <p:cNvPr id="11" name="Text Placeholder 29">
            <a:extLst>
              <a:ext uri="{FF2B5EF4-FFF2-40B4-BE49-F238E27FC236}">
                <a16:creationId xmlns:a16="http://schemas.microsoft.com/office/drawing/2014/main" id="{EC7D1699-5970-EE0F-00FE-C4529F4F813B}"/>
              </a:ext>
            </a:extLst>
          </p:cNvPr>
          <p:cNvSpPr>
            <a:spLocks noGrp="1"/>
          </p:cNvSpPr>
          <p:nvPr>
            <p:ph type="body" sz="quarter" idx="30"/>
          </p:nvPr>
        </p:nvSpPr>
        <p:spPr>
          <a:xfrm>
            <a:off x="576263" y="2971799"/>
            <a:ext cx="4464050" cy="1990725"/>
          </a:xfrm>
        </p:spPr>
        <p:txBody>
          <a:bodyPr/>
          <a:lstStyle>
            <a:lvl1pPr>
              <a:defRPr>
                <a:solidFill>
                  <a:srgbClr val="FF612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28">
            <a:extLst>
              <a:ext uri="{FF2B5EF4-FFF2-40B4-BE49-F238E27FC236}">
                <a16:creationId xmlns:a16="http://schemas.microsoft.com/office/drawing/2014/main" id="{96E61A6A-7A7B-8D4B-8D79-73B41D64116A}"/>
              </a:ext>
            </a:extLst>
          </p:cNvPr>
          <p:cNvSpPr>
            <a:spLocks noGrp="1"/>
          </p:cNvSpPr>
          <p:nvPr>
            <p:ph type="body" sz="quarter" idx="31" hasCustomPrompt="1"/>
          </p:nvPr>
        </p:nvSpPr>
        <p:spPr>
          <a:xfrm>
            <a:off x="8712000" y="2971799"/>
            <a:ext cx="2520000" cy="2177187"/>
          </a:xfrm>
          <a:prstGeom prst="rect">
            <a:avLst/>
          </a:prstGeom>
        </p:spPr>
        <p:txBody>
          <a:bodyPr/>
          <a:lstStyle>
            <a:lvl1pPr>
              <a:spcAft>
                <a:spcPts val="1200"/>
              </a:spcAft>
              <a:defRPr sz="2000" b="0" i="1">
                <a:solidFill>
                  <a:schemeClr val="tx2"/>
                </a:solidFill>
                <a:latin typeface="+mn-lt"/>
                <a:cs typeface="Times New Roman" panose="02020603050405020304" pitchFamily="18" charset="0"/>
              </a:defRPr>
            </a:lvl1pPr>
            <a:lvl2pPr marL="576000" indent="-576000">
              <a:spcAft>
                <a:spcPts val="1200"/>
              </a:spcAft>
              <a:buSzPct val="100000"/>
              <a:buFont typeface="+mj-lt"/>
              <a:buAutoNum type="alphaUcPeriod"/>
              <a:defRPr sz="3600">
                <a:solidFill>
                  <a:schemeClr val="tx2"/>
                </a:solidFill>
                <a:latin typeface="+mn-lt"/>
                <a:cs typeface="Times New Roman" panose="02020603050405020304" pitchFamily="18" charset="0"/>
              </a:defRPr>
            </a:lvl2pPr>
            <a:lvl3pPr marL="0" indent="0">
              <a:buNone/>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Subheading</a:t>
            </a:r>
          </a:p>
          <a:p>
            <a:pPr lvl="1"/>
            <a:r>
              <a:rPr lang="en-US" dirty="0"/>
              <a:t>Second level</a:t>
            </a:r>
          </a:p>
        </p:txBody>
      </p:sp>
      <p:sp>
        <p:nvSpPr>
          <p:cNvPr id="2" name="Text Placeholder 7">
            <a:extLst>
              <a:ext uri="{FF2B5EF4-FFF2-40B4-BE49-F238E27FC236}">
                <a16:creationId xmlns:a16="http://schemas.microsoft.com/office/drawing/2014/main" id="{6B854DF2-3757-05B6-B441-73E90A10951E}"/>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3" name="Source">
            <a:extLst>
              <a:ext uri="{FF2B5EF4-FFF2-40B4-BE49-F238E27FC236}">
                <a16:creationId xmlns:a16="http://schemas.microsoft.com/office/drawing/2014/main" id="{8E0ABCDC-8880-0C00-64E1-8FE1586583E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7268B596-15C4-837F-E1B8-296CDBA7DD4F}"/>
              </a:ext>
            </a:extLst>
          </p:cNvPr>
          <p:cNvSpPr>
            <a:spLocks noGrp="1"/>
          </p:cNvSpPr>
          <p:nvPr>
            <p:ph type="ftr" sz="quarter" idx="32"/>
          </p:nvPr>
        </p:nvSpPr>
        <p:spPr/>
        <p:txBody>
          <a:bodyPr/>
          <a:lstStyle/>
          <a:p>
            <a:r>
              <a:rPr lang="en-GB"/>
              <a:t>Information Classification: PUBLIC</a:t>
            </a:r>
            <a:endParaRPr lang="en-GB" dirty="0"/>
          </a:p>
        </p:txBody>
      </p:sp>
      <p:pic>
        <p:nvPicPr>
          <p:cNvPr id="4" name="Picture 3">
            <a:extLst>
              <a:ext uri="{FF2B5EF4-FFF2-40B4-BE49-F238E27FC236}">
                <a16:creationId xmlns:a16="http://schemas.microsoft.com/office/drawing/2014/main" id="{D6573770-F2B9-E6DD-A6A8-68DF3CBF9CF7}"/>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686377003"/>
      </p:ext>
    </p:extLst>
  </p:cSld>
  <p:clrMapOvr>
    <a:masterClrMapping/>
  </p:clrMapOvr>
  <p:transition>
    <p:wipe/>
  </p:transition>
  <p:extLst>
    <p:ext uri="{DCECCB84-F9BA-43D5-87BE-67443E8EF086}">
      <p15:sldGuideLst xmlns:p15="http://schemas.microsoft.com/office/powerpoint/2012/main">
        <p15:guide id="1" pos="3538">
          <p15:clr>
            <a:srgbClr val="FBAE40"/>
          </p15:clr>
        </p15:guide>
        <p15:guide id="2" pos="3175">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0 - Headline, copy, 2 col with icons 2">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5A00C00-5E5A-A5B4-D4BD-95590287E6C0}"/>
              </a:ext>
            </a:extLst>
          </p:cNvPr>
          <p:cNvSpPr/>
          <p:nvPr userDrawn="1"/>
        </p:nvSpPr>
        <p:spPr>
          <a:xfrm>
            <a:off x="5328000" y="0"/>
            <a:ext cx="3096000" cy="6481290"/>
          </a:xfrm>
          <a:prstGeom prst="rect">
            <a:avLst/>
          </a:prstGeom>
          <a:solidFill>
            <a:srgbClr val="2DB4B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7" name="Rectangle 6">
            <a:extLst>
              <a:ext uri="{FF2B5EF4-FFF2-40B4-BE49-F238E27FC236}">
                <a16:creationId xmlns:a16="http://schemas.microsoft.com/office/drawing/2014/main" id="{CB25B7CA-0AF9-1A3A-1517-DBCF612EC38E}"/>
              </a:ext>
            </a:extLst>
          </p:cNvPr>
          <p:cNvSpPr/>
          <p:nvPr userDrawn="1"/>
        </p:nvSpPr>
        <p:spPr>
          <a:xfrm>
            <a:off x="8424000" y="0"/>
            <a:ext cx="3096000" cy="648129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9" name="Text Placeholder 8">
            <a:extLst>
              <a:ext uri="{FF2B5EF4-FFF2-40B4-BE49-F238E27FC236}">
                <a16:creationId xmlns:a16="http://schemas.microsoft.com/office/drawing/2014/main" id="{6DFC2BC4-F2FF-D49A-2C6C-A3CB7212D607}"/>
              </a:ext>
            </a:extLst>
          </p:cNvPr>
          <p:cNvSpPr>
            <a:spLocks noGrp="1"/>
          </p:cNvSpPr>
          <p:nvPr>
            <p:ph type="body" sz="quarter" idx="22" hasCustomPrompt="1"/>
          </p:nvPr>
        </p:nvSpPr>
        <p:spPr>
          <a:xfrm>
            <a:off x="5615999" y="1713047"/>
            <a:ext cx="2520000" cy="985129"/>
          </a:xfrm>
          <a:prstGeom prst="rect">
            <a:avLst/>
          </a:prstGeom>
        </p:spPr>
        <p:txBody>
          <a:bodyPr lIns="0" rIns="0"/>
          <a:lstStyle>
            <a:lvl1pPr marL="0" indent="0">
              <a:lnSpc>
                <a:spcPts val="3024"/>
              </a:lnSpc>
              <a:buNone/>
              <a:defRPr sz="3024" b="0">
                <a:solidFill>
                  <a:schemeClr val="bg1"/>
                </a:solidFill>
                <a:latin typeface="+mn-lt"/>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15" name="Text Placeholder 8">
            <a:extLst>
              <a:ext uri="{FF2B5EF4-FFF2-40B4-BE49-F238E27FC236}">
                <a16:creationId xmlns:a16="http://schemas.microsoft.com/office/drawing/2014/main" id="{9DE6892E-C4DA-31AC-E1EB-EBC160A00B1F}"/>
              </a:ext>
            </a:extLst>
          </p:cNvPr>
          <p:cNvSpPr>
            <a:spLocks noGrp="1"/>
          </p:cNvSpPr>
          <p:nvPr>
            <p:ph type="body" sz="quarter" idx="23" hasCustomPrompt="1"/>
          </p:nvPr>
        </p:nvSpPr>
        <p:spPr>
          <a:xfrm>
            <a:off x="8712000" y="1713047"/>
            <a:ext cx="2520000" cy="985129"/>
          </a:xfrm>
          <a:prstGeom prst="rect">
            <a:avLst/>
          </a:prstGeom>
        </p:spPr>
        <p:txBody>
          <a:bodyPr lIns="0" rIns="0"/>
          <a:lstStyle>
            <a:lvl1pPr marL="0" indent="0">
              <a:lnSpc>
                <a:spcPts val="3024"/>
              </a:lnSpc>
              <a:buNone/>
              <a:defRPr sz="3024" b="0">
                <a:solidFill>
                  <a:schemeClr val="bg1"/>
                </a:solidFill>
                <a:latin typeface="+mn-lt"/>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HORT TOPIC HEADLINE</a:t>
            </a:r>
          </a:p>
        </p:txBody>
      </p:sp>
      <p:sp>
        <p:nvSpPr>
          <p:cNvPr id="26" name="Picture Placeholder 25">
            <a:extLst>
              <a:ext uri="{FF2B5EF4-FFF2-40B4-BE49-F238E27FC236}">
                <a16:creationId xmlns:a16="http://schemas.microsoft.com/office/drawing/2014/main" id="{23D807CB-AE9D-4F66-3F4F-D1576A7D44C8}"/>
              </a:ext>
            </a:extLst>
          </p:cNvPr>
          <p:cNvSpPr>
            <a:spLocks noGrp="1"/>
          </p:cNvSpPr>
          <p:nvPr>
            <p:ph type="pic" sz="quarter" idx="24" hasCustomPrompt="1"/>
          </p:nvPr>
        </p:nvSpPr>
        <p:spPr>
          <a:xfrm>
            <a:off x="5616000" y="791863"/>
            <a:ext cx="648000" cy="648000"/>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7" name="Picture Placeholder 25">
            <a:extLst>
              <a:ext uri="{FF2B5EF4-FFF2-40B4-BE49-F238E27FC236}">
                <a16:creationId xmlns:a16="http://schemas.microsoft.com/office/drawing/2014/main" id="{3E60D1F6-F4EC-2F4A-58D6-1F003272E906}"/>
              </a:ext>
            </a:extLst>
          </p:cNvPr>
          <p:cNvSpPr>
            <a:spLocks noGrp="1"/>
          </p:cNvSpPr>
          <p:nvPr>
            <p:ph type="pic" sz="quarter" idx="25" hasCustomPrompt="1"/>
          </p:nvPr>
        </p:nvSpPr>
        <p:spPr>
          <a:xfrm>
            <a:off x="8712000" y="791863"/>
            <a:ext cx="648000" cy="648000"/>
          </a:xfrm>
          <a:prstGeom prst="rect">
            <a:avLst/>
          </a:prstGeom>
        </p:spPr>
        <p:txBody>
          <a:bodyPr lIns="0" rIns="0" anchor="ctr" anchorCtr="0"/>
          <a:lstStyle>
            <a:lvl1pPr marL="0" indent="0" algn="ctr">
              <a:buNone/>
              <a:defRPr sz="1134">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29" name="Text Placeholder 28">
            <a:extLst>
              <a:ext uri="{FF2B5EF4-FFF2-40B4-BE49-F238E27FC236}">
                <a16:creationId xmlns:a16="http://schemas.microsoft.com/office/drawing/2014/main" id="{A822F748-C123-60EC-5B79-72B90A5A78D1}"/>
              </a:ext>
            </a:extLst>
          </p:cNvPr>
          <p:cNvSpPr>
            <a:spLocks noGrp="1"/>
          </p:cNvSpPr>
          <p:nvPr>
            <p:ph type="body" sz="quarter" idx="26" hasCustomPrompt="1"/>
          </p:nvPr>
        </p:nvSpPr>
        <p:spPr>
          <a:xfrm>
            <a:off x="5615999" y="2971799"/>
            <a:ext cx="2520000" cy="2177187"/>
          </a:xfrm>
          <a:prstGeom prst="rect">
            <a:avLst/>
          </a:prstGeom>
        </p:spPr>
        <p:txBody>
          <a:bodyPr/>
          <a:lstStyle>
            <a:lvl1pPr>
              <a:spcAft>
                <a:spcPts val="1200"/>
              </a:spcAft>
              <a:defRPr sz="2000" b="0" i="1">
                <a:solidFill>
                  <a:schemeClr val="bg1"/>
                </a:solidFill>
                <a:latin typeface="+mn-lt"/>
                <a:cs typeface="Times New Roman" panose="02020603050405020304" pitchFamily="18" charset="0"/>
              </a:defRPr>
            </a:lvl1pPr>
            <a:lvl2pPr marL="576000" indent="-576000">
              <a:spcAft>
                <a:spcPts val="1200"/>
              </a:spcAft>
              <a:buClr>
                <a:schemeClr val="bg1"/>
              </a:buClr>
              <a:buSzPct val="100000"/>
              <a:buFont typeface="+mj-lt"/>
              <a:buAutoNum type="alphaUcPeriod"/>
              <a:defRPr sz="3600">
                <a:solidFill>
                  <a:schemeClr val="bg1"/>
                </a:solidFill>
                <a:latin typeface="+mn-lt"/>
                <a:cs typeface="Times New Roman" panose="02020603050405020304" pitchFamily="18" charset="0"/>
              </a:defRPr>
            </a:lvl2pPr>
            <a:lvl3pPr marL="0" indent="0">
              <a:buNone/>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Subheading</a:t>
            </a:r>
          </a:p>
          <a:p>
            <a:pPr lvl="1"/>
            <a:r>
              <a:rPr lang="en-US" dirty="0"/>
              <a:t>Second level</a:t>
            </a:r>
          </a:p>
        </p:txBody>
      </p:sp>
      <p:sp>
        <p:nvSpPr>
          <p:cNvPr id="5" name="Slide Number Placeholder 4">
            <a:extLst>
              <a:ext uri="{FF2B5EF4-FFF2-40B4-BE49-F238E27FC236}">
                <a16:creationId xmlns:a16="http://schemas.microsoft.com/office/drawing/2014/main" id="{371D22CE-6961-93ED-9B4C-AF797E3C0F22}"/>
              </a:ext>
            </a:extLst>
          </p:cNvPr>
          <p:cNvSpPr>
            <a:spLocks noGrp="1"/>
          </p:cNvSpPr>
          <p:nvPr>
            <p:ph type="sldNum" sz="quarter" idx="29"/>
          </p:nvPr>
        </p:nvSpPr>
        <p:spPr/>
        <p:txBody>
          <a:bodyPr/>
          <a:lstStyle/>
          <a:p>
            <a:fld id="{0F961903-03AF-4EAC-BF2C-945F8C5557D1}" type="slidenum">
              <a:rPr lang="en-GB" smtClean="0"/>
              <a:pPr/>
              <a:t>‹#›</a:t>
            </a:fld>
            <a:endParaRPr lang="en-GB" dirty="0"/>
          </a:p>
        </p:txBody>
      </p:sp>
      <p:sp>
        <p:nvSpPr>
          <p:cNvPr id="10" name="Title 1">
            <a:extLst>
              <a:ext uri="{FF2B5EF4-FFF2-40B4-BE49-F238E27FC236}">
                <a16:creationId xmlns:a16="http://schemas.microsoft.com/office/drawing/2014/main" id="{5FFC31B0-F86C-0F8B-BFF2-7D514530B9CD}"/>
              </a:ext>
            </a:extLst>
          </p:cNvPr>
          <p:cNvSpPr>
            <a:spLocks noGrp="1"/>
          </p:cNvSpPr>
          <p:nvPr>
            <p:ph type="title" hasCustomPrompt="1"/>
          </p:nvPr>
        </p:nvSpPr>
        <p:spPr>
          <a:xfrm>
            <a:off x="576026" y="2345143"/>
            <a:ext cx="4464050" cy="436231"/>
          </a:xfrm>
        </p:spPr>
        <p:txBody>
          <a:bodyPr rIns="0" anchor="b" anchorCtr="0"/>
          <a:lstStyle>
            <a:lvl1pPr>
              <a:lnSpc>
                <a:spcPts val="4158"/>
              </a:lnSpc>
              <a:defRPr sz="4158">
                <a:solidFill>
                  <a:srgbClr val="00485E"/>
                </a:solidFill>
                <a:latin typeface="Avenir Next LT Pro" panose="020B0504020202020204" pitchFamily="34" charset="77"/>
              </a:defRPr>
            </a:lvl1pPr>
          </a:lstStyle>
          <a:p>
            <a:r>
              <a:rPr lang="en-US" dirty="0"/>
              <a:t>SHORT </a:t>
            </a:r>
            <a:br>
              <a:rPr lang="en-US" dirty="0"/>
            </a:br>
            <a:r>
              <a:rPr lang="en-US" dirty="0"/>
              <a:t>HEADLINE</a:t>
            </a:r>
          </a:p>
        </p:txBody>
      </p:sp>
      <p:sp>
        <p:nvSpPr>
          <p:cNvPr id="11" name="Text Placeholder 29">
            <a:extLst>
              <a:ext uri="{FF2B5EF4-FFF2-40B4-BE49-F238E27FC236}">
                <a16:creationId xmlns:a16="http://schemas.microsoft.com/office/drawing/2014/main" id="{EC7D1699-5970-EE0F-00FE-C4529F4F813B}"/>
              </a:ext>
            </a:extLst>
          </p:cNvPr>
          <p:cNvSpPr>
            <a:spLocks noGrp="1"/>
          </p:cNvSpPr>
          <p:nvPr>
            <p:ph type="body" sz="quarter" idx="30"/>
          </p:nvPr>
        </p:nvSpPr>
        <p:spPr>
          <a:xfrm>
            <a:off x="576263" y="2971799"/>
            <a:ext cx="4464050" cy="1990725"/>
          </a:xfrm>
        </p:spPr>
        <p:txBody>
          <a:bodyPr/>
          <a:lstStyle>
            <a:lvl1pPr>
              <a:defRPr>
                <a:solidFill>
                  <a:srgbClr val="FF6120"/>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28">
            <a:extLst>
              <a:ext uri="{FF2B5EF4-FFF2-40B4-BE49-F238E27FC236}">
                <a16:creationId xmlns:a16="http://schemas.microsoft.com/office/drawing/2014/main" id="{96E61A6A-7A7B-8D4B-8D79-73B41D64116A}"/>
              </a:ext>
            </a:extLst>
          </p:cNvPr>
          <p:cNvSpPr>
            <a:spLocks noGrp="1"/>
          </p:cNvSpPr>
          <p:nvPr>
            <p:ph type="body" sz="quarter" idx="31" hasCustomPrompt="1"/>
          </p:nvPr>
        </p:nvSpPr>
        <p:spPr>
          <a:xfrm>
            <a:off x="8712000" y="2971799"/>
            <a:ext cx="2520000" cy="2177187"/>
          </a:xfrm>
          <a:prstGeom prst="rect">
            <a:avLst/>
          </a:prstGeom>
        </p:spPr>
        <p:txBody>
          <a:bodyPr/>
          <a:lstStyle>
            <a:lvl1pPr>
              <a:spcAft>
                <a:spcPts val="1200"/>
              </a:spcAft>
              <a:defRPr sz="2000" b="0" i="1">
                <a:solidFill>
                  <a:schemeClr val="bg1"/>
                </a:solidFill>
                <a:latin typeface="+mn-lt"/>
                <a:cs typeface="Times New Roman" panose="02020603050405020304" pitchFamily="18" charset="0"/>
              </a:defRPr>
            </a:lvl1pPr>
            <a:lvl2pPr marL="576000" indent="-576000">
              <a:spcAft>
                <a:spcPts val="1200"/>
              </a:spcAft>
              <a:buClr>
                <a:schemeClr val="bg1"/>
              </a:buClr>
              <a:buSzPct val="100000"/>
              <a:buFont typeface="+mj-lt"/>
              <a:buAutoNum type="alphaUcPeriod"/>
              <a:defRPr sz="3600">
                <a:solidFill>
                  <a:schemeClr val="bg1"/>
                </a:solidFill>
                <a:latin typeface="+mn-lt"/>
                <a:cs typeface="Times New Roman" panose="02020603050405020304" pitchFamily="18" charset="0"/>
              </a:defRPr>
            </a:lvl2pPr>
            <a:lvl3pPr marL="0" indent="0">
              <a:buNone/>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Subheading</a:t>
            </a:r>
          </a:p>
          <a:p>
            <a:pPr lvl="1"/>
            <a:r>
              <a:rPr lang="en-US" dirty="0"/>
              <a:t>Second level</a:t>
            </a:r>
          </a:p>
        </p:txBody>
      </p:sp>
      <p:sp>
        <p:nvSpPr>
          <p:cNvPr id="2" name="Text Placeholder 7">
            <a:extLst>
              <a:ext uri="{FF2B5EF4-FFF2-40B4-BE49-F238E27FC236}">
                <a16:creationId xmlns:a16="http://schemas.microsoft.com/office/drawing/2014/main" id="{6B854DF2-3757-05B6-B441-73E90A10951E}"/>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3" name="Source">
            <a:extLst>
              <a:ext uri="{FF2B5EF4-FFF2-40B4-BE49-F238E27FC236}">
                <a16:creationId xmlns:a16="http://schemas.microsoft.com/office/drawing/2014/main" id="{185BB7BF-27BA-6743-9220-B24202AC764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BD360ED1-7593-FDBF-589B-3C4000AF4CF1}"/>
              </a:ext>
            </a:extLst>
          </p:cNvPr>
          <p:cNvSpPr>
            <a:spLocks noGrp="1"/>
          </p:cNvSpPr>
          <p:nvPr>
            <p:ph type="ftr" sz="quarter" idx="32"/>
          </p:nvPr>
        </p:nvSpPr>
        <p:spPr/>
        <p:txBody>
          <a:bodyPr/>
          <a:lstStyle/>
          <a:p>
            <a:r>
              <a:rPr lang="en-GB"/>
              <a:t>Information Classification: PUBLIC</a:t>
            </a:r>
            <a:endParaRPr lang="en-GB" dirty="0"/>
          </a:p>
        </p:txBody>
      </p:sp>
      <p:pic>
        <p:nvPicPr>
          <p:cNvPr id="4" name="Picture 3">
            <a:extLst>
              <a:ext uri="{FF2B5EF4-FFF2-40B4-BE49-F238E27FC236}">
                <a16:creationId xmlns:a16="http://schemas.microsoft.com/office/drawing/2014/main" id="{806822C8-B5E5-7583-D8FF-98CD7D97BB02}"/>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332915589"/>
      </p:ext>
    </p:extLst>
  </p:cSld>
  <p:clrMapOvr>
    <a:masterClrMapping/>
  </p:clrMapOvr>
  <p:transition>
    <p:wipe/>
  </p:transition>
  <p:extLst>
    <p:ext uri="{DCECCB84-F9BA-43D5-87BE-67443E8EF086}">
      <p15:sldGuideLst xmlns:p15="http://schemas.microsoft.com/office/powerpoint/2012/main">
        <p15:guide id="1" pos="3538">
          <p15:clr>
            <a:srgbClr val="FBAE40"/>
          </p15:clr>
        </p15:guide>
        <p15:guide id="2" pos="3175">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1 - Quote with duotone headsho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6624281"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panose="020B0503020202020204" pitchFamily="34" charset="0"/>
            </a:endParaRPr>
          </a:p>
        </p:txBody>
      </p:sp>
      <p:sp>
        <p:nvSpPr>
          <p:cNvPr id="8" name="Text Placeholder 7">
            <a:extLst>
              <a:ext uri="{FF2B5EF4-FFF2-40B4-BE49-F238E27FC236}">
                <a16:creationId xmlns:a16="http://schemas.microsoft.com/office/drawing/2014/main" id="{AC778EAD-D98C-9943-9150-6EAA6CFEB302}"/>
              </a:ext>
            </a:extLst>
          </p:cNvPr>
          <p:cNvSpPr>
            <a:spLocks noGrp="1"/>
          </p:cNvSpPr>
          <p:nvPr>
            <p:ph type="body" sz="quarter" idx="10" hasCustomPrompt="1"/>
          </p:nvPr>
        </p:nvSpPr>
        <p:spPr>
          <a:xfrm>
            <a:off x="471250" y="-123824"/>
            <a:ext cx="1546500" cy="1485227"/>
          </a:xfrm>
          <a:prstGeom prst="rect">
            <a:avLst/>
          </a:prstGeom>
        </p:spPr>
        <p:txBody>
          <a:bodyPr rIns="0"/>
          <a:lstStyle>
            <a:lvl1pPr marL="0" indent="0">
              <a:buNone/>
              <a:defRPr sz="22583" b="0" i="0">
                <a:solidFill>
                  <a:srgbClr val="FF6120"/>
                </a:solidFill>
                <a:latin typeface="Arial" panose="020B0604020202020204" pitchFamily="34" charset="0"/>
                <a:cs typeface="Arial" panose="020B0604020202020204" pitchFamily="34"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15" name="Picture Placeholder 14">
            <a:extLst>
              <a:ext uri="{FF2B5EF4-FFF2-40B4-BE49-F238E27FC236}">
                <a16:creationId xmlns:a16="http://schemas.microsoft.com/office/drawing/2014/main" id="{B1BC5447-3512-8139-774C-9D1E8B8EF93E}"/>
              </a:ext>
            </a:extLst>
          </p:cNvPr>
          <p:cNvSpPr>
            <a:spLocks noGrp="1"/>
          </p:cNvSpPr>
          <p:nvPr>
            <p:ph type="pic" sz="quarter" idx="15" hasCustomPrompt="1"/>
          </p:nvPr>
        </p:nvSpPr>
        <p:spPr>
          <a:xfrm>
            <a:off x="6624281" y="0"/>
            <a:ext cx="4896207" cy="6480175"/>
          </a:xfrm>
          <a:prstGeom prst="rect">
            <a:avLst/>
          </a:prstGeom>
          <a:solidFill>
            <a:srgbClr val="808183"/>
          </a:solidFill>
        </p:spPr>
        <p:txBody>
          <a:bodyPr anchor="ctr" anchorCtr="0"/>
          <a:lstStyle>
            <a:lvl1pPr marL="0" indent="0" algn="ctr">
              <a:buNone/>
              <a:defRPr>
                <a:latin typeface="Avenir Next LT Pro" panose="020B0504020202020204" pitchFamily="34" charset="77"/>
              </a:defRPr>
            </a:lvl1pPr>
          </a:lstStyle>
          <a:p>
            <a:r>
              <a:rPr lang="en-US" dirty="0"/>
              <a:t>Insert</a:t>
            </a:r>
            <a:br>
              <a:rPr lang="en-US" dirty="0"/>
            </a:br>
            <a:r>
              <a:rPr lang="en-US" dirty="0"/>
              <a:t>Duotone Headshot</a:t>
            </a:r>
          </a:p>
        </p:txBody>
      </p:sp>
      <p:sp>
        <p:nvSpPr>
          <p:cNvPr id="5" name="Slide Number Placeholder 4">
            <a:extLst>
              <a:ext uri="{FF2B5EF4-FFF2-40B4-BE49-F238E27FC236}">
                <a16:creationId xmlns:a16="http://schemas.microsoft.com/office/drawing/2014/main" id="{E676C271-BE18-11BA-8C7D-2446A4189CDB}"/>
              </a:ext>
            </a:extLst>
          </p:cNvPr>
          <p:cNvSpPr>
            <a:spLocks noGrp="1"/>
          </p:cNvSpPr>
          <p:nvPr>
            <p:ph type="sldNum" sz="quarter" idx="17"/>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0" name="Text Placeholder 9">
            <a:extLst>
              <a:ext uri="{FF2B5EF4-FFF2-40B4-BE49-F238E27FC236}">
                <a16:creationId xmlns:a16="http://schemas.microsoft.com/office/drawing/2014/main" id="{929F0D7E-06E5-3B24-A0C4-DB32A73A03D6}"/>
              </a:ext>
            </a:extLst>
          </p:cNvPr>
          <p:cNvSpPr>
            <a:spLocks noGrp="1"/>
          </p:cNvSpPr>
          <p:nvPr>
            <p:ph type="body" sz="quarter" idx="18"/>
          </p:nvPr>
        </p:nvSpPr>
        <p:spPr>
          <a:xfrm>
            <a:off x="576263" y="1439864"/>
            <a:ext cx="5759449" cy="3313112"/>
          </a:xfrm>
        </p:spPr>
        <p:txBody>
          <a:bodyPr/>
          <a:lstStyle>
            <a:lvl1pPr>
              <a:spcAft>
                <a:spcPts val="2400"/>
              </a:spcAft>
              <a:defRPr sz="3200" b="0" i="0">
                <a:solidFill>
                  <a:schemeClr val="bg1"/>
                </a:solidFill>
                <a:latin typeface="+mn-lt"/>
                <a:cs typeface="Times New Roman" panose="02020603050405020304" pitchFamily="18" charset="0"/>
              </a:defRPr>
            </a:lvl1pPr>
            <a:lvl2pPr>
              <a:defRPr sz="1300" b="1">
                <a:solidFill>
                  <a:schemeClr val="bg1"/>
                </a:solidFill>
              </a:defRPr>
            </a:lvl2pPr>
            <a:lvl3pPr marL="0" indent="0">
              <a:buNone/>
              <a:defRPr sz="1300">
                <a:solidFill>
                  <a:schemeClr val="bg1"/>
                </a:solidFill>
              </a:defRPr>
            </a:lvl3pPr>
            <a:lvl4pPr marL="180000" indent="-180000">
              <a:buClrTx/>
              <a:buFont typeface="Arial" panose="020B0604020202020204" pitchFamily="34" charset="0"/>
              <a:buChar char="•"/>
              <a:defRPr sz="1300">
                <a:solidFill>
                  <a:schemeClr val="bg1"/>
                </a:solidFill>
              </a:defRPr>
            </a:lvl4pPr>
            <a:lvl5pPr marL="360000">
              <a:buClr>
                <a:schemeClr val="bg2"/>
              </a:buClr>
              <a:defRPr sz="13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7">
            <a:extLst>
              <a:ext uri="{FF2B5EF4-FFF2-40B4-BE49-F238E27FC236}">
                <a16:creationId xmlns:a16="http://schemas.microsoft.com/office/drawing/2014/main" id="{A14D369D-335F-90A0-9BBC-EA282A04DB3D}"/>
              </a:ext>
            </a:extLst>
          </p:cNvPr>
          <p:cNvSpPr>
            <a:spLocks noGrp="1"/>
          </p:cNvSpPr>
          <p:nvPr>
            <p:ph type="body" sz="quarter" idx="19"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2" name="Source">
            <a:extLst>
              <a:ext uri="{FF2B5EF4-FFF2-40B4-BE49-F238E27FC236}">
                <a16:creationId xmlns:a16="http://schemas.microsoft.com/office/drawing/2014/main" id="{99EA3994-E192-6ED2-0343-0A9E3B3D175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900CCCCF-BB52-10A8-193E-394006B2A7FB}"/>
              </a:ext>
            </a:extLst>
          </p:cNvPr>
          <p:cNvSpPr>
            <a:spLocks noGrp="1"/>
          </p:cNvSpPr>
          <p:nvPr>
            <p:ph type="ftr" sz="quarter" idx="20"/>
          </p:nvPr>
        </p:nvSpPr>
        <p:spPr/>
        <p:txBody>
          <a:bodyPr/>
          <a:lstStyle>
            <a:lvl1pPr>
              <a:defRPr>
                <a:solidFill>
                  <a:schemeClr val="bg1"/>
                </a:solidFill>
              </a:defRPr>
            </a:lvl1pPr>
          </a:lstStyle>
          <a:p>
            <a:r>
              <a:rPr lang="en-GB"/>
              <a:t>Information Classification: PUBLIC</a:t>
            </a:r>
            <a:endParaRPr lang="en-GB" dirty="0"/>
          </a:p>
        </p:txBody>
      </p:sp>
      <p:pic>
        <p:nvPicPr>
          <p:cNvPr id="4" name="Picture 3">
            <a:extLst>
              <a:ext uri="{FF2B5EF4-FFF2-40B4-BE49-F238E27FC236}">
                <a16:creationId xmlns:a16="http://schemas.microsoft.com/office/drawing/2014/main" id="{282DEBA2-3575-4E33-34B3-092BA022A8D4}"/>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630381834"/>
      </p:ext>
    </p:extLst>
  </p:cSld>
  <p:clrMapOvr>
    <a:masterClrMapping/>
  </p:clrMapOvr>
  <p:transition>
    <p:wipe/>
  </p:transition>
  <p:extLst>
    <p:ext uri="{DCECCB84-F9BA-43D5-87BE-67443E8EF086}">
      <p15:sldGuideLst xmlns:p15="http://schemas.microsoft.com/office/powerpoint/2012/main">
        <p15:guide id="1" pos="4173">
          <p15:clr>
            <a:srgbClr val="FBAE40"/>
          </p15:clr>
        </p15:guide>
        <p15:guide id="2" pos="3991">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7 - Quote, no headsho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78275D-B1DA-7A52-05C0-670F34C883BD}"/>
              </a:ext>
            </a:extLst>
          </p:cNvPr>
          <p:cNvSpPr/>
          <p:nvPr userDrawn="1"/>
        </p:nvSpPr>
        <p:spPr>
          <a:xfrm>
            <a:off x="0" y="444211"/>
            <a:ext cx="11520488" cy="5573458"/>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3" name="Slide Number Placeholder 2">
            <a:extLst>
              <a:ext uri="{FF2B5EF4-FFF2-40B4-BE49-F238E27FC236}">
                <a16:creationId xmlns:a16="http://schemas.microsoft.com/office/drawing/2014/main" id="{4E1768E4-3E48-35EA-B322-216856045561}"/>
              </a:ext>
            </a:extLst>
          </p:cNvPr>
          <p:cNvSpPr>
            <a:spLocks noGrp="1"/>
          </p:cNvSpPr>
          <p:nvPr>
            <p:ph type="sldNum" sz="quarter" idx="21"/>
          </p:nvPr>
        </p:nvSpPr>
        <p:spPr/>
        <p:txBody>
          <a:bodyPr/>
          <a:lstStyle/>
          <a:p>
            <a:fld id="{0F961903-03AF-4EAC-BF2C-945F8C5557D1}" type="slidenum">
              <a:rPr lang="en-GB" smtClean="0"/>
              <a:pPr/>
              <a:t>‹#›</a:t>
            </a:fld>
            <a:endParaRPr lang="en-GB" dirty="0"/>
          </a:p>
        </p:txBody>
      </p:sp>
      <p:sp>
        <p:nvSpPr>
          <p:cNvPr id="4" name="Text Placeholder 7">
            <a:extLst>
              <a:ext uri="{FF2B5EF4-FFF2-40B4-BE49-F238E27FC236}">
                <a16:creationId xmlns:a16="http://schemas.microsoft.com/office/drawing/2014/main" id="{F20B4688-D697-9F58-7139-2552ECDC6DDF}"/>
              </a:ext>
            </a:extLst>
          </p:cNvPr>
          <p:cNvSpPr>
            <a:spLocks noGrp="1"/>
          </p:cNvSpPr>
          <p:nvPr>
            <p:ph type="body" sz="quarter" idx="22" hasCustomPrompt="1"/>
          </p:nvPr>
        </p:nvSpPr>
        <p:spPr>
          <a:xfrm>
            <a:off x="395050" y="159086"/>
            <a:ext cx="1546500" cy="1485227"/>
          </a:xfrm>
          <a:prstGeom prst="rect">
            <a:avLst/>
          </a:prstGeom>
        </p:spPr>
        <p:txBody>
          <a:bodyPr rIns="0"/>
          <a:lstStyle>
            <a:lvl1pPr marL="0" indent="0">
              <a:buNone/>
              <a:defRPr sz="24000" b="0" i="0">
                <a:solidFill>
                  <a:srgbClr val="FF6120"/>
                </a:solidFill>
                <a:latin typeface="Arial" panose="020B0604020202020204" pitchFamily="34" charset="0"/>
                <a:cs typeface="Arial" panose="020B0604020202020204" pitchFamily="34"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5" name="Text Placeholder 7">
            <a:extLst>
              <a:ext uri="{FF2B5EF4-FFF2-40B4-BE49-F238E27FC236}">
                <a16:creationId xmlns:a16="http://schemas.microsoft.com/office/drawing/2014/main" id="{CBCDBC9A-28D6-3583-AEBA-A3A31F89C5D5}"/>
              </a:ext>
            </a:extLst>
          </p:cNvPr>
          <p:cNvSpPr>
            <a:spLocks noGrp="1"/>
          </p:cNvSpPr>
          <p:nvPr>
            <p:ph type="body" sz="quarter" idx="23" hasCustomPrompt="1"/>
          </p:nvPr>
        </p:nvSpPr>
        <p:spPr>
          <a:xfrm>
            <a:off x="10058125" y="3273761"/>
            <a:ext cx="1546500" cy="1485227"/>
          </a:xfrm>
          <a:prstGeom prst="rect">
            <a:avLst/>
          </a:prstGeom>
        </p:spPr>
        <p:txBody>
          <a:bodyPr rIns="0"/>
          <a:lstStyle>
            <a:lvl1pPr marL="0" indent="0">
              <a:buNone/>
              <a:defRPr sz="24000" b="0" i="0">
                <a:solidFill>
                  <a:srgbClr val="FF6120"/>
                </a:solidFill>
                <a:latin typeface="Arial" panose="020B0604020202020204" pitchFamily="34" charset="0"/>
                <a:cs typeface="Arial" panose="020B0604020202020204" pitchFamily="34"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6" name="Text Placeholder 9">
            <a:extLst>
              <a:ext uri="{FF2B5EF4-FFF2-40B4-BE49-F238E27FC236}">
                <a16:creationId xmlns:a16="http://schemas.microsoft.com/office/drawing/2014/main" id="{64ABDAEE-ED1A-2B2E-E000-3DE3429BA887}"/>
              </a:ext>
            </a:extLst>
          </p:cNvPr>
          <p:cNvSpPr>
            <a:spLocks noGrp="1"/>
          </p:cNvSpPr>
          <p:nvPr>
            <p:ph type="body" sz="quarter" idx="24"/>
          </p:nvPr>
        </p:nvSpPr>
        <p:spPr>
          <a:xfrm>
            <a:off x="2076450" y="1727200"/>
            <a:ext cx="7639050" cy="3817938"/>
          </a:xfrm>
        </p:spPr>
        <p:txBody>
          <a:bodyPr/>
          <a:lstStyle>
            <a:lvl1pPr>
              <a:spcAft>
                <a:spcPts val="2400"/>
              </a:spcAft>
              <a:defRPr sz="3600" b="0" i="0">
                <a:solidFill>
                  <a:schemeClr val="bg1"/>
                </a:solidFill>
                <a:latin typeface="+mn-lt"/>
                <a:cs typeface="Times New Roman" panose="02020603050405020304" pitchFamily="18" charset="0"/>
              </a:defRPr>
            </a:lvl1pPr>
            <a:lvl2pPr algn="r">
              <a:defRPr sz="1300" b="1">
                <a:solidFill>
                  <a:schemeClr val="bg1"/>
                </a:solidFill>
              </a:defRPr>
            </a:lvl2pPr>
            <a:lvl3pPr marL="0" indent="0" algn="r">
              <a:buNone/>
              <a:defRPr sz="1300">
                <a:solidFill>
                  <a:schemeClr val="bg1"/>
                </a:solidFill>
              </a:defRPr>
            </a:lvl3pPr>
            <a:lvl4pPr marL="180000" indent="-180000" algn="r">
              <a:buClrTx/>
              <a:buFont typeface="Arial" panose="020B0604020202020204" pitchFamily="34" charset="0"/>
              <a:buChar char="•"/>
              <a:defRPr sz="1300">
                <a:solidFill>
                  <a:schemeClr val="bg1"/>
                </a:solidFill>
              </a:defRPr>
            </a:lvl4pPr>
            <a:lvl5pPr marL="360000" algn="r">
              <a:buClr>
                <a:schemeClr val="bg2"/>
              </a:buClr>
              <a:defRPr sz="13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7">
            <a:extLst>
              <a:ext uri="{FF2B5EF4-FFF2-40B4-BE49-F238E27FC236}">
                <a16:creationId xmlns:a16="http://schemas.microsoft.com/office/drawing/2014/main" id="{7A16BE49-4A23-A62E-17EC-ED7B4A3BAE1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8" name="Source">
            <a:extLst>
              <a:ext uri="{FF2B5EF4-FFF2-40B4-BE49-F238E27FC236}">
                <a16:creationId xmlns:a16="http://schemas.microsoft.com/office/drawing/2014/main" id="{7792065D-3822-8C00-EB47-70CCB0DDE446}"/>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F38C7F33-7149-7E37-17B1-B89FE999C13B}"/>
              </a:ext>
            </a:extLst>
          </p:cNvPr>
          <p:cNvSpPr>
            <a:spLocks noGrp="1"/>
          </p:cNvSpPr>
          <p:nvPr>
            <p:ph type="ftr" sz="quarter" idx="25"/>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017042745"/>
      </p:ext>
    </p:extLst>
  </p:cSld>
  <p:clrMapOvr>
    <a:masterClrMapping/>
  </p:clrMapOvr>
  <p:transition>
    <p:wip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8 - Quote with headsho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B78275D-B1DA-7A52-05C0-670F34C883BD}"/>
              </a:ext>
            </a:extLst>
          </p:cNvPr>
          <p:cNvSpPr/>
          <p:nvPr userDrawn="1"/>
        </p:nvSpPr>
        <p:spPr>
          <a:xfrm>
            <a:off x="0" y="444211"/>
            <a:ext cx="11520488" cy="5573458"/>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5" name="Picture Placeholder 4">
            <a:extLst>
              <a:ext uri="{FF2B5EF4-FFF2-40B4-BE49-F238E27FC236}">
                <a16:creationId xmlns:a16="http://schemas.microsoft.com/office/drawing/2014/main" id="{ED560F63-1444-A7AA-4410-7217C40E1A0F}"/>
              </a:ext>
            </a:extLst>
          </p:cNvPr>
          <p:cNvSpPr>
            <a:spLocks noGrp="1"/>
          </p:cNvSpPr>
          <p:nvPr>
            <p:ph type="pic" sz="quarter" idx="19"/>
          </p:nvPr>
        </p:nvSpPr>
        <p:spPr>
          <a:xfrm>
            <a:off x="576263" y="1968304"/>
            <a:ext cx="2160000" cy="2160000"/>
          </a:xfrm>
          <a:prstGeom prst="ellipse">
            <a:avLst/>
          </a:prstGeom>
          <a:solidFill>
            <a:srgbClr val="808183"/>
          </a:solidFill>
        </p:spPr>
        <p:txBody>
          <a:bodyPr/>
          <a:lstStyle>
            <a:lvl1pPr>
              <a:defRPr>
                <a:latin typeface="Avenir Next" panose="020B0503020202020204" pitchFamily="34" charset="0"/>
              </a:defRPr>
            </a:lvl1pPr>
          </a:lstStyle>
          <a:p>
            <a:endParaRPr lang="en-US" dirty="0"/>
          </a:p>
        </p:txBody>
      </p:sp>
      <p:sp>
        <p:nvSpPr>
          <p:cNvPr id="4" name="Slide Number Placeholder 3">
            <a:extLst>
              <a:ext uri="{FF2B5EF4-FFF2-40B4-BE49-F238E27FC236}">
                <a16:creationId xmlns:a16="http://schemas.microsoft.com/office/drawing/2014/main" id="{603BED7E-C6E6-C287-00B5-0BFC8B616F69}"/>
              </a:ext>
            </a:extLst>
          </p:cNvPr>
          <p:cNvSpPr>
            <a:spLocks noGrp="1"/>
          </p:cNvSpPr>
          <p:nvPr>
            <p:ph type="sldNum" sz="quarter" idx="21"/>
          </p:nvPr>
        </p:nvSpPr>
        <p:spPr/>
        <p:txBody>
          <a:bodyPr/>
          <a:lstStyle/>
          <a:p>
            <a:fld id="{0F961903-03AF-4EAC-BF2C-945F8C5557D1}" type="slidenum">
              <a:rPr lang="en-GB" smtClean="0"/>
              <a:pPr/>
              <a:t>‹#›</a:t>
            </a:fld>
            <a:endParaRPr lang="en-GB" dirty="0"/>
          </a:p>
        </p:txBody>
      </p:sp>
      <p:sp>
        <p:nvSpPr>
          <p:cNvPr id="6" name="Text Placeholder 7">
            <a:extLst>
              <a:ext uri="{FF2B5EF4-FFF2-40B4-BE49-F238E27FC236}">
                <a16:creationId xmlns:a16="http://schemas.microsoft.com/office/drawing/2014/main" id="{F4271845-8954-85F7-E180-CAFFA99B2875}"/>
              </a:ext>
            </a:extLst>
          </p:cNvPr>
          <p:cNvSpPr>
            <a:spLocks noGrp="1"/>
          </p:cNvSpPr>
          <p:nvPr>
            <p:ph type="body" sz="quarter" idx="22" hasCustomPrompt="1"/>
          </p:nvPr>
        </p:nvSpPr>
        <p:spPr>
          <a:xfrm>
            <a:off x="1623775" y="241973"/>
            <a:ext cx="1546500" cy="1485227"/>
          </a:xfrm>
          <a:prstGeom prst="rect">
            <a:avLst/>
          </a:prstGeom>
        </p:spPr>
        <p:txBody>
          <a:bodyPr rIns="0"/>
          <a:lstStyle>
            <a:lvl1pPr marL="0" indent="0">
              <a:buNone/>
              <a:defRPr sz="34600" b="0" i="0">
                <a:solidFill>
                  <a:srgbClr val="FF6120"/>
                </a:solidFill>
                <a:latin typeface="Arial" panose="020B0604020202020204" pitchFamily="34" charset="0"/>
                <a:cs typeface="Arial" panose="020B0604020202020204" pitchFamily="34" charset="0"/>
              </a:defRPr>
            </a:lvl1pPr>
            <a:lvl2pPr marL="160504" indent="0">
              <a:buNone/>
              <a:defRPr>
                <a:solidFill>
                  <a:schemeClr val="accent1"/>
                </a:solidFill>
                <a:latin typeface="Times New Roman" panose="02020603050405020304" pitchFamily="18" charset="0"/>
                <a:cs typeface="Times New Roman" panose="02020603050405020304" pitchFamily="18" charset="0"/>
              </a:defRPr>
            </a:lvl2pPr>
            <a:lvl3pPr marL="325506" indent="0">
              <a:buNone/>
              <a:defRPr>
                <a:solidFill>
                  <a:schemeClr val="accent1"/>
                </a:solidFill>
                <a:latin typeface="Times New Roman" panose="02020603050405020304" pitchFamily="18" charset="0"/>
                <a:cs typeface="Times New Roman" panose="02020603050405020304" pitchFamily="18" charset="0"/>
              </a:defRPr>
            </a:lvl3pPr>
            <a:lvl4pPr marL="486009" indent="0">
              <a:buNone/>
              <a:defRPr>
                <a:solidFill>
                  <a:schemeClr val="accent1"/>
                </a:solidFill>
                <a:latin typeface="Times New Roman" panose="02020603050405020304" pitchFamily="18" charset="0"/>
                <a:cs typeface="Times New Roman" panose="02020603050405020304" pitchFamily="18" charset="0"/>
              </a:defRPr>
            </a:lvl4pPr>
            <a:lvl5pPr marL="651012"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dirty="0"/>
              <a:t>“</a:t>
            </a:r>
          </a:p>
        </p:txBody>
      </p:sp>
      <p:sp>
        <p:nvSpPr>
          <p:cNvPr id="7" name="Text Placeholder 9">
            <a:extLst>
              <a:ext uri="{FF2B5EF4-FFF2-40B4-BE49-F238E27FC236}">
                <a16:creationId xmlns:a16="http://schemas.microsoft.com/office/drawing/2014/main" id="{B6D3FEB0-52CA-94E1-06B8-8603F5577DBB}"/>
              </a:ext>
            </a:extLst>
          </p:cNvPr>
          <p:cNvSpPr>
            <a:spLocks noGrp="1"/>
          </p:cNvSpPr>
          <p:nvPr>
            <p:ph type="body" sz="quarter" idx="24"/>
          </p:nvPr>
        </p:nvSpPr>
        <p:spPr>
          <a:xfrm>
            <a:off x="3162299" y="1908175"/>
            <a:ext cx="7781926" cy="3636963"/>
          </a:xfrm>
        </p:spPr>
        <p:txBody>
          <a:bodyPr/>
          <a:lstStyle>
            <a:lvl1pPr>
              <a:spcAft>
                <a:spcPts val="2400"/>
              </a:spcAft>
              <a:defRPr sz="3600" b="0" i="0">
                <a:solidFill>
                  <a:schemeClr val="bg1"/>
                </a:solidFill>
                <a:latin typeface="+mn-lt"/>
                <a:cs typeface="Times New Roman" panose="02020603050405020304" pitchFamily="18" charset="0"/>
              </a:defRPr>
            </a:lvl1pPr>
            <a:lvl2pPr algn="r">
              <a:defRPr sz="1300" b="1">
                <a:solidFill>
                  <a:schemeClr val="bg1"/>
                </a:solidFill>
              </a:defRPr>
            </a:lvl2pPr>
            <a:lvl3pPr marL="0" indent="0" algn="r">
              <a:buNone/>
              <a:defRPr sz="1300">
                <a:solidFill>
                  <a:schemeClr val="bg1"/>
                </a:solidFill>
              </a:defRPr>
            </a:lvl3pPr>
            <a:lvl4pPr marL="180000" indent="-180000" algn="r">
              <a:buClrTx/>
              <a:buFont typeface="Arial" panose="020B0604020202020204" pitchFamily="34" charset="0"/>
              <a:buChar char="•"/>
              <a:defRPr sz="1300">
                <a:solidFill>
                  <a:schemeClr val="bg1"/>
                </a:solidFill>
              </a:defRPr>
            </a:lvl4pPr>
            <a:lvl5pPr marL="360000" algn="r">
              <a:buClr>
                <a:schemeClr val="bg2"/>
              </a:buClr>
              <a:defRPr sz="13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ext Placeholder 7">
            <a:extLst>
              <a:ext uri="{FF2B5EF4-FFF2-40B4-BE49-F238E27FC236}">
                <a16:creationId xmlns:a16="http://schemas.microsoft.com/office/drawing/2014/main" id="{9F08CF8B-4F75-B61B-DA8B-39AB688BD0C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8" name="Source">
            <a:extLst>
              <a:ext uri="{FF2B5EF4-FFF2-40B4-BE49-F238E27FC236}">
                <a16:creationId xmlns:a16="http://schemas.microsoft.com/office/drawing/2014/main" id="{6E8951F0-0B8B-1839-1F6B-AEDC8A409F43}"/>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8F69C126-2914-D9B9-2449-BC1B1E5F0BC4}"/>
              </a:ext>
            </a:extLst>
          </p:cNvPr>
          <p:cNvSpPr>
            <a:spLocks noGrp="1"/>
          </p:cNvSpPr>
          <p:nvPr>
            <p:ph type="ftr" sz="quarter" idx="25"/>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54220213"/>
      </p:ext>
    </p:extLst>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lumn / Narrow column / 1 row content">
    <p:spTree>
      <p:nvGrpSpPr>
        <p:cNvPr id="1" name=""/>
        <p:cNvGrpSpPr/>
        <p:nvPr/>
      </p:nvGrpSpPr>
      <p:grpSpPr>
        <a:xfrm>
          <a:off x="0" y="0"/>
          <a:ext cx="0" cy="0"/>
          <a:chOff x="0" y="0"/>
          <a:chExt cx="0" cy="0"/>
        </a:xfrm>
      </p:grpSpPr>
      <p:sp>
        <p:nvSpPr>
          <p:cNvPr id="9" name="Content Placeholder 3"/>
          <p:cNvSpPr>
            <a:spLocks noGrp="1"/>
          </p:cNvSpPr>
          <p:nvPr>
            <p:ph sz="quarter" idx="32"/>
          </p:nvPr>
        </p:nvSpPr>
        <p:spPr>
          <a:xfrm>
            <a:off x="7704000" y="1439863"/>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5"/>
            <a:ext cx="6804025"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3"/>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BE9BC7A-ADFB-F1A5-43F0-8DE2FED2AE71}"/>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E7ECD40C-669E-32EE-F2D6-2E2BE65C16A8}"/>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DF5FD3D3-E599-CB42-FA02-C18D27A185B6}"/>
              </a:ext>
            </a:extLst>
          </p:cNvPr>
          <p:cNvSpPr>
            <a:spLocks noGrp="1"/>
          </p:cNvSpPr>
          <p:nvPr>
            <p:ph type="ftr" sz="quarter" idx="3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0" name="Source">
            <a:extLst>
              <a:ext uri="{FF2B5EF4-FFF2-40B4-BE49-F238E27FC236}">
                <a16:creationId xmlns:a16="http://schemas.microsoft.com/office/drawing/2014/main" id="{A8D48AF7-D30A-CF1E-B43C-54B54EC7D4DE}"/>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47132CDA-790A-F0DA-6843-D7A014C2B92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50477524"/>
      </p:ext>
    </p:extLst>
  </p:cSld>
  <p:clrMapOvr>
    <a:masterClrMapping/>
  </p:clrMapOvr>
  <p:extLst>
    <p:ext uri="{DCECCB84-F9BA-43D5-87BE-67443E8EF086}">
      <p15:sldGuideLst xmlns:p15="http://schemas.microsoft.com/office/powerpoint/2012/main">
        <p15:guide id="1" pos="4649" userDrawn="1">
          <p15:clr>
            <a:srgbClr val="FBAE40"/>
          </p15:clr>
        </p15:guide>
        <p15:guide id="2" pos="4853"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2 - Timeline - standard, dark">
    <p:bg>
      <p:bgPr>
        <a:solidFill>
          <a:srgbClr val="00243D"/>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BA0A43E-FAF2-36A7-AE5E-B21BA3703D97}"/>
              </a:ext>
            </a:extLst>
          </p:cNvPr>
          <p:cNvSpPr>
            <a:spLocks noGrp="1"/>
          </p:cNvSpPr>
          <p:nvPr>
            <p:ph type="title" hasCustomPrompt="1"/>
          </p:nvPr>
        </p:nvSpPr>
        <p:spPr>
          <a:xfrm>
            <a:off x="576026" y="288000"/>
            <a:ext cx="2623244" cy="432000"/>
          </a:xfrm>
        </p:spPr>
        <p:txBody>
          <a:bodyPr tIns="0" rIns="0" anchor="ctr" anchorCtr="0"/>
          <a:lstStyle>
            <a:lvl1pPr>
              <a:lnSpc>
                <a:spcPct val="100000"/>
              </a:lnSpc>
              <a:defRPr sz="4400" b="0">
                <a:solidFill>
                  <a:schemeClr val="bg1"/>
                </a:solidFill>
                <a:latin typeface="Avenir Next LT Pro" panose="020B0504020202020204" pitchFamily="34" charset="77"/>
              </a:defRPr>
            </a:lvl1pPr>
          </a:lstStyle>
          <a:p>
            <a:r>
              <a:rPr lang="en-US" dirty="0"/>
              <a:t>TIMELINE</a:t>
            </a:r>
          </a:p>
        </p:txBody>
      </p:sp>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430092"/>
            <a:ext cx="10944462" cy="0"/>
          </a:xfrm>
          <a:prstGeom prst="straightConnector1">
            <a:avLst/>
          </a:prstGeom>
          <a:ln>
            <a:solidFill>
              <a:srgbClr val="CCCDCD"/>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756725" y="3430093"/>
            <a:ext cx="0" cy="381156"/>
          </a:xfrm>
          <a:prstGeom prst="line">
            <a:avLst/>
          </a:prstGeom>
          <a:ln>
            <a:solidFill>
              <a:srgbClr val="CCCDCD"/>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4838905" y="3430093"/>
            <a:ext cx="0" cy="381156"/>
          </a:xfrm>
          <a:prstGeom prst="line">
            <a:avLst/>
          </a:prstGeom>
          <a:ln>
            <a:solidFill>
              <a:srgbClr val="CCCDCD"/>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8921322" y="3430093"/>
            <a:ext cx="0" cy="381156"/>
          </a:xfrm>
          <a:prstGeom prst="line">
            <a:avLst/>
          </a:prstGeom>
          <a:ln>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783628" y="3049683"/>
            <a:ext cx="0" cy="381156"/>
          </a:xfrm>
          <a:prstGeom prst="line">
            <a:avLst/>
          </a:prstGeom>
          <a:ln>
            <a:solidFill>
              <a:srgbClr val="CCCDC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6894182" y="3049683"/>
            <a:ext cx="0" cy="381156"/>
          </a:xfrm>
          <a:prstGeom prst="line">
            <a:avLst/>
          </a:prstGeom>
          <a:ln>
            <a:solidFill>
              <a:srgbClr val="CCCDCD"/>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71D45600-684D-757E-E5D2-CF8C8A715837}"/>
              </a:ext>
            </a:extLst>
          </p:cNvPr>
          <p:cNvGrpSpPr/>
          <p:nvPr userDrawn="1"/>
        </p:nvGrpSpPr>
        <p:grpSpPr>
          <a:xfrm>
            <a:off x="630434" y="3306022"/>
            <a:ext cx="252113" cy="252109"/>
            <a:chOff x="3407315" y="3683685"/>
            <a:chExt cx="266808" cy="266808"/>
          </a:xfrm>
        </p:grpSpPr>
        <p:sp>
          <p:nvSpPr>
            <p:cNvPr id="24" name="Oval 23">
              <a:extLst>
                <a:ext uri="{FF2B5EF4-FFF2-40B4-BE49-F238E27FC236}">
                  <a16:creationId xmlns:a16="http://schemas.microsoft.com/office/drawing/2014/main" id="{F6DEA580-AF8B-D483-AC94-D12A8DADF30F}"/>
                </a:ext>
              </a:extLst>
            </p:cNvPr>
            <p:cNvSpPr/>
            <p:nvPr/>
          </p:nvSpPr>
          <p:spPr>
            <a:xfrm>
              <a:off x="3407315" y="3683685"/>
              <a:ext cx="266808" cy="266808"/>
            </a:xfrm>
            <a:prstGeom prst="ellipse">
              <a:avLst/>
            </a:prstGeom>
            <a:solidFill>
              <a:srgbClr val="00243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3486931" y="3763301"/>
              <a:ext cx="107577" cy="107577"/>
            </a:xfrm>
            <a:prstGeom prst="ellipse">
              <a:avLst/>
            </a:prstGeom>
            <a:solidFill>
              <a:srgbClr val="CCCDC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26" name="Group 25">
            <a:extLst>
              <a:ext uri="{FF2B5EF4-FFF2-40B4-BE49-F238E27FC236}">
                <a16:creationId xmlns:a16="http://schemas.microsoft.com/office/drawing/2014/main" id="{2ED4A908-17B3-80AC-E5A4-158ABA9071FB}"/>
              </a:ext>
            </a:extLst>
          </p:cNvPr>
          <p:cNvGrpSpPr/>
          <p:nvPr userDrawn="1"/>
        </p:nvGrpSpPr>
        <p:grpSpPr>
          <a:xfrm>
            <a:off x="2655573" y="3306022"/>
            <a:ext cx="252113" cy="252109"/>
            <a:chOff x="3407315" y="3683685"/>
            <a:chExt cx="266808" cy="266808"/>
          </a:xfrm>
        </p:grpSpPr>
        <p:sp>
          <p:nvSpPr>
            <p:cNvPr id="27" name="Oval 26">
              <a:extLst>
                <a:ext uri="{FF2B5EF4-FFF2-40B4-BE49-F238E27FC236}">
                  <a16:creationId xmlns:a16="http://schemas.microsoft.com/office/drawing/2014/main" id="{B8CD4124-22BB-212D-1A09-2D0B568A6045}"/>
                </a:ext>
              </a:extLst>
            </p:cNvPr>
            <p:cNvSpPr/>
            <p:nvPr/>
          </p:nvSpPr>
          <p:spPr>
            <a:xfrm>
              <a:off x="3407315" y="3683685"/>
              <a:ext cx="266808" cy="266808"/>
            </a:xfrm>
            <a:prstGeom prst="ellipse">
              <a:avLst/>
            </a:prstGeom>
            <a:solidFill>
              <a:srgbClr val="00243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3486931" y="3763301"/>
              <a:ext cx="107577" cy="107577"/>
            </a:xfrm>
            <a:prstGeom prst="ellipse">
              <a:avLst/>
            </a:prstGeom>
            <a:solidFill>
              <a:srgbClr val="CCCDC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29" name="Group 28">
            <a:extLst>
              <a:ext uri="{FF2B5EF4-FFF2-40B4-BE49-F238E27FC236}">
                <a16:creationId xmlns:a16="http://schemas.microsoft.com/office/drawing/2014/main" id="{B5838903-1125-66AA-FF10-15F4E7FB867B}"/>
              </a:ext>
            </a:extLst>
          </p:cNvPr>
          <p:cNvGrpSpPr/>
          <p:nvPr userDrawn="1"/>
        </p:nvGrpSpPr>
        <p:grpSpPr>
          <a:xfrm>
            <a:off x="4712849" y="3306022"/>
            <a:ext cx="252113" cy="252109"/>
            <a:chOff x="3407315" y="3683685"/>
            <a:chExt cx="266808" cy="266808"/>
          </a:xfrm>
        </p:grpSpPr>
        <p:sp>
          <p:nvSpPr>
            <p:cNvPr id="30" name="Oval 29">
              <a:extLst>
                <a:ext uri="{FF2B5EF4-FFF2-40B4-BE49-F238E27FC236}">
                  <a16:creationId xmlns:a16="http://schemas.microsoft.com/office/drawing/2014/main" id="{9448871D-B441-D299-691A-0CE2BF313387}"/>
                </a:ext>
              </a:extLst>
            </p:cNvPr>
            <p:cNvSpPr/>
            <p:nvPr/>
          </p:nvSpPr>
          <p:spPr>
            <a:xfrm>
              <a:off x="3407315" y="3683685"/>
              <a:ext cx="266808" cy="266808"/>
            </a:xfrm>
            <a:prstGeom prst="ellipse">
              <a:avLst/>
            </a:prstGeom>
            <a:solidFill>
              <a:srgbClr val="00243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3486931" y="3763301"/>
              <a:ext cx="107577" cy="107577"/>
            </a:xfrm>
            <a:prstGeom prst="ellipse">
              <a:avLst/>
            </a:prstGeom>
            <a:solidFill>
              <a:srgbClr val="CCCDC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grpSp>
        <p:nvGrpSpPr>
          <p:cNvPr id="32" name="Group 31">
            <a:extLst>
              <a:ext uri="{FF2B5EF4-FFF2-40B4-BE49-F238E27FC236}">
                <a16:creationId xmlns:a16="http://schemas.microsoft.com/office/drawing/2014/main" id="{B866D0F7-BBE8-6C3F-4AB8-B4E505F24B83}"/>
              </a:ext>
            </a:extLst>
          </p:cNvPr>
          <p:cNvGrpSpPr/>
          <p:nvPr userDrawn="1"/>
        </p:nvGrpSpPr>
        <p:grpSpPr>
          <a:xfrm>
            <a:off x="6768126" y="3306022"/>
            <a:ext cx="252113" cy="252109"/>
            <a:chOff x="3407315" y="3683685"/>
            <a:chExt cx="266808" cy="266808"/>
          </a:xfrm>
        </p:grpSpPr>
        <p:sp>
          <p:nvSpPr>
            <p:cNvPr id="33" name="Oval 32">
              <a:extLst>
                <a:ext uri="{FF2B5EF4-FFF2-40B4-BE49-F238E27FC236}">
                  <a16:creationId xmlns:a16="http://schemas.microsoft.com/office/drawing/2014/main" id="{3193325B-CA89-31CE-EB0F-9623A0CADE4F}"/>
                </a:ext>
              </a:extLst>
            </p:cNvPr>
            <p:cNvSpPr/>
            <p:nvPr/>
          </p:nvSpPr>
          <p:spPr>
            <a:xfrm>
              <a:off x="3407315" y="3683685"/>
              <a:ext cx="266808" cy="266808"/>
            </a:xfrm>
            <a:prstGeom prst="ellipse">
              <a:avLst/>
            </a:prstGeom>
            <a:solidFill>
              <a:srgbClr val="00243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3486931" y="3763301"/>
              <a:ext cx="107577" cy="107577"/>
            </a:xfrm>
            <a:prstGeom prst="ellipse">
              <a:avLst/>
            </a:prstGeom>
            <a:solidFill>
              <a:srgbClr val="CCCDCD"/>
            </a:solidFill>
            <a:ln w="9525">
              <a:solidFill>
                <a:srgbClr val="CCCD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sp>
        <p:nvSpPr>
          <p:cNvPr id="36" name="Oval 35">
            <a:extLst>
              <a:ext uri="{FF2B5EF4-FFF2-40B4-BE49-F238E27FC236}">
                <a16:creationId xmlns:a16="http://schemas.microsoft.com/office/drawing/2014/main" id="{A21B6CAA-20ED-12F7-F1E6-856B011206F0}"/>
              </a:ext>
            </a:extLst>
          </p:cNvPr>
          <p:cNvSpPr/>
          <p:nvPr/>
        </p:nvSpPr>
        <p:spPr>
          <a:xfrm>
            <a:off x="8795030" y="3306022"/>
            <a:ext cx="252113" cy="252109"/>
          </a:xfrm>
          <a:prstGeom prst="ellipse">
            <a:avLst/>
          </a:prstGeom>
          <a:solidFill>
            <a:schemeClr val="accent1"/>
          </a:solidFill>
          <a:ln w="9525">
            <a:solidFill>
              <a:srgbClr val="FF612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p:nvSpPr>
        <p:spPr>
          <a:xfrm>
            <a:off x="8870261" y="3381253"/>
            <a:ext cx="101652" cy="101650"/>
          </a:xfrm>
          <a:prstGeom prst="ellipse">
            <a:avLst/>
          </a:prstGeom>
          <a:solidFill>
            <a:srgbClr val="FF612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7" name="Text Placeholder 39">
            <a:extLst>
              <a:ext uri="{FF2B5EF4-FFF2-40B4-BE49-F238E27FC236}">
                <a16:creationId xmlns:a16="http://schemas.microsoft.com/office/drawing/2014/main" id="{3ABA6A4E-7B7A-561D-A51B-942B6B1ADFCC}"/>
              </a:ext>
            </a:extLst>
          </p:cNvPr>
          <p:cNvSpPr>
            <a:spLocks noGrp="1"/>
          </p:cNvSpPr>
          <p:nvPr>
            <p:ph type="body" sz="quarter" idx="17" hasCustomPrompt="1"/>
          </p:nvPr>
        </p:nvSpPr>
        <p:spPr>
          <a:xfrm>
            <a:off x="2798939" y="1374095"/>
            <a:ext cx="1966584" cy="1569130"/>
          </a:xfrm>
          <a:prstGeom prst="rect">
            <a:avLst/>
          </a:prstGeom>
        </p:spPr>
        <p:txBody>
          <a:bodyPr lIns="0" anchor="b" anchorCtr="0"/>
          <a:lstStyle>
            <a:lvl1pPr marL="0" indent="0">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8AD3130C-4E43-6E18-9A79-231E47F544CB}"/>
              </a:ext>
            </a:extLst>
          </p:cNvPr>
          <p:cNvSpPr>
            <a:spLocks noGrp="1"/>
          </p:cNvSpPr>
          <p:nvPr>
            <p:ph type="sldNum" sz="quarter" idx="2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5" name="Text Placeholder 39">
            <a:extLst>
              <a:ext uri="{FF2B5EF4-FFF2-40B4-BE49-F238E27FC236}">
                <a16:creationId xmlns:a16="http://schemas.microsoft.com/office/drawing/2014/main" id="{48B18935-652B-7951-4596-B9230491EB59}"/>
              </a:ext>
            </a:extLst>
          </p:cNvPr>
          <p:cNvSpPr>
            <a:spLocks noGrp="1"/>
          </p:cNvSpPr>
          <p:nvPr>
            <p:ph type="body" sz="quarter" idx="23" hasCustomPrompt="1"/>
          </p:nvPr>
        </p:nvSpPr>
        <p:spPr>
          <a:xfrm>
            <a:off x="6903677" y="1374095"/>
            <a:ext cx="1966584" cy="1569130"/>
          </a:xfrm>
          <a:prstGeom prst="rect">
            <a:avLst/>
          </a:prstGeom>
        </p:spPr>
        <p:txBody>
          <a:bodyPr lIns="0" anchor="b" anchorCtr="0"/>
          <a:lstStyle>
            <a:lvl1pPr marL="0" indent="0">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9">
            <a:extLst>
              <a:ext uri="{FF2B5EF4-FFF2-40B4-BE49-F238E27FC236}">
                <a16:creationId xmlns:a16="http://schemas.microsoft.com/office/drawing/2014/main" id="{A1286077-0E69-BF40-F978-122154DDB806}"/>
              </a:ext>
            </a:extLst>
          </p:cNvPr>
          <p:cNvSpPr>
            <a:spLocks noGrp="1"/>
          </p:cNvSpPr>
          <p:nvPr>
            <p:ph type="body" sz="quarter" idx="24" hasCustomPrompt="1"/>
          </p:nvPr>
        </p:nvSpPr>
        <p:spPr>
          <a:xfrm>
            <a:off x="756725" y="3879170"/>
            <a:ext cx="1966584" cy="1569130"/>
          </a:xfrm>
          <a:prstGeom prst="rect">
            <a:avLst/>
          </a:prstGeom>
        </p:spPr>
        <p:txBody>
          <a:bodyPr lIns="0"/>
          <a:lstStyle>
            <a:lvl1pPr marL="0" indent="0">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39">
            <a:extLst>
              <a:ext uri="{FF2B5EF4-FFF2-40B4-BE49-F238E27FC236}">
                <a16:creationId xmlns:a16="http://schemas.microsoft.com/office/drawing/2014/main" id="{AB23B2A1-950A-41E4-046D-EEF36FCA5EAC}"/>
              </a:ext>
            </a:extLst>
          </p:cNvPr>
          <p:cNvSpPr>
            <a:spLocks noGrp="1"/>
          </p:cNvSpPr>
          <p:nvPr>
            <p:ph type="body" sz="quarter" idx="25" hasCustomPrompt="1"/>
          </p:nvPr>
        </p:nvSpPr>
        <p:spPr>
          <a:xfrm>
            <a:off x="4838906" y="3879170"/>
            <a:ext cx="1966584" cy="1569130"/>
          </a:xfrm>
          <a:prstGeom prst="rect">
            <a:avLst/>
          </a:prstGeom>
        </p:spPr>
        <p:txBody>
          <a:bodyPr lIns="0"/>
          <a:lstStyle>
            <a:lvl1pPr marL="0" indent="0">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9">
            <a:extLst>
              <a:ext uri="{FF2B5EF4-FFF2-40B4-BE49-F238E27FC236}">
                <a16:creationId xmlns:a16="http://schemas.microsoft.com/office/drawing/2014/main" id="{ED170822-3C6B-C78C-90F5-C9834F7E06F2}"/>
              </a:ext>
            </a:extLst>
          </p:cNvPr>
          <p:cNvSpPr>
            <a:spLocks noGrp="1"/>
          </p:cNvSpPr>
          <p:nvPr>
            <p:ph type="body" sz="quarter" idx="26" hasCustomPrompt="1"/>
          </p:nvPr>
        </p:nvSpPr>
        <p:spPr>
          <a:xfrm>
            <a:off x="8927185" y="3879170"/>
            <a:ext cx="1966584" cy="1569130"/>
          </a:xfrm>
          <a:prstGeom prst="rect">
            <a:avLst/>
          </a:prstGeom>
        </p:spPr>
        <p:txBody>
          <a:bodyPr lIns="0"/>
          <a:lstStyle>
            <a:lvl1pPr marL="0" indent="0">
              <a:buNone/>
              <a:defRPr sz="1800" b="1" i="0" cap="all" baseline="0">
                <a:solidFill>
                  <a:srgbClr val="FF6120"/>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5">
            <a:extLst>
              <a:ext uri="{FF2B5EF4-FFF2-40B4-BE49-F238E27FC236}">
                <a16:creationId xmlns:a16="http://schemas.microsoft.com/office/drawing/2014/main" id="{E709F9AD-BC4C-316C-8B4F-AA6AF3B4668E}"/>
              </a:ext>
            </a:extLst>
          </p:cNvPr>
          <p:cNvSpPr>
            <a:spLocks noGrp="1"/>
          </p:cNvSpPr>
          <p:nvPr>
            <p:ph type="body" sz="quarter" idx="10" hasCustomPrompt="1"/>
          </p:nvPr>
        </p:nvSpPr>
        <p:spPr>
          <a:xfrm>
            <a:off x="3300870" y="262600"/>
            <a:ext cx="7745192" cy="504000"/>
          </a:xfrm>
          <a:prstGeom prst="rect">
            <a:avLst/>
          </a:prstGeom>
        </p:spPr>
        <p:txBody>
          <a:bodyPr anchor="ctr" anchorCtr="0"/>
          <a:lstStyle>
            <a:lvl1pPr marL="0" indent="0">
              <a:lnSpc>
                <a:spcPts val="1890"/>
              </a:lnSpc>
              <a:buNone/>
              <a:defRPr sz="1800" b="0">
                <a:solidFill>
                  <a:srgbClr val="CCCDCD"/>
                </a:solidFill>
                <a:latin typeface="+mn-lt"/>
                <a:cs typeface="Times New Roman" panose="02020603050405020304" pitchFamily="18" charset="0"/>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Times New Roman 20pt gray</a:t>
            </a:r>
            <a:br>
              <a:rPr lang="en-US" dirty="0"/>
            </a:br>
            <a:r>
              <a:rPr lang="en-US" dirty="0"/>
              <a:t>Long subhead here on 1-2 lines Times New Roman 20pt gray</a:t>
            </a:r>
          </a:p>
        </p:txBody>
      </p:sp>
      <p:sp>
        <p:nvSpPr>
          <p:cNvPr id="3" name="Source">
            <a:extLst>
              <a:ext uri="{FF2B5EF4-FFF2-40B4-BE49-F238E27FC236}">
                <a16:creationId xmlns:a16="http://schemas.microsoft.com/office/drawing/2014/main" id="{56E88CD4-356A-98F0-E1F3-DA2F1752CA8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9" name="Footer Placeholder 8">
            <a:extLst>
              <a:ext uri="{FF2B5EF4-FFF2-40B4-BE49-F238E27FC236}">
                <a16:creationId xmlns:a16="http://schemas.microsoft.com/office/drawing/2014/main" id="{F52EDE8F-1A88-AE38-2827-33C6D8048019}"/>
              </a:ext>
            </a:extLst>
          </p:cNvPr>
          <p:cNvSpPr>
            <a:spLocks noGrp="1"/>
          </p:cNvSpPr>
          <p:nvPr>
            <p:ph type="ftr" sz="quarter" idx="27"/>
          </p:nvPr>
        </p:nvSpPr>
        <p:spPr/>
        <p:txBody>
          <a:bodyPr/>
          <a:lstStyle>
            <a:lvl1pPr>
              <a:defRPr>
                <a:solidFill>
                  <a:schemeClr val="bg1"/>
                </a:solidFill>
              </a:defRPr>
            </a:lvl1pPr>
          </a:lstStyle>
          <a:p>
            <a:r>
              <a:rPr lang="en-GB"/>
              <a:t>Information Classification: PUBLIC</a:t>
            </a:r>
            <a:endParaRPr lang="en-GB" dirty="0"/>
          </a:p>
        </p:txBody>
      </p:sp>
      <p:pic>
        <p:nvPicPr>
          <p:cNvPr id="6" name="Picture 5">
            <a:extLst>
              <a:ext uri="{FF2B5EF4-FFF2-40B4-BE49-F238E27FC236}">
                <a16:creationId xmlns:a16="http://schemas.microsoft.com/office/drawing/2014/main" id="{1AA5E128-4E3F-DFD5-87D1-9437930CB09B}"/>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4027386859"/>
      </p:ext>
    </p:extLst>
  </p:cSld>
  <p:clrMapOvr>
    <a:masterClrMapping/>
  </p:clrMapOvr>
  <p:transition>
    <p:wip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4 - Timeline with icons - dark">
    <p:bg>
      <p:bgPr>
        <a:solidFill>
          <a:srgbClr val="00243D"/>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6" name="Rounded Rectangle 5">
            <a:extLst>
              <a:ext uri="{FF2B5EF4-FFF2-40B4-BE49-F238E27FC236}">
                <a16:creationId xmlns:a16="http://schemas.microsoft.com/office/drawing/2014/main" id="{B3FD44E3-0F1F-FA60-78E7-F90768292482}"/>
              </a:ext>
            </a:extLst>
          </p:cNvPr>
          <p:cNvSpPr/>
          <p:nvPr userDrawn="1"/>
        </p:nvSpPr>
        <p:spPr>
          <a:xfrm>
            <a:off x="576000" y="2991432"/>
            <a:ext cx="1800000" cy="320108"/>
          </a:xfrm>
          <a:prstGeom prst="roundRect">
            <a:avLst/>
          </a:prstGeom>
          <a:solidFill>
            <a:srgbClr val="2D9B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625081" y="2991432"/>
            <a:ext cx="1800000" cy="32010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674162" y="2991432"/>
            <a:ext cx="1800000" cy="32010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723243" y="2991432"/>
            <a:ext cx="1800000" cy="32010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8766460" y="2823147"/>
            <a:ext cx="2177765" cy="655550"/>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134" b="1" dirty="0">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120542" y="1439863"/>
            <a:ext cx="710916" cy="710905"/>
          </a:xfrm>
          <a:prstGeom prst="ellipse">
            <a:avLst/>
          </a:prstGeom>
          <a:solidFill>
            <a:srgbClr val="00243D"/>
          </a:solidFill>
          <a:ln w="9525">
            <a:solidFill>
              <a:srgbClr val="2D9BA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169623" y="1439863"/>
            <a:ext cx="710916" cy="710905"/>
          </a:xfrm>
          <a:prstGeom prst="ellipse">
            <a:avLst/>
          </a:prstGeom>
          <a:solidFill>
            <a:srgbClr val="00243D"/>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218704" y="1439863"/>
            <a:ext cx="710916" cy="710905"/>
          </a:xfrm>
          <a:prstGeom prst="ellipse">
            <a:avLst/>
          </a:prstGeom>
          <a:solidFill>
            <a:srgbClr val="00243D"/>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267785" y="1439863"/>
            <a:ext cx="710916" cy="710905"/>
          </a:xfrm>
          <a:prstGeom prst="ellipse">
            <a:avLst/>
          </a:prstGeom>
          <a:solidFill>
            <a:srgbClr val="00243D"/>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316866" y="1439863"/>
            <a:ext cx="710916" cy="710905"/>
          </a:xfrm>
          <a:prstGeom prst="ellipse">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6" idx="0"/>
          </p:cNvCxnSpPr>
          <p:nvPr userDrawn="1"/>
        </p:nvCxnSpPr>
        <p:spPr>
          <a:xfrm>
            <a:off x="1476000" y="2150768"/>
            <a:ext cx="0" cy="840664"/>
          </a:xfrm>
          <a:prstGeom prst="line">
            <a:avLst/>
          </a:prstGeom>
          <a:ln>
            <a:solidFill>
              <a:srgbClr val="2D9BAD"/>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a:endCxn id="7" idx="0"/>
          </p:cNvCxnSpPr>
          <p:nvPr userDrawn="1"/>
        </p:nvCxnSpPr>
        <p:spPr>
          <a:xfrm>
            <a:off x="3525081" y="2150768"/>
            <a:ext cx="0" cy="84066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p:cNvCxnSpPr>
          <p:nvPr userDrawn="1"/>
        </p:nvCxnSpPr>
        <p:spPr>
          <a:xfrm>
            <a:off x="5564487" y="2150768"/>
            <a:ext cx="19350" cy="77863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p:cNvCxnSpPr>
          <p:nvPr userDrawn="1"/>
        </p:nvCxnSpPr>
        <p:spPr>
          <a:xfrm flipH="1">
            <a:off x="7623230" y="2150769"/>
            <a:ext cx="26" cy="778633"/>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p:cNvCxnSpPr>
          <p:nvPr userDrawn="1"/>
        </p:nvCxnSpPr>
        <p:spPr>
          <a:xfrm flipH="1">
            <a:off x="9672311" y="2150769"/>
            <a:ext cx="26" cy="77863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276952" y="1593181"/>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326033" y="1593181"/>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375114" y="1593181"/>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424195" y="1593181"/>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473276" y="1593181"/>
            <a:ext cx="398097" cy="397131"/>
          </a:xfrm>
          <a:prstGeom prst="rect">
            <a:avLst/>
          </a:prstGeom>
        </p:spPr>
        <p:txBody>
          <a:bodyPr lIns="0" rIns="0" anchor="ctr" anchorCtr="0"/>
          <a:lstStyle>
            <a:lvl1pPr marL="0" indent="0" algn="ctr">
              <a:buNone/>
              <a:defRPr sz="945">
                <a:solidFill>
                  <a:schemeClr val="bg1"/>
                </a:solidFill>
                <a:latin typeface="Avenir Next LT Pro" panose="020B0504020202020204" pitchFamily="34" charset="77"/>
              </a:defRPr>
            </a:lvl1pPr>
          </a:lstStyle>
          <a:p>
            <a:r>
              <a:rPr lang="en-US" dirty="0"/>
              <a:t>WHITE</a:t>
            </a:r>
            <a:br>
              <a:rPr lang="en-US" dirty="0"/>
            </a:br>
            <a:r>
              <a:rPr lang="en-US" dirty="0"/>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576000" y="2989517"/>
            <a:ext cx="1800000" cy="331508"/>
          </a:xfrm>
          <a:prstGeom prst="rect">
            <a:avLst/>
          </a:prstGeom>
        </p:spPr>
        <p:txBody>
          <a:bodyPr lIns="72000" rIns="72000" anchor="ctr" anchorCtr="0"/>
          <a:lstStyle>
            <a:lvl1pPr marL="0" indent="0" algn="ctr">
              <a:buNone/>
              <a:defRPr sz="1600"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625081" y="2989517"/>
            <a:ext cx="1800000" cy="331508"/>
          </a:xfrm>
          <a:prstGeom prst="rect">
            <a:avLst/>
          </a:prstGeom>
        </p:spPr>
        <p:txBody>
          <a:bodyPr lIns="72000" rIns="72000" anchor="ctr" anchorCtr="0"/>
          <a:lstStyle>
            <a:lvl1pPr marL="0" indent="0" algn="ctr">
              <a:buNone/>
              <a:defRPr sz="1600"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674162" y="2989517"/>
            <a:ext cx="1800000" cy="331508"/>
          </a:xfrm>
          <a:prstGeom prst="rect">
            <a:avLst/>
          </a:prstGeom>
        </p:spPr>
        <p:txBody>
          <a:bodyPr lIns="72000" rIns="72000" anchor="ctr" anchorCtr="0"/>
          <a:lstStyle>
            <a:lvl1pPr marL="0" indent="0" algn="ctr">
              <a:buNone/>
              <a:defRPr sz="1600"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723243" y="2989517"/>
            <a:ext cx="1800000" cy="331508"/>
          </a:xfrm>
          <a:prstGeom prst="rect">
            <a:avLst/>
          </a:prstGeom>
        </p:spPr>
        <p:txBody>
          <a:bodyPr lIns="72000" rIns="72000" anchor="ctr" anchorCtr="0"/>
          <a:lstStyle>
            <a:lvl1pPr marL="0" indent="0" algn="ctr">
              <a:buNone/>
              <a:defRPr sz="1600"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8772324" y="2989517"/>
            <a:ext cx="1800000" cy="331508"/>
          </a:xfrm>
          <a:prstGeom prst="rect">
            <a:avLst/>
          </a:prstGeom>
        </p:spPr>
        <p:txBody>
          <a:bodyPr lIns="72000" rIns="72000" anchor="ctr" anchorCtr="0"/>
          <a:lstStyle>
            <a:lvl1pPr marL="0" indent="0" algn="ctr">
              <a:buNone/>
              <a:defRPr sz="1600" b="0" i="0">
                <a:solidFill>
                  <a:schemeClr val="bg1"/>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LAUNCH</a:t>
            </a:r>
          </a:p>
        </p:txBody>
      </p:sp>
      <p:sp>
        <p:nvSpPr>
          <p:cNvPr id="16" name="Slide Number Placeholder 15">
            <a:extLst>
              <a:ext uri="{FF2B5EF4-FFF2-40B4-BE49-F238E27FC236}">
                <a16:creationId xmlns:a16="http://schemas.microsoft.com/office/drawing/2014/main" id="{CA28E85A-2B44-5E4A-FC19-65A193225715}"/>
              </a:ext>
            </a:extLst>
          </p:cNvPr>
          <p:cNvSpPr>
            <a:spLocks noGrp="1"/>
          </p:cNvSpPr>
          <p:nvPr>
            <p:ph type="sldNum" sz="quarter" idx="35"/>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 name="Title 1">
            <a:extLst>
              <a:ext uri="{FF2B5EF4-FFF2-40B4-BE49-F238E27FC236}">
                <a16:creationId xmlns:a16="http://schemas.microsoft.com/office/drawing/2014/main" id="{8D7C4431-760A-0378-6C2E-862D03B1F39D}"/>
              </a:ext>
            </a:extLst>
          </p:cNvPr>
          <p:cNvSpPr>
            <a:spLocks noGrp="1"/>
          </p:cNvSpPr>
          <p:nvPr>
            <p:ph type="title" hasCustomPrompt="1"/>
          </p:nvPr>
        </p:nvSpPr>
        <p:spPr>
          <a:xfrm>
            <a:off x="576026" y="288000"/>
            <a:ext cx="2623244" cy="432000"/>
          </a:xfrm>
        </p:spPr>
        <p:txBody>
          <a:bodyPr tIns="0" rIns="0" anchor="ctr" anchorCtr="0"/>
          <a:lstStyle>
            <a:lvl1pPr>
              <a:lnSpc>
                <a:spcPct val="100000"/>
              </a:lnSpc>
              <a:defRPr sz="4400" b="0">
                <a:solidFill>
                  <a:schemeClr val="bg1"/>
                </a:solidFill>
                <a:latin typeface="Avenir Next LT Pro" panose="020B0504020202020204" pitchFamily="34" charset="77"/>
              </a:defRPr>
            </a:lvl1pPr>
          </a:lstStyle>
          <a:p>
            <a:r>
              <a:rPr lang="en-US" dirty="0"/>
              <a:t>TIMELINE</a:t>
            </a:r>
          </a:p>
        </p:txBody>
      </p:sp>
      <p:sp>
        <p:nvSpPr>
          <p:cNvPr id="10" name="Text Placeholder 39">
            <a:extLst>
              <a:ext uri="{FF2B5EF4-FFF2-40B4-BE49-F238E27FC236}">
                <a16:creationId xmlns:a16="http://schemas.microsoft.com/office/drawing/2014/main" id="{FD8855DC-3B43-D50D-9F49-48889B1B9216}"/>
              </a:ext>
            </a:extLst>
          </p:cNvPr>
          <p:cNvSpPr>
            <a:spLocks noGrp="1"/>
          </p:cNvSpPr>
          <p:nvPr>
            <p:ph type="body" sz="quarter" idx="36" hasCustomPrompt="1"/>
          </p:nvPr>
        </p:nvSpPr>
        <p:spPr>
          <a:xfrm>
            <a:off x="576000" y="3488645"/>
            <a:ext cx="1800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lgn="ctr">
              <a:buFont typeface="Arial" panose="020B0604020202020204" pitchFamily="34" charset="0"/>
              <a:buNone/>
              <a:defRPr sz="1100">
                <a:solidFill>
                  <a:schemeClr val="bg2"/>
                </a:solidFill>
              </a:defRPr>
            </a:lvl2pPr>
            <a:lvl3pPr marL="180000" indent="-180000" algn="ctr">
              <a:buFont typeface="Arial" panose="020B0604020202020204" pitchFamily="34" charset="0"/>
              <a:buChar char="•"/>
              <a:defRPr sz="1100">
                <a:solidFill>
                  <a:schemeClr val="bg2"/>
                </a:solidFill>
              </a:defRPr>
            </a:lvl3pPr>
            <a:lvl4pPr marL="360000" indent="-180000" algn="ctr">
              <a:buClrTx/>
              <a:buFont typeface="Avenir Next LT Pro" panose="020B0504020202020204" pitchFamily="34" charset="0"/>
              <a:buChar char="−"/>
              <a:defRPr sz="1100">
                <a:solidFill>
                  <a:schemeClr val="bg2"/>
                </a:solidFill>
              </a:defRPr>
            </a:lvl4pPr>
            <a:lvl5pPr marL="540000" indent="-180000" algn="ctr">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39">
            <a:extLst>
              <a:ext uri="{FF2B5EF4-FFF2-40B4-BE49-F238E27FC236}">
                <a16:creationId xmlns:a16="http://schemas.microsoft.com/office/drawing/2014/main" id="{A30243F1-B1E1-3F1D-4B6A-A6B52AC7AE3E}"/>
              </a:ext>
            </a:extLst>
          </p:cNvPr>
          <p:cNvSpPr>
            <a:spLocks noGrp="1"/>
          </p:cNvSpPr>
          <p:nvPr>
            <p:ph type="body" sz="quarter" idx="37" hasCustomPrompt="1"/>
          </p:nvPr>
        </p:nvSpPr>
        <p:spPr>
          <a:xfrm>
            <a:off x="2623615" y="3488645"/>
            <a:ext cx="1800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lgn="ctr">
              <a:buFont typeface="Arial" panose="020B0604020202020204" pitchFamily="34" charset="0"/>
              <a:buNone/>
              <a:defRPr sz="1100">
                <a:solidFill>
                  <a:schemeClr val="bg2"/>
                </a:solidFill>
              </a:defRPr>
            </a:lvl2pPr>
            <a:lvl3pPr marL="180000" indent="-180000" algn="ctr">
              <a:buFont typeface="Arial" panose="020B0604020202020204" pitchFamily="34" charset="0"/>
              <a:buChar char="•"/>
              <a:defRPr sz="1100">
                <a:solidFill>
                  <a:schemeClr val="bg2"/>
                </a:solidFill>
              </a:defRPr>
            </a:lvl3pPr>
            <a:lvl4pPr marL="360000" indent="-180000" algn="ctr">
              <a:buClrTx/>
              <a:buFont typeface="Avenir Next LT Pro" panose="020B0504020202020204" pitchFamily="34" charset="0"/>
              <a:buChar char="−"/>
              <a:defRPr sz="1100">
                <a:solidFill>
                  <a:schemeClr val="bg2"/>
                </a:solidFill>
              </a:defRPr>
            </a:lvl4pPr>
            <a:lvl5pPr marL="540000" indent="-180000" algn="ctr">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39">
            <a:extLst>
              <a:ext uri="{FF2B5EF4-FFF2-40B4-BE49-F238E27FC236}">
                <a16:creationId xmlns:a16="http://schemas.microsoft.com/office/drawing/2014/main" id="{90AF00E2-6A1D-D4DC-084C-488BD9513DEF}"/>
              </a:ext>
            </a:extLst>
          </p:cNvPr>
          <p:cNvSpPr>
            <a:spLocks noGrp="1"/>
          </p:cNvSpPr>
          <p:nvPr>
            <p:ph type="body" sz="quarter" idx="38" hasCustomPrompt="1"/>
          </p:nvPr>
        </p:nvSpPr>
        <p:spPr>
          <a:xfrm>
            <a:off x="4671230" y="3488645"/>
            <a:ext cx="1800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lgn="ctr">
              <a:buFont typeface="Arial" panose="020B0604020202020204" pitchFamily="34" charset="0"/>
              <a:buNone/>
              <a:defRPr sz="1100">
                <a:solidFill>
                  <a:schemeClr val="bg2"/>
                </a:solidFill>
              </a:defRPr>
            </a:lvl2pPr>
            <a:lvl3pPr marL="180000" indent="-180000" algn="ctr">
              <a:buFont typeface="Arial" panose="020B0604020202020204" pitchFamily="34" charset="0"/>
              <a:buChar char="•"/>
              <a:defRPr sz="1100">
                <a:solidFill>
                  <a:schemeClr val="bg2"/>
                </a:solidFill>
              </a:defRPr>
            </a:lvl3pPr>
            <a:lvl4pPr marL="360000" indent="-180000" algn="ctr">
              <a:buClrTx/>
              <a:buFont typeface="Avenir Next LT Pro" panose="020B0504020202020204" pitchFamily="34" charset="0"/>
              <a:buChar char="−"/>
              <a:defRPr sz="1100">
                <a:solidFill>
                  <a:schemeClr val="bg2"/>
                </a:solidFill>
              </a:defRPr>
            </a:lvl4pPr>
            <a:lvl5pPr marL="540000" indent="-180000" algn="ctr">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39">
            <a:extLst>
              <a:ext uri="{FF2B5EF4-FFF2-40B4-BE49-F238E27FC236}">
                <a16:creationId xmlns:a16="http://schemas.microsoft.com/office/drawing/2014/main" id="{5AAEEAAA-83AC-EE69-1401-6BCE88ED992F}"/>
              </a:ext>
            </a:extLst>
          </p:cNvPr>
          <p:cNvSpPr>
            <a:spLocks noGrp="1"/>
          </p:cNvSpPr>
          <p:nvPr>
            <p:ph type="body" sz="quarter" idx="39" hasCustomPrompt="1"/>
          </p:nvPr>
        </p:nvSpPr>
        <p:spPr>
          <a:xfrm>
            <a:off x="6718845" y="3488645"/>
            <a:ext cx="1800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lgn="ctr">
              <a:buFont typeface="Arial" panose="020B0604020202020204" pitchFamily="34" charset="0"/>
              <a:buNone/>
              <a:defRPr sz="1100">
                <a:solidFill>
                  <a:schemeClr val="bg2"/>
                </a:solidFill>
              </a:defRPr>
            </a:lvl2pPr>
            <a:lvl3pPr marL="180000" indent="-180000" algn="ctr">
              <a:buFont typeface="Arial" panose="020B0604020202020204" pitchFamily="34" charset="0"/>
              <a:buChar char="•"/>
              <a:defRPr sz="1100">
                <a:solidFill>
                  <a:schemeClr val="bg2"/>
                </a:solidFill>
              </a:defRPr>
            </a:lvl3pPr>
            <a:lvl4pPr marL="360000" indent="-180000" algn="ctr">
              <a:buClrTx/>
              <a:buFont typeface="Avenir Next LT Pro" panose="020B0504020202020204" pitchFamily="34" charset="0"/>
              <a:buChar char="−"/>
              <a:defRPr sz="1100">
                <a:solidFill>
                  <a:schemeClr val="bg2"/>
                </a:solidFill>
              </a:defRPr>
            </a:lvl4pPr>
            <a:lvl5pPr marL="540000" indent="-180000" algn="ctr">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39">
            <a:extLst>
              <a:ext uri="{FF2B5EF4-FFF2-40B4-BE49-F238E27FC236}">
                <a16:creationId xmlns:a16="http://schemas.microsoft.com/office/drawing/2014/main" id="{264ECF52-FA67-C17B-2DBD-06CCF8FD3D5D}"/>
              </a:ext>
            </a:extLst>
          </p:cNvPr>
          <p:cNvSpPr>
            <a:spLocks noGrp="1"/>
          </p:cNvSpPr>
          <p:nvPr>
            <p:ph type="body" sz="quarter" idx="40" hasCustomPrompt="1"/>
          </p:nvPr>
        </p:nvSpPr>
        <p:spPr>
          <a:xfrm>
            <a:off x="8766460" y="3488645"/>
            <a:ext cx="1800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lgn="ctr">
              <a:buFont typeface="Arial" panose="020B0604020202020204" pitchFamily="34" charset="0"/>
              <a:buNone/>
              <a:defRPr sz="1100">
                <a:solidFill>
                  <a:schemeClr val="bg2"/>
                </a:solidFill>
              </a:defRPr>
            </a:lvl2pPr>
            <a:lvl3pPr marL="180000" indent="-180000" algn="ctr">
              <a:buFont typeface="Arial" panose="020B0604020202020204" pitchFamily="34" charset="0"/>
              <a:buChar char="•"/>
              <a:defRPr sz="1100">
                <a:solidFill>
                  <a:schemeClr val="bg2"/>
                </a:solidFill>
              </a:defRPr>
            </a:lvl3pPr>
            <a:lvl4pPr marL="360000" indent="-180000" algn="ctr">
              <a:buClrTx/>
              <a:buFont typeface="Avenir Next LT Pro" panose="020B0504020202020204" pitchFamily="34" charset="0"/>
              <a:buChar char="−"/>
              <a:defRPr sz="1100">
                <a:solidFill>
                  <a:schemeClr val="bg2"/>
                </a:solidFill>
              </a:defRPr>
            </a:lvl4pPr>
            <a:lvl5pPr marL="540000" indent="-180000" algn="ctr">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15">
            <a:extLst>
              <a:ext uri="{FF2B5EF4-FFF2-40B4-BE49-F238E27FC236}">
                <a16:creationId xmlns:a16="http://schemas.microsoft.com/office/drawing/2014/main" id="{09207F9C-E54E-11B8-7B30-EC34D7C7D452}"/>
              </a:ext>
            </a:extLst>
          </p:cNvPr>
          <p:cNvSpPr>
            <a:spLocks noGrp="1"/>
          </p:cNvSpPr>
          <p:nvPr>
            <p:ph type="body" sz="quarter" idx="10" hasCustomPrompt="1"/>
          </p:nvPr>
        </p:nvSpPr>
        <p:spPr>
          <a:xfrm>
            <a:off x="3300870" y="262600"/>
            <a:ext cx="7745192" cy="504000"/>
          </a:xfrm>
          <a:prstGeom prst="rect">
            <a:avLst/>
          </a:prstGeom>
        </p:spPr>
        <p:txBody>
          <a:bodyPr anchor="ctr" anchorCtr="0"/>
          <a:lstStyle>
            <a:lvl1pPr marL="0" indent="0">
              <a:lnSpc>
                <a:spcPts val="1890"/>
              </a:lnSpc>
              <a:buNone/>
              <a:defRPr sz="1800" b="0">
                <a:solidFill>
                  <a:srgbClr val="CCCDCD"/>
                </a:solidFill>
                <a:latin typeface="+mn-lt"/>
                <a:cs typeface="Times New Roman" panose="02020603050405020304" pitchFamily="18" charset="0"/>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Times New Roman 20pt gray</a:t>
            </a:r>
            <a:br>
              <a:rPr lang="en-US" dirty="0"/>
            </a:br>
            <a:r>
              <a:rPr lang="en-US" dirty="0"/>
              <a:t>Long subhead here on 1-2 lines Times New Roman 20pt gray</a:t>
            </a:r>
          </a:p>
        </p:txBody>
      </p:sp>
      <p:sp>
        <p:nvSpPr>
          <p:cNvPr id="5" name="Source">
            <a:extLst>
              <a:ext uri="{FF2B5EF4-FFF2-40B4-BE49-F238E27FC236}">
                <a16:creationId xmlns:a16="http://schemas.microsoft.com/office/drawing/2014/main" id="{268A744A-1262-F06F-78CC-DC978B278450}"/>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B903D4EE-BF9C-4F62-E670-A33166C2321F}"/>
              </a:ext>
            </a:extLst>
          </p:cNvPr>
          <p:cNvSpPr>
            <a:spLocks noGrp="1"/>
          </p:cNvSpPr>
          <p:nvPr>
            <p:ph type="ftr" sz="quarter" idx="41"/>
          </p:nvPr>
        </p:nvSpPr>
        <p:spPr/>
        <p:txBody>
          <a:bodyPr/>
          <a:lstStyle>
            <a:lvl1pPr>
              <a:defRPr>
                <a:solidFill>
                  <a:schemeClr val="bg1"/>
                </a:solidFill>
              </a:defRPr>
            </a:lvl1pPr>
          </a:lstStyle>
          <a:p>
            <a:r>
              <a:rPr lang="en-GB"/>
              <a:t>Information Classification: PUBLIC</a:t>
            </a:r>
            <a:endParaRPr lang="en-GB" dirty="0"/>
          </a:p>
        </p:txBody>
      </p:sp>
      <p:pic>
        <p:nvPicPr>
          <p:cNvPr id="13" name="Picture 12">
            <a:extLst>
              <a:ext uri="{FF2B5EF4-FFF2-40B4-BE49-F238E27FC236}">
                <a16:creationId xmlns:a16="http://schemas.microsoft.com/office/drawing/2014/main" id="{C5B96CC4-413D-7843-7F81-9A48FE810B09}"/>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2910579560"/>
      </p:ext>
    </p:extLst>
  </p:cSld>
  <p:clrMapOvr>
    <a:masterClrMapping/>
  </p:clrMapOvr>
  <p:transition>
    <p:wip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6 - Timeline with dates - dark">
    <p:bg>
      <p:bgPr>
        <a:solidFill>
          <a:srgbClr val="00243D"/>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443935F-4D4E-FC65-38C5-8CCECF214AF7}"/>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576000" y="2171810"/>
            <a:ext cx="1872000" cy="331508"/>
          </a:xfrm>
          <a:prstGeom prst="rect">
            <a:avLst/>
          </a:prstGeom>
        </p:spPr>
        <p:txBody>
          <a:bodyPr lIns="108000" rIns="108000" anchor="b" anchorCtr="0"/>
          <a:lstStyle>
            <a:lvl1pPr marL="0" indent="0" algn="ctr">
              <a:buNone/>
              <a:defRPr sz="3024" b="1" i="0">
                <a:solidFill>
                  <a:srgbClr val="F5E02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664000" y="2171810"/>
            <a:ext cx="1872000" cy="331508"/>
          </a:xfrm>
          <a:prstGeom prst="rect">
            <a:avLst/>
          </a:prstGeom>
        </p:spPr>
        <p:txBody>
          <a:bodyPr lIns="108000" rIns="108000" anchor="b" anchorCtr="0"/>
          <a:lstStyle>
            <a:lvl1pPr marL="0" indent="0" algn="ctr">
              <a:buNone/>
              <a:defRPr sz="3024" b="1" i="0">
                <a:solidFill>
                  <a:srgbClr val="F5E02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752000" y="2171810"/>
            <a:ext cx="1872000" cy="331508"/>
          </a:xfrm>
          <a:prstGeom prst="rect">
            <a:avLst/>
          </a:prstGeom>
        </p:spPr>
        <p:txBody>
          <a:bodyPr lIns="108000" rIns="108000" anchor="b" anchorCtr="0"/>
          <a:lstStyle>
            <a:lvl1pPr marL="0" indent="0" algn="ctr">
              <a:buNone/>
              <a:defRPr sz="3024" b="1" i="0">
                <a:solidFill>
                  <a:srgbClr val="F5E02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840000" y="2171810"/>
            <a:ext cx="1872000" cy="331508"/>
          </a:xfrm>
          <a:prstGeom prst="rect">
            <a:avLst/>
          </a:prstGeom>
        </p:spPr>
        <p:txBody>
          <a:bodyPr lIns="108000" rIns="108000" anchor="b" anchorCtr="0"/>
          <a:lstStyle>
            <a:lvl1pPr marL="0" indent="0" algn="ctr">
              <a:buNone/>
              <a:defRPr sz="3024" b="1" i="0">
                <a:solidFill>
                  <a:srgbClr val="F5E02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8928000" y="2171810"/>
            <a:ext cx="1872000" cy="331508"/>
          </a:xfrm>
          <a:prstGeom prst="rect">
            <a:avLst/>
          </a:prstGeom>
        </p:spPr>
        <p:txBody>
          <a:bodyPr lIns="108000" rIns="108000" anchor="b" anchorCtr="0"/>
          <a:lstStyle>
            <a:lvl1pPr marL="0" indent="0" algn="ctr">
              <a:buNone/>
              <a:defRPr sz="3024" b="1" i="0">
                <a:solidFill>
                  <a:srgbClr val="FF6120"/>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76000" y="2616206"/>
            <a:ext cx="10368000" cy="0"/>
          </a:xfrm>
          <a:prstGeom prst="straightConnector1">
            <a:avLst/>
          </a:prstGeom>
          <a:ln>
            <a:gradFill>
              <a:gsLst>
                <a:gs pos="0">
                  <a:srgbClr val="FF6120"/>
                </a:gs>
                <a:gs pos="100000">
                  <a:srgbClr val="F5E02E"/>
                </a:gs>
              </a:gsLst>
              <a:lin ang="10800000" scaled="0"/>
            </a:gradFill>
            <a:tailEnd type="triangle"/>
          </a:ln>
        </p:spPr>
        <p:style>
          <a:lnRef idx="1">
            <a:schemeClr val="accent2"/>
          </a:lnRef>
          <a:fillRef idx="0">
            <a:schemeClr val="accent2"/>
          </a:fillRef>
          <a:effectRef idx="0">
            <a:schemeClr val="accent2"/>
          </a:effectRef>
          <a:fontRef idx="minor">
            <a:schemeClr val="tx1"/>
          </a:fontRef>
        </p:style>
      </p:cxnSp>
      <p:sp>
        <p:nvSpPr>
          <p:cNvPr id="11" name="Slide Number Placeholder 10">
            <a:extLst>
              <a:ext uri="{FF2B5EF4-FFF2-40B4-BE49-F238E27FC236}">
                <a16:creationId xmlns:a16="http://schemas.microsoft.com/office/drawing/2014/main" id="{FE5E39C7-93BE-F19E-4793-949E77BF0732}"/>
              </a:ext>
            </a:extLst>
          </p:cNvPr>
          <p:cNvSpPr>
            <a:spLocks noGrp="1"/>
          </p:cNvSpPr>
          <p:nvPr>
            <p:ph type="sldNum" sz="quarter" idx="3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 name="Title 1">
            <a:extLst>
              <a:ext uri="{FF2B5EF4-FFF2-40B4-BE49-F238E27FC236}">
                <a16:creationId xmlns:a16="http://schemas.microsoft.com/office/drawing/2014/main" id="{A7045CFC-708A-D876-8334-DCED57546963}"/>
              </a:ext>
            </a:extLst>
          </p:cNvPr>
          <p:cNvSpPr>
            <a:spLocks noGrp="1"/>
          </p:cNvSpPr>
          <p:nvPr>
            <p:ph type="title" hasCustomPrompt="1"/>
          </p:nvPr>
        </p:nvSpPr>
        <p:spPr>
          <a:xfrm>
            <a:off x="576026" y="288000"/>
            <a:ext cx="2623244" cy="432000"/>
          </a:xfrm>
        </p:spPr>
        <p:txBody>
          <a:bodyPr tIns="0" rIns="0" anchor="ctr" anchorCtr="0"/>
          <a:lstStyle>
            <a:lvl1pPr>
              <a:lnSpc>
                <a:spcPct val="100000"/>
              </a:lnSpc>
              <a:defRPr sz="4400" b="0">
                <a:solidFill>
                  <a:schemeClr val="bg1"/>
                </a:solidFill>
                <a:latin typeface="Avenir Next LT Pro" panose="020B0504020202020204" pitchFamily="34" charset="77"/>
              </a:defRPr>
            </a:lvl1pPr>
          </a:lstStyle>
          <a:p>
            <a:r>
              <a:rPr lang="en-US" dirty="0"/>
              <a:t>TIMELINE</a:t>
            </a:r>
          </a:p>
        </p:txBody>
      </p:sp>
      <p:sp>
        <p:nvSpPr>
          <p:cNvPr id="19" name="Text Placeholder 39">
            <a:extLst>
              <a:ext uri="{FF2B5EF4-FFF2-40B4-BE49-F238E27FC236}">
                <a16:creationId xmlns:a16="http://schemas.microsoft.com/office/drawing/2014/main" id="{67C05AA5-4850-692B-253A-B74518DB1AB3}"/>
              </a:ext>
            </a:extLst>
          </p:cNvPr>
          <p:cNvSpPr>
            <a:spLocks noGrp="1"/>
          </p:cNvSpPr>
          <p:nvPr>
            <p:ph type="body" sz="quarter" idx="36" hasCustomPrompt="1"/>
          </p:nvPr>
        </p:nvSpPr>
        <p:spPr>
          <a:xfrm>
            <a:off x="576000" y="2783099"/>
            <a:ext cx="1872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ClrTx/>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9">
            <a:extLst>
              <a:ext uri="{FF2B5EF4-FFF2-40B4-BE49-F238E27FC236}">
                <a16:creationId xmlns:a16="http://schemas.microsoft.com/office/drawing/2014/main" id="{18B55266-9CFC-3992-3DB0-9FDC04FA782F}"/>
              </a:ext>
            </a:extLst>
          </p:cNvPr>
          <p:cNvSpPr>
            <a:spLocks noGrp="1"/>
          </p:cNvSpPr>
          <p:nvPr>
            <p:ph type="body" sz="quarter" idx="37" hasCustomPrompt="1"/>
          </p:nvPr>
        </p:nvSpPr>
        <p:spPr>
          <a:xfrm>
            <a:off x="2664000" y="2783099"/>
            <a:ext cx="1872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ClrTx/>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9">
            <a:extLst>
              <a:ext uri="{FF2B5EF4-FFF2-40B4-BE49-F238E27FC236}">
                <a16:creationId xmlns:a16="http://schemas.microsoft.com/office/drawing/2014/main" id="{5E91A874-08CD-3AE4-4B08-80FA142DFEA5}"/>
              </a:ext>
            </a:extLst>
          </p:cNvPr>
          <p:cNvSpPr>
            <a:spLocks noGrp="1"/>
          </p:cNvSpPr>
          <p:nvPr>
            <p:ph type="body" sz="quarter" idx="38" hasCustomPrompt="1"/>
          </p:nvPr>
        </p:nvSpPr>
        <p:spPr>
          <a:xfrm>
            <a:off x="4752000" y="2783099"/>
            <a:ext cx="1872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ClrTx/>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9">
            <a:extLst>
              <a:ext uri="{FF2B5EF4-FFF2-40B4-BE49-F238E27FC236}">
                <a16:creationId xmlns:a16="http://schemas.microsoft.com/office/drawing/2014/main" id="{D8F1AE05-6AE3-76AD-B98E-3C4C76ED3D62}"/>
              </a:ext>
            </a:extLst>
          </p:cNvPr>
          <p:cNvSpPr>
            <a:spLocks noGrp="1"/>
          </p:cNvSpPr>
          <p:nvPr>
            <p:ph type="body" sz="quarter" idx="39" hasCustomPrompt="1"/>
          </p:nvPr>
        </p:nvSpPr>
        <p:spPr>
          <a:xfrm>
            <a:off x="6840000" y="2783099"/>
            <a:ext cx="1872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ClrTx/>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9">
            <a:extLst>
              <a:ext uri="{FF2B5EF4-FFF2-40B4-BE49-F238E27FC236}">
                <a16:creationId xmlns:a16="http://schemas.microsoft.com/office/drawing/2014/main" id="{E6F23F9A-7B2C-46DA-BCA3-5125DBD1F690}"/>
              </a:ext>
            </a:extLst>
          </p:cNvPr>
          <p:cNvSpPr>
            <a:spLocks noGrp="1"/>
          </p:cNvSpPr>
          <p:nvPr>
            <p:ph type="body" sz="quarter" idx="40" hasCustomPrompt="1"/>
          </p:nvPr>
        </p:nvSpPr>
        <p:spPr>
          <a:xfrm>
            <a:off x="8928000" y="2783099"/>
            <a:ext cx="1872000" cy="1569130"/>
          </a:xfrm>
          <a:prstGeom prst="rect">
            <a:avLst/>
          </a:prstGeom>
        </p:spPr>
        <p:txBody>
          <a:bodyPr lIns="0"/>
          <a:lstStyle>
            <a:lvl1pPr marL="0" indent="0" algn="ctr">
              <a:buNone/>
              <a:defRPr sz="1800" b="1" i="0" cap="all" baseline="0">
                <a:solidFill>
                  <a:schemeClr val="bg2"/>
                </a:solidFill>
                <a:latin typeface="Avenir Next LT Pro" panose="020B0504020202020204" pitchFamily="34" charset="77"/>
                <a:cs typeface="Arial Black" panose="020B0604020202020204" pitchFamily="34" charset="0"/>
              </a:defRPr>
            </a:lvl1pPr>
            <a:lvl2pPr marL="0" indent="0">
              <a:buFont typeface="Arial" panose="020B0604020202020204" pitchFamily="34" charset="0"/>
              <a:buNone/>
              <a:defRPr sz="1100">
                <a:solidFill>
                  <a:schemeClr val="bg2"/>
                </a:solidFill>
              </a:defRPr>
            </a:lvl2pPr>
            <a:lvl3pPr marL="180000" indent="-180000">
              <a:buClrTx/>
              <a:buFont typeface="Arial" panose="020B0604020202020204" pitchFamily="34" charset="0"/>
              <a:buChar char="•"/>
              <a:defRPr sz="1100">
                <a:solidFill>
                  <a:schemeClr val="bg2"/>
                </a:solidFill>
              </a:defRPr>
            </a:lvl3pPr>
            <a:lvl4pPr marL="360000" indent="-180000">
              <a:buClrTx/>
              <a:buFont typeface="Avenir Next LT Pro" panose="020B0504020202020204" pitchFamily="34" charset="0"/>
              <a:buChar char="−"/>
              <a:defRPr sz="1100">
                <a:solidFill>
                  <a:schemeClr val="bg2"/>
                </a:solidFill>
              </a:defRPr>
            </a:lvl4pPr>
            <a:lvl5pPr marL="540000" indent="-180000">
              <a:buClrTx/>
              <a:buFont typeface="Avenir Next LT Pro" panose="020B0504020202020204" pitchFamily="34" charset="0"/>
              <a:buChar char="−"/>
              <a:defRPr sz="1100">
                <a:solidFill>
                  <a:schemeClr val="bg2"/>
                </a:solidFill>
              </a:defRPr>
            </a:lvl5pPr>
          </a:lstStyle>
          <a:p>
            <a:pPr lvl="0"/>
            <a:r>
              <a:rPr lang="en-US" dirty="0"/>
              <a:t>Heade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5">
            <a:extLst>
              <a:ext uri="{FF2B5EF4-FFF2-40B4-BE49-F238E27FC236}">
                <a16:creationId xmlns:a16="http://schemas.microsoft.com/office/drawing/2014/main" id="{A75013E7-CA07-4A9B-AABC-C4DE763D6689}"/>
              </a:ext>
            </a:extLst>
          </p:cNvPr>
          <p:cNvSpPr>
            <a:spLocks noGrp="1"/>
          </p:cNvSpPr>
          <p:nvPr>
            <p:ph type="body" sz="quarter" idx="10" hasCustomPrompt="1"/>
          </p:nvPr>
        </p:nvSpPr>
        <p:spPr>
          <a:xfrm>
            <a:off x="3300870" y="262600"/>
            <a:ext cx="7745192" cy="504000"/>
          </a:xfrm>
          <a:prstGeom prst="rect">
            <a:avLst/>
          </a:prstGeom>
        </p:spPr>
        <p:txBody>
          <a:bodyPr anchor="ctr" anchorCtr="0"/>
          <a:lstStyle>
            <a:lvl1pPr marL="0" indent="0">
              <a:lnSpc>
                <a:spcPts val="1890"/>
              </a:lnSpc>
              <a:buNone/>
              <a:defRPr sz="1800" b="0">
                <a:solidFill>
                  <a:srgbClr val="CCCDCD"/>
                </a:solidFill>
                <a:latin typeface="+mn-lt"/>
                <a:cs typeface="Times New Roman" panose="02020603050405020304" pitchFamily="18" charset="0"/>
              </a:defRPr>
            </a:lvl1pPr>
            <a:lvl2pPr marL="160504" indent="0">
              <a:buNone/>
              <a:defRPr sz="1890">
                <a:solidFill>
                  <a:schemeClr val="accent6">
                    <a:lumMod val="60000"/>
                    <a:lumOff val="40000"/>
                  </a:schemeClr>
                </a:solidFill>
                <a:latin typeface="+mj-lt"/>
              </a:defRPr>
            </a:lvl2pPr>
            <a:lvl3pPr marL="325506" indent="0">
              <a:buNone/>
              <a:defRPr sz="1890">
                <a:solidFill>
                  <a:schemeClr val="accent6">
                    <a:lumMod val="60000"/>
                    <a:lumOff val="40000"/>
                  </a:schemeClr>
                </a:solidFill>
                <a:latin typeface="+mj-lt"/>
              </a:defRPr>
            </a:lvl3pPr>
            <a:lvl4pPr marL="486009" indent="0">
              <a:buNone/>
              <a:defRPr sz="1890">
                <a:solidFill>
                  <a:schemeClr val="accent6">
                    <a:lumMod val="60000"/>
                    <a:lumOff val="40000"/>
                  </a:schemeClr>
                </a:solidFill>
                <a:latin typeface="+mj-lt"/>
              </a:defRPr>
            </a:lvl4pPr>
            <a:lvl5pPr marL="651012" indent="0">
              <a:buNone/>
              <a:defRPr sz="1890">
                <a:solidFill>
                  <a:schemeClr val="accent6">
                    <a:lumMod val="60000"/>
                    <a:lumOff val="40000"/>
                  </a:schemeClr>
                </a:solidFill>
                <a:latin typeface="+mj-lt"/>
              </a:defRPr>
            </a:lvl5pPr>
          </a:lstStyle>
          <a:p>
            <a:pPr lvl="0"/>
            <a:r>
              <a:rPr lang="en-US" dirty="0"/>
              <a:t>Long subhead here on 1-2 lines Times New Roman 20pt gray</a:t>
            </a:r>
            <a:br>
              <a:rPr lang="en-US" dirty="0"/>
            </a:br>
            <a:r>
              <a:rPr lang="en-US" dirty="0"/>
              <a:t>Long subhead here on 1-2 lines Times New Roman 20pt gray</a:t>
            </a:r>
          </a:p>
        </p:txBody>
      </p:sp>
      <p:sp>
        <p:nvSpPr>
          <p:cNvPr id="10" name="Source">
            <a:extLst>
              <a:ext uri="{FF2B5EF4-FFF2-40B4-BE49-F238E27FC236}">
                <a16:creationId xmlns:a16="http://schemas.microsoft.com/office/drawing/2014/main" id="{CE352F26-318A-5300-430F-10A515CA3066}"/>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2" name="Footer Placeholder 11">
            <a:extLst>
              <a:ext uri="{FF2B5EF4-FFF2-40B4-BE49-F238E27FC236}">
                <a16:creationId xmlns:a16="http://schemas.microsoft.com/office/drawing/2014/main" id="{7105EDEF-FB2F-4E01-120E-4CCB5815B277}"/>
              </a:ext>
            </a:extLst>
          </p:cNvPr>
          <p:cNvSpPr>
            <a:spLocks noGrp="1"/>
          </p:cNvSpPr>
          <p:nvPr>
            <p:ph type="ftr" sz="quarter" idx="41"/>
          </p:nvPr>
        </p:nvSpPr>
        <p:spPr/>
        <p:txBody>
          <a:bodyPr/>
          <a:lstStyle>
            <a:lvl1pPr>
              <a:defRPr>
                <a:solidFill>
                  <a:schemeClr val="bg1"/>
                </a:solidFill>
              </a:defRPr>
            </a:lvl1pPr>
          </a:lstStyle>
          <a:p>
            <a:r>
              <a:rPr lang="en-GB"/>
              <a:t>Information Classification: PUBLIC</a:t>
            </a:r>
            <a:endParaRPr lang="en-GB" dirty="0"/>
          </a:p>
        </p:txBody>
      </p:sp>
      <p:pic>
        <p:nvPicPr>
          <p:cNvPr id="4" name="Picture 3">
            <a:extLst>
              <a:ext uri="{FF2B5EF4-FFF2-40B4-BE49-F238E27FC236}">
                <a16:creationId xmlns:a16="http://schemas.microsoft.com/office/drawing/2014/main" id="{18FDD6E8-4497-7B75-09E4-0D7443F70362}"/>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2724121755"/>
      </p:ext>
    </p:extLst>
  </p:cSld>
  <p:clrMapOvr>
    <a:masterClrMapping/>
  </p:clrMapOvr>
  <p:transition>
    <p:wip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8 - Project Slide with imag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360D73-93C8-D17E-D3BF-35EDF13DED8A}"/>
              </a:ext>
            </a:extLst>
          </p:cNvPr>
          <p:cNvSpPr/>
          <p:nvPr userDrawn="1"/>
        </p:nvSpPr>
        <p:spPr>
          <a:xfrm>
            <a:off x="0" y="3619900"/>
            <a:ext cx="11520488" cy="2266260"/>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228">
              <a:latin typeface="Avenir Next LT Pro" panose="020B0504020202020204" pitchFamily="34" charset="77"/>
            </a:endParaRPr>
          </a:p>
        </p:txBody>
      </p:sp>
      <p:sp>
        <p:nvSpPr>
          <p:cNvPr id="3" name="Rectangle 2">
            <a:extLst>
              <a:ext uri="{FF2B5EF4-FFF2-40B4-BE49-F238E27FC236}">
                <a16:creationId xmlns:a16="http://schemas.microsoft.com/office/drawing/2014/main" id="{CFF122CE-69BC-7983-945D-00AA10511197}"/>
              </a:ext>
            </a:extLst>
          </p:cNvPr>
          <p:cNvSpPr/>
          <p:nvPr userDrawn="1"/>
        </p:nvSpPr>
        <p:spPr>
          <a:xfrm>
            <a:off x="10506685" y="3619900"/>
            <a:ext cx="1013803" cy="2266260"/>
          </a:xfrm>
          <a:prstGeom prst="rect">
            <a:avLst/>
          </a:prstGeom>
          <a:pattFill prst="wdUpDiag">
            <a:fgClr>
              <a:srgbClr val="F75C8F"/>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8" name="Picture Placeholder 7">
            <a:extLst>
              <a:ext uri="{FF2B5EF4-FFF2-40B4-BE49-F238E27FC236}">
                <a16:creationId xmlns:a16="http://schemas.microsoft.com/office/drawing/2014/main" id="{FD751CF8-3DAF-B08B-6EA6-96403C9295EE}"/>
              </a:ext>
            </a:extLst>
          </p:cNvPr>
          <p:cNvSpPr>
            <a:spLocks noGrp="1"/>
          </p:cNvSpPr>
          <p:nvPr>
            <p:ph type="pic" sz="quarter" idx="10"/>
          </p:nvPr>
        </p:nvSpPr>
        <p:spPr>
          <a:xfrm>
            <a:off x="576025" y="2569571"/>
            <a:ext cx="1981524" cy="2556969"/>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12" name="Picture Placeholder 7">
            <a:extLst>
              <a:ext uri="{FF2B5EF4-FFF2-40B4-BE49-F238E27FC236}">
                <a16:creationId xmlns:a16="http://schemas.microsoft.com/office/drawing/2014/main" id="{BAF380C7-8A5A-49B2-CD1F-393FBE739E3B}"/>
              </a:ext>
            </a:extLst>
          </p:cNvPr>
          <p:cNvSpPr>
            <a:spLocks noGrp="1"/>
          </p:cNvSpPr>
          <p:nvPr>
            <p:ph type="pic" sz="quarter" idx="11"/>
          </p:nvPr>
        </p:nvSpPr>
        <p:spPr>
          <a:xfrm>
            <a:off x="2764918" y="2373725"/>
            <a:ext cx="2281596" cy="2937079"/>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14" name="Picture Placeholder 7">
            <a:extLst>
              <a:ext uri="{FF2B5EF4-FFF2-40B4-BE49-F238E27FC236}">
                <a16:creationId xmlns:a16="http://schemas.microsoft.com/office/drawing/2014/main" id="{F47128B2-6FF5-1407-CF92-BDBE467324B8}"/>
              </a:ext>
            </a:extLst>
          </p:cNvPr>
          <p:cNvSpPr>
            <a:spLocks noGrp="1"/>
          </p:cNvSpPr>
          <p:nvPr>
            <p:ph type="pic" sz="quarter" idx="12"/>
          </p:nvPr>
        </p:nvSpPr>
        <p:spPr>
          <a:xfrm>
            <a:off x="5253881" y="2569571"/>
            <a:ext cx="1981524" cy="2556969"/>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21" name="Text Placeholder 20">
            <a:extLst>
              <a:ext uri="{FF2B5EF4-FFF2-40B4-BE49-F238E27FC236}">
                <a16:creationId xmlns:a16="http://schemas.microsoft.com/office/drawing/2014/main" id="{4D499C65-3D61-4B4F-B4DA-2D272DEAD548}"/>
              </a:ext>
            </a:extLst>
          </p:cNvPr>
          <p:cNvSpPr>
            <a:spLocks noGrp="1"/>
          </p:cNvSpPr>
          <p:nvPr>
            <p:ph type="body" sz="quarter" idx="14"/>
          </p:nvPr>
        </p:nvSpPr>
        <p:spPr>
          <a:xfrm>
            <a:off x="7292148" y="2569570"/>
            <a:ext cx="3652077" cy="949717"/>
          </a:xfrm>
          <a:prstGeom prst="rect">
            <a:avLst/>
          </a:prstGeom>
        </p:spPr>
        <p:txBody>
          <a:bodyPr/>
          <a:lstStyle>
            <a:lvl1pPr marL="0" indent="0" algn="r">
              <a:buNone/>
              <a:defRPr sz="1200" b="0">
                <a:solidFill>
                  <a:schemeClr val="tx2"/>
                </a:solidFill>
                <a:latin typeface="Avenir Next LT Pro" panose="020B0504020202020204" pitchFamily="34" charset="77"/>
              </a:defRPr>
            </a:lvl1pPr>
            <a:lvl2pPr marL="160504" indent="0" algn="r">
              <a:buNone/>
              <a:defRPr/>
            </a:lvl2pPr>
            <a:lvl3pPr marL="325506" indent="0" algn="r">
              <a:buNone/>
              <a:defRPr/>
            </a:lvl3pPr>
            <a:lvl4pPr marL="486009" indent="0" algn="r">
              <a:buNone/>
              <a:defRPr/>
            </a:lvl4pPr>
            <a:lvl5pPr marL="651012" indent="0" algn="r">
              <a:buNone/>
              <a:defRPr/>
            </a:lvl5pPr>
          </a:lstStyle>
          <a:p>
            <a:pPr lvl="0"/>
            <a:r>
              <a:rPr lang="en-US" dirty="0"/>
              <a:t>Click to edit Master text styles</a:t>
            </a:r>
          </a:p>
        </p:txBody>
      </p:sp>
      <p:sp>
        <p:nvSpPr>
          <p:cNvPr id="6" name="Slide Number Placeholder 5">
            <a:extLst>
              <a:ext uri="{FF2B5EF4-FFF2-40B4-BE49-F238E27FC236}">
                <a16:creationId xmlns:a16="http://schemas.microsoft.com/office/drawing/2014/main" id="{B4719CC7-BEE2-3A83-1A75-2F1F4763C6C6}"/>
              </a:ext>
            </a:extLst>
          </p:cNvPr>
          <p:cNvSpPr>
            <a:spLocks noGrp="1"/>
          </p:cNvSpPr>
          <p:nvPr>
            <p:ph type="sldNum" sz="quarter" idx="16"/>
          </p:nvPr>
        </p:nvSpPr>
        <p:spPr/>
        <p:txBody>
          <a:bodyPr/>
          <a:lstStyle/>
          <a:p>
            <a:fld id="{0F961903-03AF-4EAC-BF2C-945F8C5557D1}" type="slidenum">
              <a:rPr lang="en-GB" smtClean="0"/>
              <a:pPr/>
              <a:t>‹#›</a:t>
            </a:fld>
            <a:endParaRPr lang="en-GB" dirty="0"/>
          </a:p>
        </p:txBody>
      </p:sp>
      <p:sp>
        <p:nvSpPr>
          <p:cNvPr id="4" name="Title 3">
            <a:extLst>
              <a:ext uri="{FF2B5EF4-FFF2-40B4-BE49-F238E27FC236}">
                <a16:creationId xmlns:a16="http://schemas.microsoft.com/office/drawing/2014/main" id="{6B30CDFF-B802-9FFC-8D4E-BFC4387481FB}"/>
              </a:ext>
            </a:extLst>
          </p:cNvPr>
          <p:cNvSpPr>
            <a:spLocks noGrp="1"/>
          </p:cNvSpPr>
          <p:nvPr>
            <p:ph type="title" hasCustomPrompt="1"/>
          </p:nvPr>
        </p:nvSpPr>
        <p:spPr/>
        <p:txBody>
          <a:bodyPr/>
          <a:lstStyle>
            <a:lvl1pPr>
              <a:defRPr sz="4800"/>
            </a:lvl1pPr>
          </a:lstStyle>
          <a:p>
            <a:pPr lvl="0"/>
            <a:r>
              <a:rPr lang="en-US" dirty="0"/>
              <a:t>PROJECT</a:t>
            </a:r>
            <a:br>
              <a:rPr lang="en-US" dirty="0"/>
            </a:br>
            <a:r>
              <a:rPr lang="en-US" dirty="0"/>
              <a:t>     SLIDE HERE</a:t>
            </a:r>
          </a:p>
        </p:txBody>
      </p:sp>
      <p:sp>
        <p:nvSpPr>
          <p:cNvPr id="7" name="Text Placeholder 7">
            <a:extLst>
              <a:ext uri="{FF2B5EF4-FFF2-40B4-BE49-F238E27FC236}">
                <a16:creationId xmlns:a16="http://schemas.microsoft.com/office/drawing/2014/main" id="{1CA2BF3C-B9C4-916C-2E86-47FDA4D483F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9" name="Source">
            <a:extLst>
              <a:ext uri="{FF2B5EF4-FFF2-40B4-BE49-F238E27FC236}">
                <a16:creationId xmlns:a16="http://schemas.microsoft.com/office/drawing/2014/main" id="{EE9C7426-E38D-9588-6455-45B6A1576321}"/>
              </a:ext>
            </a:extLst>
          </p:cNvPr>
          <p:cNvSpPr>
            <a:spLocks noGrp="1"/>
          </p:cNvSpPr>
          <p:nvPr>
            <p:ph sz="quarter" idx="19" hasCustomPrompt="1"/>
          </p:nvPr>
        </p:nvSpPr>
        <p:spPr>
          <a:xfrm>
            <a:off x="576263" y="5582329"/>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CEFD1F10-AC44-944B-74A1-C0C4741E7E59}"/>
              </a:ext>
            </a:extLst>
          </p:cNvPr>
          <p:cNvSpPr>
            <a:spLocks noGrp="1"/>
          </p:cNvSpPr>
          <p:nvPr>
            <p:ph type="ftr" sz="quarter" idx="2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544315421"/>
      </p:ext>
    </p:extLst>
  </p:cSld>
  <p:clrMapOvr>
    <a:masterClrMapping/>
  </p:clrMapOvr>
  <p:transition>
    <p:wip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9 - Creative Charting - dark">
    <p:bg>
      <p:bgPr>
        <a:solidFill>
          <a:srgbClr val="00243D"/>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8483CCA-E081-4835-AEFC-E125EDA179EB}"/>
              </a:ext>
            </a:extLst>
          </p:cNvPr>
          <p:cNvSpPr/>
          <p:nvPr userDrawn="1"/>
        </p:nvSpPr>
        <p:spPr>
          <a:xfrm>
            <a:off x="0" y="0"/>
            <a:ext cx="11520488"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9" name="Title 1">
            <a:extLst>
              <a:ext uri="{FF2B5EF4-FFF2-40B4-BE49-F238E27FC236}">
                <a16:creationId xmlns:a16="http://schemas.microsoft.com/office/drawing/2014/main" id="{4E96AAB6-8DD2-DAE1-EF41-D2967DBBFF71}"/>
              </a:ext>
            </a:extLst>
          </p:cNvPr>
          <p:cNvSpPr>
            <a:spLocks noGrp="1"/>
          </p:cNvSpPr>
          <p:nvPr>
            <p:ph type="title" hasCustomPrompt="1"/>
          </p:nvPr>
        </p:nvSpPr>
        <p:spPr>
          <a:xfrm>
            <a:off x="576026" y="576263"/>
            <a:ext cx="10368199" cy="436231"/>
          </a:xfrm>
        </p:spPr>
        <p:txBody>
          <a:bodyPr tIns="0" rIns="0" anchor="ctr" anchorCtr="0"/>
          <a:lstStyle>
            <a:lvl1pPr algn="ctr">
              <a:lnSpc>
                <a:spcPct val="100000"/>
              </a:lnSpc>
              <a:defRPr sz="3780" b="0">
                <a:solidFill>
                  <a:schemeClr val="bg1"/>
                </a:solidFill>
                <a:latin typeface="Avenir Next LT Pro" panose="020B0504020202020204" pitchFamily="34" charset="77"/>
              </a:defRPr>
            </a:lvl1pPr>
          </a:lstStyle>
          <a:p>
            <a:r>
              <a:rPr lang="en-US" dirty="0"/>
              <a:t>CREATIVE CHARTING</a:t>
            </a:r>
          </a:p>
        </p:txBody>
      </p:sp>
      <p:sp>
        <p:nvSpPr>
          <p:cNvPr id="15" name="Chart Placeholder 14">
            <a:extLst>
              <a:ext uri="{FF2B5EF4-FFF2-40B4-BE49-F238E27FC236}">
                <a16:creationId xmlns:a16="http://schemas.microsoft.com/office/drawing/2014/main" id="{9660ADA1-2F0D-B39A-7DAF-C18C2C69BA4F}"/>
              </a:ext>
            </a:extLst>
          </p:cNvPr>
          <p:cNvSpPr>
            <a:spLocks noGrp="1"/>
          </p:cNvSpPr>
          <p:nvPr>
            <p:ph type="chart" sz="quarter" idx="11" hasCustomPrompt="1"/>
          </p:nvPr>
        </p:nvSpPr>
        <p:spPr>
          <a:xfrm>
            <a:off x="576025" y="2581835"/>
            <a:ext cx="10368200" cy="3270484"/>
          </a:xfrm>
          <a:prstGeom prst="rect">
            <a:avLst/>
          </a:prstGeom>
        </p:spPr>
        <p:txBody>
          <a:bodyPr anchor="ctr" anchorCtr="0"/>
          <a:lstStyle>
            <a:lvl1pPr marL="0" indent="0" algn="ctr">
              <a:buNone/>
              <a:defRPr>
                <a:solidFill>
                  <a:schemeClr val="bg1"/>
                </a:solidFill>
                <a:latin typeface="Avenir Next LT Pro" panose="020B0504020202020204" pitchFamily="34" charset="77"/>
              </a:defRPr>
            </a:lvl1pPr>
          </a:lstStyle>
          <a:p>
            <a:r>
              <a:rPr lang="en-US" dirty="0"/>
              <a:t>Insert chart</a:t>
            </a:r>
          </a:p>
        </p:txBody>
      </p:sp>
      <p:sp>
        <p:nvSpPr>
          <p:cNvPr id="3" name="Slide Number Placeholder 2">
            <a:extLst>
              <a:ext uri="{FF2B5EF4-FFF2-40B4-BE49-F238E27FC236}">
                <a16:creationId xmlns:a16="http://schemas.microsoft.com/office/drawing/2014/main" id="{43331C16-CC0E-DA7D-32A5-47C5C470E5F4}"/>
              </a:ext>
            </a:extLst>
          </p:cNvPr>
          <p:cNvSpPr>
            <a:spLocks noGrp="1"/>
          </p:cNvSpPr>
          <p:nvPr>
            <p:ph type="sldNum" sz="quarter" idx="13"/>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6" name="Content Placeholder 3">
            <a:extLst>
              <a:ext uri="{FF2B5EF4-FFF2-40B4-BE49-F238E27FC236}">
                <a16:creationId xmlns:a16="http://schemas.microsoft.com/office/drawing/2014/main" id="{96EBA381-FF9C-3D82-D900-2C63161960B7}"/>
              </a:ext>
            </a:extLst>
          </p:cNvPr>
          <p:cNvSpPr>
            <a:spLocks noGrp="1"/>
          </p:cNvSpPr>
          <p:nvPr>
            <p:ph sz="quarter" idx="30"/>
          </p:nvPr>
        </p:nvSpPr>
        <p:spPr>
          <a:xfrm>
            <a:off x="2771928" y="1439863"/>
            <a:ext cx="5978219" cy="2402154"/>
          </a:xfrm>
        </p:spPr>
        <p:txBody>
          <a:bodyPr/>
          <a:lstStyle>
            <a:lvl1pPr algn="ctr">
              <a:spcAft>
                <a:spcPts val="1200"/>
              </a:spcAft>
              <a:defRPr>
                <a:solidFill>
                  <a:srgbClr val="FF6120"/>
                </a:solidFill>
              </a:defRPr>
            </a:lvl1pPr>
            <a:lvl2pPr algn="ctr">
              <a:defRPr>
                <a:solidFill>
                  <a:schemeClr val="bg1"/>
                </a:solidFill>
              </a:defRPr>
            </a:lvl2pPr>
            <a:lvl3pPr algn="ctr">
              <a:buClrTx/>
              <a:defRPr>
                <a:solidFill>
                  <a:schemeClr val="bg1"/>
                </a:solidFill>
              </a:defRPr>
            </a:lvl3pPr>
            <a:lvl4pPr algn="ctr">
              <a:buClr>
                <a:schemeClr val="bg1"/>
              </a:buClr>
              <a:defRPr>
                <a:solidFill>
                  <a:schemeClr val="bg1"/>
                </a:solidFill>
              </a:defRPr>
            </a:lvl4pPr>
            <a:lvl5pPr algn="ct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7">
            <a:extLst>
              <a:ext uri="{FF2B5EF4-FFF2-40B4-BE49-F238E27FC236}">
                <a16:creationId xmlns:a16="http://schemas.microsoft.com/office/drawing/2014/main" id="{553CE89F-BDFE-B7E0-35A9-57737FC8D9F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sp>
        <p:nvSpPr>
          <p:cNvPr id="8" name="Source">
            <a:extLst>
              <a:ext uri="{FF2B5EF4-FFF2-40B4-BE49-F238E27FC236}">
                <a16:creationId xmlns:a16="http://schemas.microsoft.com/office/drawing/2014/main" id="{9CB07A87-466B-9C5D-FB3B-64C23E779196}"/>
              </a:ext>
            </a:extLst>
          </p:cNvPr>
          <p:cNvSpPr>
            <a:spLocks noGrp="1"/>
          </p:cNvSpPr>
          <p:nvPr>
            <p:ph sz="quarter" idx="31"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0" name="Footer Placeholder 9">
            <a:extLst>
              <a:ext uri="{FF2B5EF4-FFF2-40B4-BE49-F238E27FC236}">
                <a16:creationId xmlns:a16="http://schemas.microsoft.com/office/drawing/2014/main" id="{C4BD0FE6-F9CD-25EC-21CA-B9B5F4BEDEC4}"/>
              </a:ext>
            </a:extLst>
          </p:cNvPr>
          <p:cNvSpPr>
            <a:spLocks noGrp="1"/>
          </p:cNvSpPr>
          <p:nvPr>
            <p:ph type="ftr" sz="quarter" idx="32"/>
          </p:nvPr>
        </p:nvSpPr>
        <p:spPr/>
        <p:txBody>
          <a:bodyPr/>
          <a:lstStyle>
            <a:lvl1pPr>
              <a:defRPr>
                <a:solidFill>
                  <a:schemeClr val="bg1"/>
                </a:solidFill>
              </a:defRPr>
            </a:lvl1pPr>
          </a:lstStyle>
          <a:p>
            <a:r>
              <a:rPr lang="en-GB"/>
              <a:t>Information Classification: PUBLIC</a:t>
            </a:r>
            <a:endParaRPr lang="en-GB" dirty="0"/>
          </a:p>
        </p:txBody>
      </p:sp>
      <p:pic>
        <p:nvPicPr>
          <p:cNvPr id="2" name="Picture 1">
            <a:extLst>
              <a:ext uri="{FF2B5EF4-FFF2-40B4-BE49-F238E27FC236}">
                <a16:creationId xmlns:a16="http://schemas.microsoft.com/office/drawing/2014/main" id="{04E394C9-296F-0507-6CAA-B36166E88B36}"/>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3216962000"/>
      </p:ext>
    </p:extLst>
  </p:cSld>
  <p:clrMapOvr>
    <a:masterClrMapping/>
  </p:clrMapOvr>
  <p:transition>
    <p:wip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0 - Creative Charting">
    <p:spTree>
      <p:nvGrpSpPr>
        <p:cNvPr id="1" name=""/>
        <p:cNvGrpSpPr/>
        <p:nvPr/>
      </p:nvGrpSpPr>
      <p:grpSpPr>
        <a:xfrm>
          <a:off x="0" y="0"/>
          <a:ext cx="0" cy="0"/>
          <a:chOff x="0" y="0"/>
          <a:chExt cx="0" cy="0"/>
        </a:xfrm>
      </p:grpSpPr>
      <p:sp>
        <p:nvSpPr>
          <p:cNvPr id="15" name="Chart Placeholder 14">
            <a:extLst>
              <a:ext uri="{FF2B5EF4-FFF2-40B4-BE49-F238E27FC236}">
                <a16:creationId xmlns:a16="http://schemas.microsoft.com/office/drawing/2014/main" id="{9660ADA1-2F0D-B39A-7DAF-C18C2C69BA4F}"/>
              </a:ext>
            </a:extLst>
          </p:cNvPr>
          <p:cNvSpPr>
            <a:spLocks noGrp="1"/>
          </p:cNvSpPr>
          <p:nvPr>
            <p:ph type="chart" sz="quarter" idx="11" hasCustomPrompt="1"/>
          </p:nvPr>
        </p:nvSpPr>
        <p:spPr>
          <a:xfrm>
            <a:off x="0" y="2599485"/>
            <a:ext cx="11520488" cy="3304428"/>
          </a:xfrm>
          <a:prstGeom prst="rect">
            <a:avLst/>
          </a:prstGeom>
          <a:noFill/>
        </p:spPr>
        <p:txBody>
          <a:bodyPr anchor="ctr" anchorCtr="0"/>
          <a:lstStyle>
            <a:lvl1pPr marL="0" indent="0" algn="ctr">
              <a:buNone/>
              <a:defRPr>
                <a:solidFill>
                  <a:schemeClr val="bg1"/>
                </a:solidFill>
                <a:latin typeface="Avenir Next LT Pro" panose="020B0504020202020204" pitchFamily="34" charset="77"/>
              </a:defRPr>
            </a:lvl1pPr>
          </a:lstStyle>
          <a:p>
            <a:r>
              <a:rPr lang="en-US" dirty="0"/>
              <a:t>Insert chart</a:t>
            </a:r>
          </a:p>
        </p:txBody>
      </p:sp>
      <p:sp>
        <p:nvSpPr>
          <p:cNvPr id="3" name="Slide Number Placeholder 2">
            <a:extLst>
              <a:ext uri="{FF2B5EF4-FFF2-40B4-BE49-F238E27FC236}">
                <a16:creationId xmlns:a16="http://schemas.microsoft.com/office/drawing/2014/main" id="{468A3829-1AB0-2AC5-AA95-FAAC56525481}"/>
              </a:ext>
            </a:extLst>
          </p:cNvPr>
          <p:cNvSpPr>
            <a:spLocks noGrp="1"/>
          </p:cNvSpPr>
          <p:nvPr>
            <p:ph type="sldNum" sz="quarter" idx="13"/>
          </p:nvPr>
        </p:nvSpPr>
        <p:spPr/>
        <p:txBody>
          <a:bodyPr/>
          <a:lstStyle/>
          <a:p>
            <a:fld id="{0F961903-03AF-4EAC-BF2C-945F8C5557D1}" type="slidenum">
              <a:rPr lang="en-GB" smtClean="0"/>
              <a:pPr/>
              <a:t>‹#›</a:t>
            </a:fld>
            <a:endParaRPr lang="en-GB" dirty="0"/>
          </a:p>
        </p:txBody>
      </p:sp>
      <p:sp>
        <p:nvSpPr>
          <p:cNvPr id="5" name="Title 1">
            <a:extLst>
              <a:ext uri="{FF2B5EF4-FFF2-40B4-BE49-F238E27FC236}">
                <a16:creationId xmlns:a16="http://schemas.microsoft.com/office/drawing/2014/main" id="{5A6BDFFB-47A3-2CED-490A-221329B8CF43}"/>
              </a:ext>
            </a:extLst>
          </p:cNvPr>
          <p:cNvSpPr>
            <a:spLocks noGrp="1"/>
          </p:cNvSpPr>
          <p:nvPr>
            <p:ph type="title" hasCustomPrompt="1"/>
          </p:nvPr>
        </p:nvSpPr>
        <p:spPr>
          <a:xfrm>
            <a:off x="576026" y="576263"/>
            <a:ext cx="10368199" cy="436231"/>
          </a:xfrm>
        </p:spPr>
        <p:txBody>
          <a:bodyPr tIns="0" rIns="0" anchor="ctr" anchorCtr="0"/>
          <a:lstStyle>
            <a:lvl1pPr algn="ctr">
              <a:lnSpc>
                <a:spcPct val="100000"/>
              </a:lnSpc>
              <a:defRPr sz="3780" b="0">
                <a:solidFill>
                  <a:schemeClr val="accent2"/>
                </a:solidFill>
                <a:latin typeface="Avenir Next LT Pro" panose="020B0504020202020204" pitchFamily="34" charset="77"/>
              </a:defRPr>
            </a:lvl1pPr>
          </a:lstStyle>
          <a:p>
            <a:r>
              <a:rPr lang="en-US" dirty="0"/>
              <a:t>CREATIVE CHARTING</a:t>
            </a:r>
          </a:p>
        </p:txBody>
      </p:sp>
      <p:sp>
        <p:nvSpPr>
          <p:cNvPr id="7" name="Content Placeholder 3">
            <a:extLst>
              <a:ext uri="{FF2B5EF4-FFF2-40B4-BE49-F238E27FC236}">
                <a16:creationId xmlns:a16="http://schemas.microsoft.com/office/drawing/2014/main" id="{4F2B77A0-601F-CFE4-D116-2452A18A1214}"/>
              </a:ext>
            </a:extLst>
          </p:cNvPr>
          <p:cNvSpPr>
            <a:spLocks noGrp="1"/>
          </p:cNvSpPr>
          <p:nvPr>
            <p:ph sz="quarter" idx="30"/>
          </p:nvPr>
        </p:nvSpPr>
        <p:spPr>
          <a:xfrm>
            <a:off x="2771928" y="1439863"/>
            <a:ext cx="5978219" cy="2402154"/>
          </a:xfrm>
        </p:spPr>
        <p:txBody>
          <a:bodyPr/>
          <a:lstStyle>
            <a:lvl1pPr algn="ctr">
              <a:spcAft>
                <a:spcPts val="1200"/>
              </a:spcAft>
              <a:defRPr>
                <a:solidFill>
                  <a:srgbClr val="FF6120"/>
                </a:solidFill>
              </a:defRPr>
            </a:lvl1pPr>
            <a:lvl2pPr algn="ctr">
              <a:defRPr>
                <a:solidFill>
                  <a:schemeClr val="tx2"/>
                </a:solidFill>
              </a:defRPr>
            </a:lvl2pPr>
            <a:lvl3pPr algn="ctr">
              <a:buClrTx/>
              <a:defRPr>
                <a:solidFill>
                  <a:schemeClr val="tx2"/>
                </a:solidFill>
              </a:defRPr>
            </a:lvl3pPr>
            <a:lvl4pPr algn="ctr">
              <a:buClrTx/>
              <a:defRPr>
                <a:solidFill>
                  <a:schemeClr val="tx2"/>
                </a:solidFill>
              </a:defRPr>
            </a:lvl4pPr>
            <a:lvl5pPr algn="ctr">
              <a:buClrTx/>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7">
            <a:extLst>
              <a:ext uri="{FF2B5EF4-FFF2-40B4-BE49-F238E27FC236}">
                <a16:creationId xmlns:a16="http://schemas.microsoft.com/office/drawing/2014/main" id="{0491AA24-596F-1E8F-E5C6-40EE61BFE9A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6" name="Source">
            <a:extLst>
              <a:ext uri="{FF2B5EF4-FFF2-40B4-BE49-F238E27FC236}">
                <a16:creationId xmlns:a16="http://schemas.microsoft.com/office/drawing/2014/main" id="{BB8F2394-1045-77B6-69E3-2F91A2809497}"/>
              </a:ext>
            </a:extLst>
          </p:cNvPr>
          <p:cNvSpPr>
            <a:spLocks noGrp="1"/>
          </p:cNvSpPr>
          <p:nvPr>
            <p:ph sz="quarter" idx="31"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8" name="Footer Placeholder 7">
            <a:extLst>
              <a:ext uri="{FF2B5EF4-FFF2-40B4-BE49-F238E27FC236}">
                <a16:creationId xmlns:a16="http://schemas.microsoft.com/office/drawing/2014/main" id="{EC8F9B9E-EA2C-98D0-EA95-A8DC86D0F78E}"/>
              </a:ext>
            </a:extLst>
          </p:cNvPr>
          <p:cNvSpPr>
            <a:spLocks noGrp="1"/>
          </p:cNvSpPr>
          <p:nvPr>
            <p:ph type="ftr" sz="quarter" idx="32"/>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735560918"/>
      </p:ext>
    </p:extLst>
  </p:cSld>
  <p:clrMapOvr>
    <a:masterClrMapping/>
  </p:clrMapOvr>
  <p:transition>
    <p:wip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2 - 3 col content with images &amp; buttons">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49240C70-61AC-78D7-2586-1C1FD501A7E8}"/>
              </a:ext>
            </a:extLst>
          </p:cNvPr>
          <p:cNvSpPr>
            <a:spLocks noGrp="1"/>
          </p:cNvSpPr>
          <p:nvPr>
            <p:ph type="body" sz="quarter" idx="22"/>
          </p:nvPr>
        </p:nvSpPr>
        <p:spPr>
          <a:xfrm>
            <a:off x="576000" y="2880000"/>
            <a:ext cx="3240000" cy="2664000"/>
          </a:xfrm>
          <a:prstGeom prst="rect">
            <a:avLst/>
          </a:prstGeom>
          <a:solidFill>
            <a:schemeClr val="bg1">
              <a:lumMod val="95000"/>
            </a:schemeClr>
          </a:solidFill>
        </p:spPr>
        <p:txBody>
          <a:bodyPr lIns="180000" tIns="180000" rIns="180000"/>
          <a:lstStyle>
            <a:lvl1pPr>
              <a:defRPr sz="1134">
                <a:solidFill>
                  <a:schemeClr val="accent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a:extLst>
              <a:ext uri="{FF2B5EF4-FFF2-40B4-BE49-F238E27FC236}">
                <a16:creationId xmlns:a16="http://schemas.microsoft.com/office/drawing/2014/main" id="{AAAD3EB8-1CA9-449C-805A-F1271527434C}"/>
              </a:ext>
            </a:extLst>
          </p:cNvPr>
          <p:cNvSpPr>
            <a:spLocks noGrp="1"/>
          </p:cNvSpPr>
          <p:nvPr>
            <p:ph type="pic" sz="quarter" idx="19"/>
          </p:nvPr>
        </p:nvSpPr>
        <p:spPr>
          <a:xfrm>
            <a:off x="576000" y="1440000"/>
            <a:ext cx="3240000" cy="1431022"/>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13" name="Picture Placeholder 11">
            <a:extLst>
              <a:ext uri="{FF2B5EF4-FFF2-40B4-BE49-F238E27FC236}">
                <a16:creationId xmlns:a16="http://schemas.microsoft.com/office/drawing/2014/main" id="{16EC1120-AA19-101B-B46D-B8660AED0793}"/>
              </a:ext>
            </a:extLst>
          </p:cNvPr>
          <p:cNvSpPr>
            <a:spLocks noGrp="1"/>
          </p:cNvSpPr>
          <p:nvPr>
            <p:ph type="pic" sz="quarter" idx="20"/>
          </p:nvPr>
        </p:nvSpPr>
        <p:spPr>
          <a:xfrm>
            <a:off x="4140000" y="1440000"/>
            <a:ext cx="3240000" cy="1431022"/>
          </a:xfrm>
          <a:prstGeom prst="rect">
            <a:avLst/>
          </a:prstGeom>
          <a:solidFill>
            <a:srgbClr val="808183"/>
          </a:solidFill>
        </p:spPr>
        <p:txBody>
          <a:bodyPr/>
          <a:lstStyle>
            <a:lvl1pPr>
              <a:defRPr>
                <a:latin typeface="Avenir Next LT Pro" panose="020B0504020202020204" pitchFamily="34" charset="77"/>
              </a:defRPr>
            </a:lvl1pPr>
          </a:lstStyle>
          <a:p>
            <a:endParaRPr lang="en-US" dirty="0"/>
          </a:p>
        </p:txBody>
      </p:sp>
      <p:sp>
        <p:nvSpPr>
          <p:cNvPr id="14" name="Picture Placeholder 11">
            <a:extLst>
              <a:ext uri="{FF2B5EF4-FFF2-40B4-BE49-F238E27FC236}">
                <a16:creationId xmlns:a16="http://schemas.microsoft.com/office/drawing/2014/main" id="{95C40ADD-15F4-6E2E-1FAE-AFEEAF603366}"/>
              </a:ext>
            </a:extLst>
          </p:cNvPr>
          <p:cNvSpPr>
            <a:spLocks noGrp="1"/>
          </p:cNvSpPr>
          <p:nvPr>
            <p:ph type="pic" sz="quarter" idx="21"/>
          </p:nvPr>
        </p:nvSpPr>
        <p:spPr>
          <a:xfrm>
            <a:off x="7704225" y="1440000"/>
            <a:ext cx="3240000" cy="1440000"/>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20" name="Text Placeholder 18">
            <a:extLst>
              <a:ext uri="{FF2B5EF4-FFF2-40B4-BE49-F238E27FC236}">
                <a16:creationId xmlns:a16="http://schemas.microsoft.com/office/drawing/2014/main" id="{48286939-3AE6-44E5-3F55-A4422239B681}"/>
              </a:ext>
            </a:extLst>
          </p:cNvPr>
          <p:cNvSpPr>
            <a:spLocks noGrp="1"/>
          </p:cNvSpPr>
          <p:nvPr>
            <p:ph type="body" sz="quarter" idx="23"/>
          </p:nvPr>
        </p:nvSpPr>
        <p:spPr>
          <a:xfrm>
            <a:off x="4140000" y="2880000"/>
            <a:ext cx="3240000" cy="2664000"/>
          </a:xfrm>
          <a:prstGeom prst="rect">
            <a:avLst/>
          </a:prstGeom>
          <a:solidFill>
            <a:schemeClr val="bg1">
              <a:lumMod val="95000"/>
            </a:schemeClr>
          </a:solidFill>
        </p:spPr>
        <p:txBody>
          <a:bodyPr lIns="180000" tIns="180000" rIns="180000"/>
          <a:lstStyle>
            <a:lvl1pPr>
              <a:defRPr sz="1134">
                <a:solidFill>
                  <a:schemeClr val="accent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a:extLst>
              <a:ext uri="{FF2B5EF4-FFF2-40B4-BE49-F238E27FC236}">
                <a16:creationId xmlns:a16="http://schemas.microsoft.com/office/drawing/2014/main" id="{846A11D5-5D19-C0D0-FA48-AD2FD6AE8406}"/>
              </a:ext>
            </a:extLst>
          </p:cNvPr>
          <p:cNvSpPr>
            <a:spLocks noGrp="1"/>
          </p:cNvSpPr>
          <p:nvPr>
            <p:ph type="body" sz="quarter" idx="24"/>
          </p:nvPr>
        </p:nvSpPr>
        <p:spPr>
          <a:xfrm>
            <a:off x="7704225" y="2880000"/>
            <a:ext cx="3240000" cy="2664000"/>
          </a:xfrm>
          <a:prstGeom prst="rect">
            <a:avLst/>
          </a:prstGeom>
          <a:solidFill>
            <a:schemeClr val="bg1">
              <a:lumMod val="95000"/>
            </a:schemeClr>
          </a:solidFill>
        </p:spPr>
        <p:txBody>
          <a:bodyPr lIns="180000" tIns="180000" rIns="180000"/>
          <a:lstStyle>
            <a:lvl1pPr>
              <a:defRPr sz="1134">
                <a:solidFill>
                  <a:schemeClr val="accent2"/>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2">
            <a:extLst>
              <a:ext uri="{FF2B5EF4-FFF2-40B4-BE49-F238E27FC236}">
                <a16:creationId xmlns:a16="http://schemas.microsoft.com/office/drawing/2014/main" id="{9FF3BDC5-D467-6C6F-1283-034363E165BA}"/>
              </a:ext>
            </a:extLst>
          </p:cNvPr>
          <p:cNvSpPr>
            <a:spLocks noGrp="1"/>
          </p:cNvSpPr>
          <p:nvPr>
            <p:ph type="body" sz="quarter" idx="25" hasCustomPrompt="1"/>
          </p:nvPr>
        </p:nvSpPr>
        <p:spPr>
          <a:xfrm>
            <a:off x="800235" y="5034082"/>
            <a:ext cx="1714420" cy="322509"/>
          </a:xfrm>
          <a:prstGeom prst="roundRect">
            <a:avLst/>
          </a:prstGeom>
          <a:solidFill>
            <a:srgbClr val="FF6120"/>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1</a:t>
            </a:r>
          </a:p>
        </p:txBody>
      </p:sp>
      <p:sp>
        <p:nvSpPr>
          <p:cNvPr id="24" name="Text Placeholder 22">
            <a:extLst>
              <a:ext uri="{FF2B5EF4-FFF2-40B4-BE49-F238E27FC236}">
                <a16:creationId xmlns:a16="http://schemas.microsoft.com/office/drawing/2014/main" id="{6FDC4718-ED78-62C9-FFF6-1D617D489356}"/>
              </a:ext>
            </a:extLst>
          </p:cNvPr>
          <p:cNvSpPr>
            <a:spLocks noGrp="1"/>
          </p:cNvSpPr>
          <p:nvPr>
            <p:ph type="body" sz="quarter" idx="26" hasCustomPrompt="1"/>
          </p:nvPr>
        </p:nvSpPr>
        <p:spPr>
          <a:xfrm>
            <a:off x="4352288" y="5034082"/>
            <a:ext cx="1714420" cy="322509"/>
          </a:xfrm>
          <a:prstGeom prst="roundRect">
            <a:avLst/>
          </a:prstGeom>
          <a:solidFill>
            <a:srgbClr val="FF6120"/>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2</a:t>
            </a:r>
          </a:p>
        </p:txBody>
      </p:sp>
      <p:sp>
        <p:nvSpPr>
          <p:cNvPr id="25" name="Text Placeholder 22">
            <a:extLst>
              <a:ext uri="{FF2B5EF4-FFF2-40B4-BE49-F238E27FC236}">
                <a16:creationId xmlns:a16="http://schemas.microsoft.com/office/drawing/2014/main" id="{89BEA157-BF96-4C48-9779-EBA8232526E2}"/>
              </a:ext>
            </a:extLst>
          </p:cNvPr>
          <p:cNvSpPr>
            <a:spLocks noGrp="1"/>
          </p:cNvSpPr>
          <p:nvPr>
            <p:ph type="body" sz="quarter" idx="27" hasCustomPrompt="1"/>
          </p:nvPr>
        </p:nvSpPr>
        <p:spPr>
          <a:xfrm>
            <a:off x="7904341" y="5034082"/>
            <a:ext cx="1714420" cy="322509"/>
          </a:xfrm>
          <a:prstGeom prst="roundRect">
            <a:avLst/>
          </a:prstGeom>
          <a:solidFill>
            <a:srgbClr val="FF6120"/>
          </a:solidFill>
        </p:spPr>
        <p:txBody>
          <a:bodyPr anchor="ctr" anchorCtr="0"/>
          <a:lstStyle>
            <a:lvl1pPr marL="0" indent="0" algn="ctr">
              <a:buNone/>
              <a:defRPr sz="1134">
                <a:solidFill>
                  <a:schemeClr val="bg1"/>
                </a:solidFill>
                <a:latin typeface="Avenir Next LT Pro" panose="020B0504020202020204" pitchFamily="34" charset="77"/>
              </a:defRPr>
            </a:lvl1pPr>
            <a:lvl2pPr marL="160504" indent="0" algn="ctr">
              <a:buNone/>
              <a:defRPr>
                <a:solidFill>
                  <a:schemeClr val="bg1"/>
                </a:solidFill>
              </a:defRPr>
            </a:lvl2pPr>
            <a:lvl3pPr marL="325506" indent="0" algn="ctr">
              <a:buNone/>
              <a:defRPr>
                <a:solidFill>
                  <a:schemeClr val="bg1"/>
                </a:solidFill>
              </a:defRPr>
            </a:lvl3pPr>
            <a:lvl4pPr marL="486009" indent="0" algn="ctr">
              <a:buNone/>
              <a:defRPr>
                <a:solidFill>
                  <a:schemeClr val="bg1"/>
                </a:solidFill>
              </a:defRPr>
            </a:lvl4pPr>
            <a:lvl5pPr marL="651012" indent="0" algn="ctr">
              <a:buNone/>
              <a:defRPr>
                <a:solidFill>
                  <a:schemeClr val="bg1"/>
                </a:solidFill>
              </a:defRPr>
            </a:lvl5pPr>
          </a:lstStyle>
          <a:p>
            <a:pPr lvl="0"/>
            <a:r>
              <a:rPr lang="en-US" dirty="0"/>
              <a:t>BUTTON 03</a:t>
            </a:r>
          </a:p>
        </p:txBody>
      </p:sp>
      <p:sp>
        <p:nvSpPr>
          <p:cNvPr id="7" name="Slide Number Placeholder 6">
            <a:extLst>
              <a:ext uri="{FF2B5EF4-FFF2-40B4-BE49-F238E27FC236}">
                <a16:creationId xmlns:a16="http://schemas.microsoft.com/office/drawing/2014/main" id="{81DF4437-4BFF-9A9B-9A27-E0E5F491C18D}"/>
              </a:ext>
            </a:extLst>
          </p:cNvPr>
          <p:cNvSpPr>
            <a:spLocks noGrp="1"/>
          </p:cNvSpPr>
          <p:nvPr>
            <p:ph type="sldNum" sz="quarter" idx="29"/>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70C35475-B1B6-CB39-A754-C3FF010669A8}"/>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7">
            <a:extLst>
              <a:ext uri="{FF2B5EF4-FFF2-40B4-BE49-F238E27FC236}">
                <a16:creationId xmlns:a16="http://schemas.microsoft.com/office/drawing/2014/main" id="{479C16C7-34D6-905A-78D2-5C66CDDE0D28}"/>
              </a:ext>
            </a:extLst>
          </p:cNvPr>
          <p:cNvSpPr>
            <a:spLocks noGrp="1"/>
          </p:cNvSpPr>
          <p:nvPr>
            <p:ph type="title"/>
          </p:nvPr>
        </p:nvSpPr>
        <p:spPr>
          <a:xfrm>
            <a:off x="576263" y="576263"/>
            <a:ext cx="10367962" cy="360000"/>
          </a:xfrm>
        </p:spPr>
        <p:txBody>
          <a:bodyPr/>
          <a:lstStyle/>
          <a:p>
            <a:r>
              <a:rPr lang="en-US"/>
              <a:t>Click to edit Master title style</a:t>
            </a:r>
            <a:endParaRPr lang="en-GB"/>
          </a:p>
        </p:txBody>
      </p:sp>
      <p:sp>
        <p:nvSpPr>
          <p:cNvPr id="2" name="Text Placeholder 7">
            <a:extLst>
              <a:ext uri="{FF2B5EF4-FFF2-40B4-BE49-F238E27FC236}">
                <a16:creationId xmlns:a16="http://schemas.microsoft.com/office/drawing/2014/main" id="{2FD58EF7-FE33-31B8-C124-EF7E1EF521E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7160A3DC-1900-4183-593B-138E28308FC9}"/>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6" name="Footer Placeholder 5">
            <a:extLst>
              <a:ext uri="{FF2B5EF4-FFF2-40B4-BE49-F238E27FC236}">
                <a16:creationId xmlns:a16="http://schemas.microsoft.com/office/drawing/2014/main" id="{5DA27B0D-FCBB-FC61-BCAF-5D8F4615C1FA}"/>
              </a:ext>
            </a:extLst>
          </p:cNvPr>
          <p:cNvSpPr>
            <a:spLocks noGrp="1"/>
          </p:cNvSpPr>
          <p:nvPr>
            <p:ph type="ftr" sz="quarter" idx="36"/>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271207958"/>
      </p:ext>
    </p:extLst>
  </p:cSld>
  <p:clrMapOvr>
    <a:masterClrMapping/>
  </p:clrMapOvr>
  <p:transition>
    <p:wipe/>
  </p:transition>
  <p:extLst>
    <p:ext uri="{DCECCB84-F9BA-43D5-87BE-67443E8EF086}">
      <p15:sldGuideLst xmlns:p15="http://schemas.microsoft.com/office/powerpoint/2012/main">
        <p15:guide id="1" pos="2404">
          <p15:clr>
            <a:srgbClr val="FBAE40"/>
          </p15:clr>
        </p15:guide>
        <p15:guide id="2" pos="2608">
          <p15:clr>
            <a:srgbClr val="FBAE40"/>
          </p15:clr>
        </p15:guide>
        <p15:guide id="3" pos="4649">
          <p15:clr>
            <a:srgbClr val="FBAE40"/>
          </p15:clr>
        </p15:guide>
        <p15:guide id="4" pos="48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 - World Map - dark">
    <p:bg>
      <p:bgPr>
        <a:solidFill>
          <a:srgbClr val="00243D"/>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F6D87-F5CE-38A2-2EBD-651365D87335}"/>
              </a:ext>
            </a:extLst>
          </p:cNvPr>
          <p:cNvSpPr/>
          <p:nvPr userDrawn="1"/>
        </p:nvSpPr>
        <p:spPr>
          <a:xfrm>
            <a:off x="1" y="0"/>
            <a:ext cx="11510517"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7428284" y="1276646"/>
            <a:ext cx="3515941" cy="580623"/>
          </a:xfrm>
        </p:spPr>
        <p:txBody>
          <a:bodyPr rIns="0" anchor="b" anchorCtr="0"/>
          <a:lstStyle>
            <a:lvl1pPr algn="r">
              <a:lnSpc>
                <a:spcPts val="4158"/>
              </a:lnSpc>
              <a:defRPr sz="4158" b="0" cap="all" baseline="0">
                <a:solidFill>
                  <a:schemeClr val="bg1"/>
                </a:solidFill>
                <a:latin typeface="+mj-lt"/>
              </a:defRPr>
            </a:lvl1pPr>
          </a:lstStyle>
          <a:p>
            <a:r>
              <a:rPr lang="en-US" dirty="0"/>
              <a:t>SHORT </a:t>
            </a:r>
            <a:br>
              <a:rPr lang="en-US" dirty="0"/>
            </a:br>
            <a:r>
              <a:rPr lang="en-US" dirty="0"/>
              <a:t>HEADLINE</a:t>
            </a:r>
          </a:p>
        </p:txBody>
      </p:sp>
      <p:sp>
        <p:nvSpPr>
          <p:cNvPr id="27" name="Slide Number Placeholder 26">
            <a:extLst>
              <a:ext uri="{FF2B5EF4-FFF2-40B4-BE49-F238E27FC236}">
                <a16:creationId xmlns:a16="http://schemas.microsoft.com/office/drawing/2014/main" id="{957F3A52-51DA-0AEB-7C54-4D67577E91BA}"/>
              </a:ext>
            </a:extLst>
          </p:cNvPr>
          <p:cNvSpPr>
            <a:spLocks noGrp="1"/>
          </p:cNvSpPr>
          <p:nvPr userDrawn="1">
            <p:ph type="sldNum" sz="quarter" idx="1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29" name="Text Placeholder 7">
            <a:extLst>
              <a:ext uri="{FF2B5EF4-FFF2-40B4-BE49-F238E27FC236}">
                <a16:creationId xmlns:a16="http://schemas.microsoft.com/office/drawing/2014/main" id="{09AEF61C-256A-2F48-CDC7-BB34C3E87443}"/>
              </a:ext>
            </a:extLst>
          </p:cNvPr>
          <p:cNvSpPr>
            <a:spLocks noGrp="1"/>
          </p:cNvSpPr>
          <p:nvPr userDrawn="1">
            <p:ph type="body" sz="quarter" idx="22"/>
          </p:nvPr>
        </p:nvSpPr>
        <p:spPr>
          <a:xfrm>
            <a:off x="7361304" y="2047469"/>
            <a:ext cx="3582921" cy="2047876"/>
          </a:xfrm>
        </p:spPr>
        <p:txBody>
          <a:bodyPr/>
          <a:lstStyle>
            <a:lvl1pPr algn="r">
              <a:defRPr>
                <a:solidFill>
                  <a:srgbClr val="FF6120"/>
                </a:solidFill>
              </a:defRPr>
            </a:lvl1pPr>
            <a:lvl2pPr algn="r">
              <a:defRPr>
                <a:solidFill>
                  <a:schemeClr val="bg1"/>
                </a:solidFill>
              </a:defRPr>
            </a:lvl2pPr>
            <a:lvl3pPr algn="r">
              <a:defRPr>
                <a:solidFill>
                  <a:schemeClr val="bg1"/>
                </a:solidFill>
              </a:defRPr>
            </a:lvl3pPr>
            <a:lvl4pPr algn="r">
              <a:buClr>
                <a:schemeClr val="bg1"/>
              </a:buClr>
              <a:defRPr>
                <a:solidFill>
                  <a:schemeClr val="bg1"/>
                </a:solidFill>
              </a:defRPr>
            </a:lvl4pPr>
            <a:lvl5pPr algn="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ext Placeholder 7">
            <a:extLst>
              <a:ext uri="{FF2B5EF4-FFF2-40B4-BE49-F238E27FC236}">
                <a16:creationId xmlns:a16="http://schemas.microsoft.com/office/drawing/2014/main" id="{8E1F10D7-88B9-33D5-C8AA-9C35995EEF6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2D9BAD"/>
                </a:solidFill>
                <a:latin typeface="Avenir Next LT Pro" panose="020B0504020202020204" pitchFamily="34" charset="77"/>
              </a:defRPr>
            </a:lvl1pPr>
          </a:lstStyle>
          <a:p>
            <a:pPr lvl="0"/>
            <a:r>
              <a:rPr lang="en-US" dirty="0"/>
              <a:t>LOB OR SECTION TITLE (ALL CAPS) – AVENIR NEXT 9PT</a:t>
            </a:r>
          </a:p>
        </p:txBody>
      </p:sp>
      <p:grpSp>
        <p:nvGrpSpPr>
          <p:cNvPr id="510" name="Group 509">
            <a:extLst>
              <a:ext uri="{FF2B5EF4-FFF2-40B4-BE49-F238E27FC236}">
                <a16:creationId xmlns:a16="http://schemas.microsoft.com/office/drawing/2014/main" id="{7DCC6DAA-DDEA-3E95-0F1D-4F79F2295713}"/>
              </a:ext>
            </a:extLst>
          </p:cNvPr>
          <p:cNvGrpSpPr/>
          <p:nvPr userDrawn="1"/>
        </p:nvGrpSpPr>
        <p:grpSpPr>
          <a:xfrm>
            <a:off x="-62471" y="1131543"/>
            <a:ext cx="8435993" cy="4594914"/>
            <a:chOff x="405196" y="330205"/>
            <a:chExt cx="11378455" cy="6197686"/>
          </a:xfrm>
          <a:solidFill>
            <a:srgbClr val="C4C5C6"/>
          </a:solidFill>
        </p:grpSpPr>
        <p:grpSp>
          <p:nvGrpSpPr>
            <p:cNvPr id="511" name="Group 205">
              <a:extLst>
                <a:ext uri="{FF2B5EF4-FFF2-40B4-BE49-F238E27FC236}">
                  <a16:creationId xmlns:a16="http://schemas.microsoft.com/office/drawing/2014/main" id="{BF0DDEDE-528A-0D44-CFDA-4F59F5D9B24D}"/>
                </a:ext>
              </a:extLst>
            </p:cNvPr>
            <p:cNvGrpSpPr>
              <a:grpSpLocks/>
            </p:cNvGrpSpPr>
            <p:nvPr userDrawn="1"/>
          </p:nvGrpSpPr>
          <p:grpSpPr bwMode="auto">
            <a:xfrm>
              <a:off x="2176455" y="418231"/>
              <a:ext cx="9565878" cy="5728817"/>
              <a:chOff x="1003" y="129"/>
              <a:chExt cx="5325" cy="3189"/>
            </a:xfrm>
            <a:grpFill/>
          </p:grpSpPr>
          <p:sp>
            <p:nvSpPr>
              <p:cNvPr id="668" name="Freeform 5">
                <a:extLst>
                  <a:ext uri="{FF2B5EF4-FFF2-40B4-BE49-F238E27FC236}">
                    <a16:creationId xmlns:a16="http://schemas.microsoft.com/office/drawing/2014/main" id="{5E5B8500-EE21-6C64-9337-CE91ECF0FD12}"/>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6">
                <a:extLst>
                  <a:ext uri="{FF2B5EF4-FFF2-40B4-BE49-F238E27FC236}">
                    <a16:creationId xmlns:a16="http://schemas.microsoft.com/office/drawing/2014/main" id="{DAB0C9A5-5897-A90F-007D-2F21367B6766}"/>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7">
                <a:extLst>
                  <a:ext uri="{FF2B5EF4-FFF2-40B4-BE49-F238E27FC236}">
                    <a16:creationId xmlns:a16="http://schemas.microsoft.com/office/drawing/2014/main" id="{26C6CD3B-635A-40DD-FF0D-8C25DC5C756D}"/>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8">
                <a:extLst>
                  <a:ext uri="{FF2B5EF4-FFF2-40B4-BE49-F238E27FC236}">
                    <a16:creationId xmlns:a16="http://schemas.microsoft.com/office/drawing/2014/main" id="{9BE6DBDD-1A3A-6A60-30D0-0E9F6308D8A5}"/>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9">
                <a:extLst>
                  <a:ext uri="{FF2B5EF4-FFF2-40B4-BE49-F238E27FC236}">
                    <a16:creationId xmlns:a16="http://schemas.microsoft.com/office/drawing/2014/main" id="{C873C5BF-65E5-FE91-CFFB-77AA42284DAB}"/>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10">
                <a:extLst>
                  <a:ext uri="{FF2B5EF4-FFF2-40B4-BE49-F238E27FC236}">
                    <a16:creationId xmlns:a16="http://schemas.microsoft.com/office/drawing/2014/main" id="{76C5200E-E85B-E764-AB26-BB2E2F88F0A5}"/>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11">
                <a:extLst>
                  <a:ext uri="{FF2B5EF4-FFF2-40B4-BE49-F238E27FC236}">
                    <a16:creationId xmlns:a16="http://schemas.microsoft.com/office/drawing/2014/main" id="{ED3B8CE1-25D8-51F2-79A5-3FC718D80413}"/>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12">
                <a:extLst>
                  <a:ext uri="{FF2B5EF4-FFF2-40B4-BE49-F238E27FC236}">
                    <a16:creationId xmlns:a16="http://schemas.microsoft.com/office/drawing/2014/main" id="{2DEF431B-8FFA-AC68-B016-6490F1732440}"/>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13">
                <a:extLst>
                  <a:ext uri="{FF2B5EF4-FFF2-40B4-BE49-F238E27FC236}">
                    <a16:creationId xmlns:a16="http://schemas.microsoft.com/office/drawing/2014/main" id="{B55E7EA6-9281-F470-7279-650B87EE4F31}"/>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14">
                <a:extLst>
                  <a:ext uri="{FF2B5EF4-FFF2-40B4-BE49-F238E27FC236}">
                    <a16:creationId xmlns:a16="http://schemas.microsoft.com/office/drawing/2014/main" id="{60438288-68A5-24D0-3E9E-B05ABE0BC3F3}"/>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15">
                <a:extLst>
                  <a:ext uri="{FF2B5EF4-FFF2-40B4-BE49-F238E27FC236}">
                    <a16:creationId xmlns:a16="http://schemas.microsoft.com/office/drawing/2014/main" id="{68667E8F-678D-B9B6-B223-511057FAB7DB}"/>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Freeform 16">
                <a:extLst>
                  <a:ext uri="{FF2B5EF4-FFF2-40B4-BE49-F238E27FC236}">
                    <a16:creationId xmlns:a16="http://schemas.microsoft.com/office/drawing/2014/main" id="{C0A94859-5A83-8522-7F7B-2A914C88AE2C}"/>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17">
                <a:extLst>
                  <a:ext uri="{FF2B5EF4-FFF2-40B4-BE49-F238E27FC236}">
                    <a16:creationId xmlns:a16="http://schemas.microsoft.com/office/drawing/2014/main" id="{461ACE34-53D9-30C2-93F8-06D65353D6CC}"/>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18">
                <a:extLst>
                  <a:ext uri="{FF2B5EF4-FFF2-40B4-BE49-F238E27FC236}">
                    <a16:creationId xmlns:a16="http://schemas.microsoft.com/office/drawing/2014/main" id="{A1EFA428-4D1D-3283-AC8F-B7ACD6E88284}"/>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19">
                <a:extLst>
                  <a:ext uri="{FF2B5EF4-FFF2-40B4-BE49-F238E27FC236}">
                    <a16:creationId xmlns:a16="http://schemas.microsoft.com/office/drawing/2014/main" id="{FDBF95E4-891B-14BB-FA7B-0FA77FB0F346}"/>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20">
                <a:extLst>
                  <a:ext uri="{FF2B5EF4-FFF2-40B4-BE49-F238E27FC236}">
                    <a16:creationId xmlns:a16="http://schemas.microsoft.com/office/drawing/2014/main" id="{84C02438-9C7A-6095-994C-1D37462840C0}"/>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21">
                <a:extLst>
                  <a:ext uri="{FF2B5EF4-FFF2-40B4-BE49-F238E27FC236}">
                    <a16:creationId xmlns:a16="http://schemas.microsoft.com/office/drawing/2014/main" id="{18F55E53-CC9C-0D6C-8ABA-C549FB57BF41}"/>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22">
                <a:extLst>
                  <a:ext uri="{FF2B5EF4-FFF2-40B4-BE49-F238E27FC236}">
                    <a16:creationId xmlns:a16="http://schemas.microsoft.com/office/drawing/2014/main" id="{4A391098-CA01-8E88-4EF6-26B0EC09D54C}"/>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23">
                <a:extLst>
                  <a:ext uri="{FF2B5EF4-FFF2-40B4-BE49-F238E27FC236}">
                    <a16:creationId xmlns:a16="http://schemas.microsoft.com/office/drawing/2014/main" id="{5DF75E8C-B9B0-4376-99C1-64CF5D84C4B4}"/>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24">
                <a:extLst>
                  <a:ext uri="{FF2B5EF4-FFF2-40B4-BE49-F238E27FC236}">
                    <a16:creationId xmlns:a16="http://schemas.microsoft.com/office/drawing/2014/main" id="{18D9D805-AE4C-91AE-269B-70E276E06E9E}"/>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25">
                <a:extLst>
                  <a:ext uri="{FF2B5EF4-FFF2-40B4-BE49-F238E27FC236}">
                    <a16:creationId xmlns:a16="http://schemas.microsoft.com/office/drawing/2014/main" id="{93B581E5-2D32-B824-6FAD-A9DD499C5597}"/>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26">
                <a:extLst>
                  <a:ext uri="{FF2B5EF4-FFF2-40B4-BE49-F238E27FC236}">
                    <a16:creationId xmlns:a16="http://schemas.microsoft.com/office/drawing/2014/main" id="{AACB3BE2-B35B-36E3-6D0E-022062E8C762}"/>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27">
                <a:extLst>
                  <a:ext uri="{FF2B5EF4-FFF2-40B4-BE49-F238E27FC236}">
                    <a16:creationId xmlns:a16="http://schemas.microsoft.com/office/drawing/2014/main" id="{1109953B-6B03-9964-97C1-C312014F69DD}"/>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28">
                <a:extLst>
                  <a:ext uri="{FF2B5EF4-FFF2-40B4-BE49-F238E27FC236}">
                    <a16:creationId xmlns:a16="http://schemas.microsoft.com/office/drawing/2014/main" id="{810A1B82-122D-715B-DB07-4364EA7FC99F}"/>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29">
                <a:extLst>
                  <a:ext uri="{FF2B5EF4-FFF2-40B4-BE49-F238E27FC236}">
                    <a16:creationId xmlns:a16="http://schemas.microsoft.com/office/drawing/2014/main" id="{EF8A9676-D1AC-4780-71D6-038F7841B0FC}"/>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30">
                <a:extLst>
                  <a:ext uri="{FF2B5EF4-FFF2-40B4-BE49-F238E27FC236}">
                    <a16:creationId xmlns:a16="http://schemas.microsoft.com/office/drawing/2014/main" id="{AD61E088-ADEE-3DF6-9F7C-45CB264CA9A6}"/>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solidFill>
                <a:srgbClr val="C4C5C6"/>
              </a:solid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31">
                <a:extLst>
                  <a:ext uri="{FF2B5EF4-FFF2-40B4-BE49-F238E27FC236}">
                    <a16:creationId xmlns:a16="http://schemas.microsoft.com/office/drawing/2014/main" id="{F32F671A-4845-6543-F140-3A168C1C2DCD}"/>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32">
                <a:extLst>
                  <a:ext uri="{FF2B5EF4-FFF2-40B4-BE49-F238E27FC236}">
                    <a16:creationId xmlns:a16="http://schemas.microsoft.com/office/drawing/2014/main" id="{6F7EFFC1-C7F0-CFAE-FA62-351806C662CD}"/>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33">
                <a:extLst>
                  <a:ext uri="{FF2B5EF4-FFF2-40B4-BE49-F238E27FC236}">
                    <a16:creationId xmlns:a16="http://schemas.microsoft.com/office/drawing/2014/main" id="{2D4EEEDD-D233-94E6-7036-45CA67B15B12}"/>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34">
                <a:extLst>
                  <a:ext uri="{FF2B5EF4-FFF2-40B4-BE49-F238E27FC236}">
                    <a16:creationId xmlns:a16="http://schemas.microsoft.com/office/drawing/2014/main" id="{84289529-9439-2B42-6E89-767DDBA5F634}"/>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35">
                <a:extLst>
                  <a:ext uri="{FF2B5EF4-FFF2-40B4-BE49-F238E27FC236}">
                    <a16:creationId xmlns:a16="http://schemas.microsoft.com/office/drawing/2014/main" id="{472237EA-D3B3-25E4-F537-ABF8CAC518DB}"/>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36">
                <a:extLst>
                  <a:ext uri="{FF2B5EF4-FFF2-40B4-BE49-F238E27FC236}">
                    <a16:creationId xmlns:a16="http://schemas.microsoft.com/office/drawing/2014/main" id="{B7E4ECB9-BF01-E6F9-C6D3-41DAA02DF103}"/>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37">
                <a:extLst>
                  <a:ext uri="{FF2B5EF4-FFF2-40B4-BE49-F238E27FC236}">
                    <a16:creationId xmlns:a16="http://schemas.microsoft.com/office/drawing/2014/main" id="{8EBD4258-2888-B246-3E7D-4B116D790216}"/>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38">
                <a:extLst>
                  <a:ext uri="{FF2B5EF4-FFF2-40B4-BE49-F238E27FC236}">
                    <a16:creationId xmlns:a16="http://schemas.microsoft.com/office/drawing/2014/main" id="{F50F92EC-3891-EF15-0789-842FD095E35F}"/>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39">
                <a:extLst>
                  <a:ext uri="{FF2B5EF4-FFF2-40B4-BE49-F238E27FC236}">
                    <a16:creationId xmlns:a16="http://schemas.microsoft.com/office/drawing/2014/main" id="{F74EA1F9-146D-C05A-81F4-3B08286D11DE}"/>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40">
                <a:extLst>
                  <a:ext uri="{FF2B5EF4-FFF2-40B4-BE49-F238E27FC236}">
                    <a16:creationId xmlns:a16="http://schemas.microsoft.com/office/drawing/2014/main" id="{534B2182-6332-BA8D-66CC-2B352B29317E}"/>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41">
                <a:extLst>
                  <a:ext uri="{FF2B5EF4-FFF2-40B4-BE49-F238E27FC236}">
                    <a16:creationId xmlns:a16="http://schemas.microsoft.com/office/drawing/2014/main" id="{0659C6AF-CBCA-56E9-1BDD-B95A84CC73BB}"/>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42">
                <a:extLst>
                  <a:ext uri="{FF2B5EF4-FFF2-40B4-BE49-F238E27FC236}">
                    <a16:creationId xmlns:a16="http://schemas.microsoft.com/office/drawing/2014/main" id="{7F47D0B9-8FDD-3355-6D4F-1121D1BED1FC}"/>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43">
                <a:extLst>
                  <a:ext uri="{FF2B5EF4-FFF2-40B4-BE49-F238E27FC236}">
                    <a16:creationId xmlns:a16="http://schemas.microsoft.com/office/drawing/2014/main" id="{E148C0E1-B5C4-1368-4851-481352868C17}"/>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44">
                <a:extLst>
                  <a:ext uri="{FF2B5EF4-FFF2-40B4-BE49-F238E27FC236}">
                    <a16:creationId xmlns:a16="http://schemas.microsoft.com/office/drawing/2014/main" id="{78B05126-BF4A-25F9-D6D4-FD453A3345C2}"/>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45">
                <a:extLst>
                  <a:ext uri="{FF2B5EF4-FFF2-40B4-BE49-F238E27FC236}">
                    <a16:creationId xmlns:a16="http://schemas.microsoft.com/office/drawing/2014/main" id="{104551E3-3A3D-6B38-558D-4901CEBE7C4C}"/>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46">
                <a:extLst>
                  <a:ext uri="{FF2B5EF4-FFF2-40B4-BE49-F238E27FC236}">
                    <a16:creationId xmlns:a16="http://schemas.microsoft.com/office/drawing/2014/main" id="{7077B1FE-231E-A947-6C42-FD19E8CB94EE}"/>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47">
                <a:extLst>
                  <a:ext uri="{FF2B5EF4-FFF2-40B4-BE49-F238E27FC236}">
                    <a16:creationId xmlns:a16="http://schemas.microsoft.com/office/drawing/2014/main" id="{CA6563E1-3ABE-402F-85C0-C0B400108680}"/>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48">
                <a:extLst>
                  <a:ext uri="{FF2B5EF4-FFF2-40B4-BE49-F238E27FC236}">
                    <a16:creationId xmlns:a16="http://schemas.microsoft.com/office/drawing/2014/main" id="{FF83D2A2-E2A3-80CF-41FB-55CDB7B87F81}"/>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49">
                <a:extLst>
                  <a:ext uri="{FF2B5EF4-FFF2-40B4-BE49-F238E27FC236}">
                    <a16:creationId xmlns:a16="http://schemas.microsoft.com/office/drawing/2014/main" id="{46100672-5C85-4B5E-AC41-79BBEA3381E1}"/>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50">
                <a:extLst>
                  <a:ext uri="{FF2B5EF4-FFF2-40B4-BE49-F238E27FC236}">
                    <a16:creationId xmlns:a16="http://schemas.microsoft.com/office/drawing/2014/main" id="{D0C5B6C9-8757-0C70-6426-80A3A84C4D7F}"/>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51">
                <a:extLst>
                  <a:ext uri="{FF2B5EF4-FFF2-40B4-BE49-F238E27FC236}">
                    <a16:creationId xmlns:a16="http://schemas.microsoft.com/office/drawing/2014/main" id="{915B32CD-8500-111C-C0A8-0360A7E46C47}"/>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52">
                <a:extLst>
                  <a:ext uri="{FF2B5EF4-FFF2-40B4-BE49-F238E27FC236}">
                    <a16:creationId xmlns:a16="http://schemas.microsoft.com/office/drawing/2014/main" id="{78162EAB-8AAE-F533-5EB9-E1F05BE06D0A}"/>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53">
                <a:extLst>
                  <a:ext uri="{FF2B5EF4-FFF2-40B4-BE49-F238E27FC236}">
                    <a16:creationId xmlns:a16="http://schemas.microsoft.com/office/drawing/2014/main" id="{3B163426-F4D3-E677-5942-15EC91291AB0}"/>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54">
                <a:extLst>
                  <a:ext uri="{FF2B5EF4-FFF2-40B4-BE49-F238E27FC236}">
                    <a16:creationId xmlns:a16="http://schemas.microsoft.com/office/drawing/2014/main" id="{C1EF6552-4F59-7698-590C-911834FF58C0}"/>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55">
                <a:extLst>
                  <a:ext uri="{FF2B5EF4-FFF2-40B4-BE49-F238E27FC236}">
                    <a16:creationId xmlns:a16="http://schemas.microsoft.com/office/drawing/2014/main" id="{A311C976-25FD-C123-6CDE-38C695BB6B49}"/>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56">
                <a:extLst>
                  <a:ext uri="{FF2B5EF4-FFF2-40B4-BE49-F238E27FC236}">
                    <a16:creationId xmlns:a16="http://schemas.microsoft.com/office/drawing/2014/main" id="{6AD8BA1B-E3B9-BAC7-2333-3266823C2A71}"/>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57">
                <a:extLst>
                  <a:ext uri="{FF2B5EF4-FFF2-40B4-BE49-F238E27FC236}">
                    <a16:creationId xmlns:a16="http://schemas.microsoft.com/office/drawing/2014/main" id="{AF06AF46-0E69-3840-739B-0E7AA5DA3406}"/>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58">
                <a:extLst>
                  <a:ext uri="{FF2B5EF4-FFF2-40B4-BE49-F238E27FC236}">
                    <a16:creationId xmlns:a16="http://schemas.microsoft.com/office/drawing/2014/main" id="{B891BC13-FB19-72A1-B0B8-610406F64AFB}"/>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59">
                <a:extLst>
                  <a:ext uri="{FF2B5EF4-FFF2-40B4-BE49-F238E27FC236}">
                    <a16:creationId xmlns:a16="http://schemas.microsoft.com/office/drawing/2014/main" id="{235CEAF8-AD71-E96B-0124-01050A13E9ED}"/>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60">
                <a:extLst>
                  <a:ext uri="{FF2B5EF4-FFF2-40B4-BE49-F238E27FC236}">
                    <a16:creationId xmlns:a16="http://schemas.microsoft.com/office/drawing/2014/main" id="{A30E42FD-D9C0-4423-D2FC-8014EE4F94E8}"/>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61">
                <a:extLst>
                  <a:ext uri="{FF2B5EF4-FFF2-40B4-BE49-F238E27FC236}">
                    <a16:creationId xmlns:a16="http://schemas.microsoft.com/office/drawing/2014/main" id="{69E21A22-02EB-28B6-2D84-4C6D4EADE90B}"/>
                  </a:ext>
                </a:extLst>
              </p:cNvPr>
              <p:cNvSpPr>
                <a:spLocks/>
              </p:cNvSpPr>
              <p:nvPr userDrawn="1"/>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62">
                <a:extLst>
                  <a:ext uri="{FF2B5EF4-FFF2-40B4-BE49-F238E27FC236}">
                    <a16:creationId xmlns:a16="http://schemas.microsoft.com/office/drawing/2014/main" id="{90BA60AD-0EEA-ED1C-3E01-6FFD471AC093}"/>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63">
                <a:extLst>
                  <a:ext uri="{FF2B5EF4-FFF2-40B4-BE49-F238E27FC236}">
                    <a16:creationId xmlns:a16="http://schemas.microsoft.com/office/drawing/2014/main" id="{9B954A22-820A-B35E-7DE3-4BC0E76AB336}"/>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64">
                <a:extLst>
                  <a:ext uri="{FF2B5EF4-FFF2-40B4-BE49-F238E27FC236}">
                    <a16:creationId xmlns:a16="http://schemas.microsoft.com/office/drawing/2014/main" id="{BC18154C-2E3D-CA4B-5B39-D80A787589BF}"/>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65">
                <a:extLst>
                  <a:ext uri="{FF2B5EF4-FFF2-40B4-BE49-F238E27FC236}">
                    <a16:creationId xmlns:a16="http://schemas.microsoft.com/office/drawing/2014/main" id="{A5BD8564-C7C8-9621-DE60-F07592F0B571}"/>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66">
                <a:extLst>
                  <a:ext uri="{FF2B5EF4-FFF2-40B4-BE49-F238E27FC236}">
                    <a16:creationId xmlns:a16="http://schemas.microsoft.com/office/drawing/2014/main" id="{50E618E4-35CD-0376-7073-9CA6AF9B74A3}"/>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67">
                <a:extLst>
                  <a:ext uri="{FF2B5EF4-FFF2-40B4-BE49-F238E27FC236}">
                    <a16:creationId xmlns:a16="http://schemas.microsoft.com/office/drawing/2014/main" id="{7B90511D-807F-30C4-7265-A66CA029676E}"/>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68">
                <a:extLst>
                  <a:ext uri="{FF2B5EF4-FFF2-40B4-BE49-F238E27FC236}">
                    <a16:creationId xmlns:a16="http://schemas.microsoft.com/office/drawing/2014/main" id="{35FCB37F-E08A-BD97-559C-926266DE5A49}"/>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69">
                <a:extLst>
                  <a:ext uri="{FF2B5EF4-FFF2-40B4-BE49-F238E27FC236}">
                    <a16:creationId xmlns:a16="http://schemas.microsoft.com/office/drawing/2014/main" id="{1618566C-C294-4ECC-5E1F-46715BBA6B7C}"/>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70">
                <a:extLst>
                  <a:ext uri="{FF2B5EF4-FFF2-40B4-BE49-F238E27FC236}">
                    <a16:creationId xmlns:a16="http://schemas.microsoft.com/office/drawing/2014/main" id="{4BD5BD27-A499-C83E-B56E-1E6BAF7BED8F}"/>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71">
                <a:extLst>
                  <a:ext uri="{FF2B5EF4-FFF2-40B4-BE49-F238E27FC236}">
                    <a16:creationId xmlns:a16="http://schemas.microsoft.com/office/drawing/2014/main" id="{0F194C32-E478-8809-73B2-52CB629301BE}"/>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72">
                <a:extLst>
                  <a:ext uri="{FF2B5EF4-FFF2-40B4-BE49-F238E27FC236}">
                    <a16:creationId xmlns:a16="http://schemas.microsoft.com/office/drawing/2014/main" id="{042D341B-7B98-E5DB-DA10-7E3993192182}"/>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73">
                <a:extLst>
                  <a:ext uri="{FF2B5EF4-FFF2-40B4-BE49-F238E27FC236}">
                    <a16:creationId xmlns:a16="http://schemas.microsoft.com/office/drawing/2014/main" id="{EF720CF5-CE76-32A0-FA52-01699A33EB28}"/>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74">
                <a:extLst>
                  <a:ext uri="{FF2B5EF4-FFF2-40B4-BE49-F238E27FC236}">
                    <a16:creationId xmlns:a16="http://schemas.microsoft.com/office/drawing/2014/main" id="{097B6F8B-866B-6FE4-0FF7-9AA4153F8443}"/>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Freeform 75">
                <a:extLst>
                  <a:ext uri="{FF2B5EF4-FFF2-40B4-BE49-F238E27FC236}">
                    <a16:creationId xmlns:a16="http://schemas.microsoft.com/office/drawing/2014/main" id="{401E4403-7B0F-D0D0-1254-8757155DD809}"/>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76">
                <a:extLst>
                  <a:ext uri="{FF2B5EF4-FFF2-40B4-BE49-F238E27FC236}">
                    <a16:creationId xmlns:a16="http://schemas.microsoft.com/office/drawing/2014/main" id="{2165C672-8DF5-14A3-7A35-96F9356BEB59}"/>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77">
                <a:extLst>
                  <a:ext uri="{FF2B5EF4-FFF2-40B4-BE49-F238E27FC236}">
                    <a16:creationId xmlns:a16="http://schemas.microsoft.com/office/drawing/2014/main" id="{5183DDC6-29E1-1A0E-75B0-919636978DA6}"/>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78">
                <a:extLst>
                  <a:ext uri="{FF2B5EF4-FFF2-40B4-BE49-F238E27FC236}">
                    <a16:creationId xmlns:a16="http://schemas.microsoft.com/office/drawing/2014/main" id="{A2286208-B8EA-FBF1-22FD-F9FDB638B4FE}"/>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Freeform 79">
                <a:extLst>
                  <a:ext uri="{FF2B5EF4-FFF2-40B4-BE49-F238E27FC236}">
                    <a16:creationId xmlns:a16="http://schemas.microsoft.com/office/drawing/2014/main" id="{F6E387F9-1E22-408B-A76B-7D63BA317B47}"/>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80">
                <a:extLst>
                  <a:ext uri="{FF2B5EF4-FFF2-40B4-BE49-F238E27FC236}">
                    <a16:creationId xmlns:a16="http://schemas.microsoft.com/office/drawing/2014/main" id="{4EFF318A-47B6-BAFB-0C5F-DB705781B9C5}"/>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Freeform 81">
                <a:extLst>
                  <a:ext uri="{FF2B5EF4-FFF2-40B4-BE49-F238E27FC236}">
                    <a16:creationId xmlns:a16="http://schemas.microsoft.com/office/drawing/2014/main" id="{44CA7840-1797-1DC3-953A-D5EF6CA6069B}"/>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82">
                <a:extLst>
                  <a:ext uri="{FF2B5EF4-FFF2-40B4-BE49-F238E27FC236}">
                    <a16:creationId xmlns:a16="http://schemas.microsoft.com/office/drawing/2014/main" id="{31A65149-FD95-2C75-6093-8362BB43BFC6}"/>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Freeform 83">
                <a:extLst>
                  <a:ext uri="{FF2B5EF4-FFF2-40B4-BE49-F238E27FC236}">
                    <a16:creationId xmlns:a16="http://schemas.microsoft.com/office/drawing/2014/main" id="{8A6B58CD-5B61-120E-20AC-0DE77EE4017E}"/>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84">
                <a:extLst>
                  <a:ext uri="{FF2B5EF4-FFF2-40B4-BE49-F238E27FC236}">
                    <a16:creationId xmlns:a16="http://schemas.microsoft.com/office/drawing/2014/main" id="{2F0B6466-3DEC-7FDC-D320-75964AF57CD4}"/>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85">
                <a:extLst>
                  <a:ext uri="{FF2B5EF4-FFF2-40B4-BE49-F238E27FC236}">
                    <a16:creationId xmlns:a16="http://schemas.microsoft.com/office/drawing/2014/main" id="{8D4EB2FE-F570-9797-8585-C040A6EEEA19}"/>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Freeform 86">
                <a:extLst>
                  <a:ext uri="{FF2B5EF4-FFF2-40B4-BE49-F238E27FC236}">
                    <a16:creationId xmlns:a16="http://schemas.microsoft.com/office/drawing/2014/main" id="{743D79E8-9873-208B-379F-9BA37ABC9741}"/>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0" name="Freeform 87">
                <a:extLst>
                  <a:ext uri="{FF2B5EF4-FFF2-40B4-BE49-F238E27FC236}">
                    <a16:creationId xmlns:a16="http://schemas.microsoft.com/office/drawing/2014/main" id="{EF76506B-5302-56AB-CA5B-5BDF1F8D4DAE}"/>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88">
                <a:extLst>
                  <a:ext uri="{FF2B5EF4-FFF2-40B4-BE49-F238E27FC236}">
                    <a16:creationId xmlns:a16="http://schemas.microsoft.com/office/drawing/2014/main" id="{2E1B7A54-EC38-4C15-71BF-6EB0E985AC7B}"/>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89">
                <a:extLst>
                  <a:ext uri="{FF2B5EF4-FFF2-40B4-BE49-F238E27FC236}">
                    <a16:creationId xmlns:a16="http://schemas.microsoft.com/office/drawing/2014/main" id="{0E05E0E8-82AA-3C34-0DBE-E35D69D2D917}"/>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90">
                <a:extLst>
                  <a:ext uri="{FF2B5EF4-FFF2-40B4-BE49-F238E27FC236}">
                    <a16:creationId xmlns:a16="http://schemas.microsoft.com/office/drawing/2014/main" id="{959DA491-D2A2-B209-4DD8-5B184D501CD6}"/>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91">
                <a:extLst>
                  <a:ext uri="{FF2B5EF4-FFF2-40B4-BE49-F238E27FC236}">
                    <a16:creationId xmlns:a16="http://schemas.microsoft.com/office/drawing/2014/main" id="{73E34E6D-45DD-6F7E-A663-BD61C65C9C24}"/>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5" name="Freeform 92">
                <a:extLst>
                  <a:ext uri="{FF2B5EF4-FFF2-40B4-BE49-F238E27FC236}">
                    <a16:creationId xmlns:a16="http://schemas.microsoft.com/office/drawing/2014/main" id="{AB36A40E-C8B0-217D-8CD7-5DBCE3BF864B}"/>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93">
                <a:extLst>
                  <a:ext uri="{FF2B5EF4-FFF2-40B4-BE49-F238E27FC236}">
                    <a16:creationId xmlns:a16="http://schemas.microsoft.com/office/drawing/2014/main" id="{AC481CB1-2139-7D9E-CA5D-82D3460A36BD}"/>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94">
                <a:extLst>
                  <a:ext uri="{FF2B5EF4-FFF2-40B4-BE49-F238E27FC236}">
                    <a16:creationId xmlns:a16="http://schemas.microsoft.com/office/drawing/2014/main" id="{3BF2684C-E8EA-9599-AFD2-2D6E751BAFD5}"/>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95">
                <a:extLst>
                  <a:ext uri="{FF2B5EF4-FFF2-40B4-BE49-F238E27FC236}">
                    <a16:creationId xmlns:a16="http://schemas.microsoft.com/office/drawing/2014/main" id="{5692E6D9-1D92-504A-E4E2-CF67E30F1621}"/>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96">
                <a:extLst>
                  <a:ext uri="{FF2B5EF4-FFF2-40B4-BE49-F238E27FC236}">
                    <a16:creationId xmlns:a16="http://schemas.microsoft.com/office/drawing/2014/main" id="{AC3444F8-EEA1-E5D7-A932-0F306EB26909}"/>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Freeform 97">
                <a:extLst>
                  <a:ext uri="{FF2B5EF4-FFF2-40B4-BE49-F238E27FC236}">
                    <a16:creationId xmlns:a16="http://schemas.microsoft.com/office/drawing/2014/main" id="{F8DC24B3-D35C-3FDA-C8F6-5516890C91C0}"/>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Freeform 98">
                <a:extLst>
                  <a:ext uri="{FF2B5EF4-FFF2-40B4-BE49-F238E27FC236}">
                    <a16:creationId xmlns:a16="http://schemas.microsoft.com/office/drawing/2014/main" id="{2A1B9504-B409-F4E4-0C3B-DB105992D257}"/>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2" name="Freeform 99">
                <a:extLst>
                  <a:ext uri="{FF2B5EF4-FFF2-40B4-BE49-F238E27FC236}">
                    <a16:creationId xmlns:a16="http://schemas.microsoft.com/office/drawing/2014/main" id="{9CDF03D7-A081-AA15-2449-E199AA54E4C1}"/>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3" name="Freeform 100">
                <a:extLst>
                  <a:ext uri="{FF2B5EF4-FFF2-40B4-BE49-F238E27FC236}">
                    <a16:creationId xmlns:a16="http://schemas.microsoft.com/office/drawing/2014/main" id="{F8CE93D0-BA87-8930-F44E-13222D954FE4}"/>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4" name="Freeform 101">
                <a:extLst>
                  <a:ext uri="{FF2B5EF4-FFF2-40B4-BE49-F238E27FC236}">
                    <a16:creationId xmlns:a16="http://schemas.microsoft.com/office/drawing/2014/main" id="{1E8B922D-F278-D2C5-6CEC-DA8E568FD02E}"/>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Freeform 102">
                <a:extLst>
                  <a:ext uri="{FF2B5EF4-FFF2-40B4-BE49-F238E27FC236}">
                    <a16:creationId xmlns:a16="http://schemas.microsoft.com/office/drawing/2014/main" id="{EF85FA5F-5661-7B0D-E8EA-1D43D55BEC28}"/>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6" name="Freeform 103">
                <a:extLst>
                  <a:ext uri="{FF2B5EF4-FFF2-40B4-BE49-F238E27FC236}">
                    <a16:creationId xmlns:a16="http://schemas.microsoft.com/office/drawing/2014/main" id="{453F66C2-C45B-F3BF-6442-7734B316F4ED}"/>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104">
                <a:extLst>
                  <a:ext uri="{FF2B5EF4-FFF2-40B4-BE49-F238E27FC236}">
                    <a16:creationId xmlns:a16="http://schemas.microsoft.com/office/drawing/2014/main" id="{FC455BDD-A966-4741-23B7-3C0DB2C49198}"/>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105">
                <a:extLst>
                  <a:ext uri="{FF2B5EF4-FFF2-40B4-BE49-F238E27FC236}">
                    <a16:creationId xmlns:a16="http://schemas.microsoft.com/office/drawing/2014/main" id="{6296615F-B7FE-DD6E-B7B7-DDBD627BF2A1}"/>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06">
                <a:extLst>
                  <a:ext uri="{FF2B5EF4-FFF2-40B4-BE49-F238E27FC236}">
                    <a16:creationId xmlns:a16="http://schemas.microsoft.com/office/drawing/2014/main" id="{1E81E132-B704-C1BD-3C89-1B9DE8299127}"/>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07">
                <a:extLst>
                  <a:ext uri="{FF2B5EF4-FFF2-40B4-BE49-F238E27FC236}">
                    <a16:creationId xmlns:a16="http://schemas.microsoft.com/office/drawing/2014/main" id="{A5FF3E68-BC6E-CE56-DFC4-D4C3075B55BA}"/>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Freeform 108">
                <a:extLst>
                  <a:ext uri="{FF2B5EF4-FFF2-40B4-BE49-F238E27FC236}">
                    <a16:creationId xmlns:a16="http://schemas.microsoft.com/office/drawing/2014/main" id="{99980B8E-8298-CB4F-094A-DA66F3FBEA6B}"/>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2" name="Freeform 109">
                <a:extLst>
                  <a:ext uri="{FF2B5EF4-FFF2-40B4-BE49-F238E27FC236}">
                    <a16:creationId xmlns:a16="http://schemas.microsoft.com/office/drawing/2014/main" id="{661FC853-9A61-9400-9C42-97CF70943F1A}"/>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3" name="Freeform 110">
                <a:extLst>
                  <a:ext uri="{FF2B5EF4-FFF2-40B4-BE49-F238E27FC236}">
                    <a16:creationId xmlns:a16="http://schemas.microsoft.com/office/drawing/2014/main" id="{4F8CD5F0-12EE-CCE1-E799-596C049E6DE8}"/>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4" name="Freeform 111">
                <a:extLst>
                  <a:ext uri="{FF2B5EF4-FFF2-40B4-BE49-F238E27FC236}">
                    <a16:creationId xmlns:a16="http://schemas.microsoft.com/office/drawing/2014/main" id="{6B79B69D-3448-1993-EA74-293E3261EF39}"/>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5" name="Freeform 112">
                <a:extLst>
                  <a:ext uri="{FF2B5EF4-FFF2-40B4-BE49-F238E27FC236}">
                    <a16:creationId xmlns:a16="http://schemas.microsoft.com/office/drawing/2014/main" id="{6D8B6F68-EEB3-DE4A-DF64-F584BC2BC1F4}"/>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13">
                <a:extLst>
                  <a:ext uri="{FF2B5EF4-FFF2-40B4-BE49-F238E27FC236}">
                    <a16:creationId xmlns:a16="http://schemas.microsoft.com/office/drawing/2014/main" id="{BB3391E0-5D4D-2A76-CBC2-E26C173D7C20}"/>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14">
                <a:extLst>
                  <a:ext uri="{FF2B5EF4-FFF2-40B4-BE49-F238E27FC236}">
                    <a16:creationId xmlns:a16="http://schemas.microsoft.com/office/drawing/2014/main" id="{3F6EFDD3-2842-DB52-76E6-762EA8179E7A}"/>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Freeform 115">
                <a:extLst>
                  <a:ext uri="{FF2B5EF4-FFF2-40B4-BE49-F238E27FC236}">
                    <a16:creationId xmlns:a16="http://schemas.microsoft.com/office/drawing/2014/main" id="{32B4215A-D603-F817-139D-E64D7A8FF7F6}"/>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9" name="Freeform 116">
                <a:extLst>
                  <a:ext uri="{FF2B5EF4-FFF2-40B4-BE49-F238E27FC236}">
                    <a16:creationId xmlns:a16="http://schemas.microsoft.com/office/drawing/2014/main" id="{D7D09532-6C5B-01AD-0A7B-EB1283EE19D9}"/>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0" name="Freeform 117">
                <a:extLst>
                  <a:ext uri="{FF2B5EF4-FFF2-40B4-BE49-F238E27FC236}">
                    <a16:creationId xmlns:a16="http://schemas.microsoft.com/office/drawing/2014/main" id="{B6C8CB8B-E1FB-849B-2DF5-2258215EDAC3}"/>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1" name="Freeform 118">
                <a:extLst>
                  <a:ext uri="{FF2B5EF4-FFF2-40B4-BE49-F238E27FC236}">
                    <a16:creationId xmlns:a16="http://schemas.microsoft.com/office/drawing/2014/main" id="{FDE99913-5D09-72A4-88D2-5FE9028A3A3C}"/>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19">
                <a:extLst>
                  <a:ext uri="{FF2B5EF4-FFF2-40B4-BE49-F238E27FC236}">
                    <a16:creationId xmlns:a16="http://schemas.microsoft.com/office/drawing/2014/main" id="{7AC15F5C-62BC-9BA6-5353-9FC7A5FFE2EC}"/>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20">
                <a:extLst>
                  <a:ext uri="{FF2B5EF4-FFF2-40B4-BE49-F238E27FC236}">
                    <a16:creationId xmlns:a16="http://schemas.microsoft.com/office/drawing/2014/main" id="{13C9A7FC-5E7A-F8AF-ADF0-65F5200A49B8}"/>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21">
                <a:extLst>
                  <a:ext uri="{FF2B5EF4-FFF2-40B4-BE49-F238E27FC236}">
                    <a16:creationId xmlns:a16="http://schemas.microsoft.com/office/drawing/2014/main" id="{E6EEEDBF-F90D-FE50-F747-038EBA7B472B}"/>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22">
                <a:extLst>
                  <a:ext uri="{FF2B5EF4-FFF2-40B4-BE49-F238E27FC236}">
                    <a16:creationId xmlns:a16="http://schemas.microsoft.com/office/drawing/2014/main" id="{C6B8B836-F369-2418-7FD1-AB65EB5B94BB}"/>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Freeform 123">
                <a:extLst>
                  <a:ext uri="{FF2B5EF4-FFF2-40B4-BE49-F238E27FC236}">
                    <a16:creationId xmlns:a16="http://schemas.microsoft.com/office/drawing/2014/main" id="{F502BA12-D749-7DFC-97B2-7141D0556ED5}"/>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24">
                <a:extLst>
                  <a:ext uri="{FF2B5EF4-FFF2-40B4-BE49-F238E27FC236}">
                    <a16:creationId xmlns:a16="http://schemas.microsoft.com/office/drawing/2014/main" id="{637788CD-3CDD-466B-278C-940F6E5DCE37}"/>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125">
                <a:extLst>
                  <a:ext uri="{FF2B5EF4-FFF2-40B4-BE49-F238E27FC236}">
                    <a16:creationId xmlns:a16="http://schemas.microsoft.com/office/drawing/2014/main" id="{C6459567-AC33-717B-6918-FE7E2B177C32}"/>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126">
                <a:extLst>
                  <a:ext uri="{FF2B5EF4-FFF2-40B4-BE49-F238E27FC236}">
                    <a16:creationId xmlns:a16="http://schemas.microsoft.com/office/drawing/2014/main" id="{E1E4EFE4-CB22-2EA1-82C2-E5528C4FF4CE}"/>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127">
                <a:extLst>
                  <a:ext uri="{FF2B5EF4-FFF2-40B4-BE49-F238E27FC236}">
                    <a16:creationId xmlns:a16="http://schemas.microsoft.com/office/drawing/2014/main" id="{C845F367-1753-F591-8A63-BEE1F199B2F1}"/>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128">
                <a:extLst>
                  <a:ext uri="{FF2B5EF4-FFF2-40B4-BE49-F238E27FC236}">
                    <a16:creationId xmlns:a16="http://schemas.microsoft.com/office/drawing/2014/main" id="{148EA50B-3636-7339-0BDF-D3A7E6A0AAB5}"/>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129">
                <a:extLst>
                  <a:ext uri="{FF2B5EF4-FFF2-40B4-BE49-F238E27FC236}">
                    <a16:creationId xmlns:a16="http://schemas.microsoft.com/office/drawing/2014/main" id="{3F7399D5-BE17-57CB-BF3F-727059CF7B7B}"/>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3" name="Freeform 130">
                <a:extLst>
                  <a:ext uri="{FF2B5EF4-FFF2-40B4-BE49-F238E27FC236}">
                    <a16:creationId xmlns:a16="http://schemas.microsoft.com/office/drawing/2014/main" id="{4F31C05A-FE5B-673A-956B-842674466A67}"/>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4" name="Freeform 131">
                <a:extLst>
                  <a:ext uri="{FF2B5EF4-FFF2-40B4-BE49-F238E27FC236}">
                    <a16:creationId xmlns:a16="http://schemas.microsoft.com/office/drawing/2014/main" id="{7F7844AC-A930-985D-F5B5-38B2856D3977}"/>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95" name="Freeform 132">
                <a:extLst>
                  <a:ext uri="{FF2B5EF4-FFF2-40B4-BE49-F238E27FC236}">
                    <a16:creationId xmlns:a16="http://schemas.microsoft.com/office/drawing/2014/main" id="{45E1552C-B4C7-5742-CC92-2FA03E68D376}"/>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6" name="Freeform 133">
                <a:extLst>
                  <a:ext uri="{FF2B5EF4-FFF2-40B4-BE49-F238E27FC236}">
                    <a16:creationId xmlns:a16="http://schemas.microsoft.com/office/drawing/2014/main" id="{043D7C8E-5F28-8970-58E2-CAC505E7DD0B}"/>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7" name="Freeform 134">
                <a:extLst>
                  <a:ext uri="{FF2B5EF4-FFF2-40B4-BE49-F238E27FC236}">
                    <a16:creationId xmlns:a16="http://schemas.microsoft.com/office/drawing/2014/main" id="{7F1113EE-1308-DCF8-9E4F-9D9F58F235FE}"/>
                  </a:ext>
                </a:extLst>
              </p:cNvPr>
              <p:cNvSpPr>
                <a:spLocks/>
              </p:cNvSpPr>
              <p:nvPr userDrawn="1"/>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8" name="Freeform 135">
                <a:extLst>
                  <a:ext uri="{FF2B5EF4-FFF2-40B4-BE49-F238E27FC236}">
                    <a16:creationId xmlns:a16="http://schemas.microsoft.com/office/drawing/2014/main" id="{98B46AEB-E6F8-35DC-8203-3B2EC92A31D4}"/>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9" name="Freeform 136">
                <a:extLst>
                  <a:ext uri="{FF2B5EF4-FFF2-40B4-BE49-F238E27FC236}">
                    <a16:creationId xmlns:a16="http://schemas.microsoft.com/office/drawing/2014/main" id="{374F292E-EDBB-AB96-2560-1DF778911842}"/>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0" name="Freeform 137">
                <a:extLst>
                  <a:ext uri="{FF2B5EF4-FFF2-40B4-BE49-F238E27FC236}">
                    <a16:creationId xmlns:a16="http://schemas.microsoft.com/office/drawing/2014/main" id="{09333AED-0A28-5E9D-BD38-475029FF9B00}"/>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1" name="Freeform 138">
                <a:extLst>
                  <a:ext uri="{FF2B5EF4-FFF2-40B4-BE49-F238E27FC236}">
                    <a16:creationId xmlns:a16="http://schemas.microsoft.com/office/drawing/2014/main" id="{F4959E3C-F1C6-BCDC-1574-BBB3E08BB8F1}"/>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2" name="Freeform 139">
                <a:extLst>
                  <a:ext uri="{FF2B5EF4-FFF2-40B4-BE49-F238E27FC236}">
                    <a16:creationId xmlns:a16="http://schemas.microsoft.com/office/drawing/2014/main" id="{92D4D8D9-04DD-173C-6AF8-D68FE5AE8A1C}"/>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3" name="Freeform 140">
                <a:extLst>
                  <a:ext uri="{FF2B5EF4-FFF2-40B4-BE49-F238E27FC236}">
                    <a16:creationId xmlns:a16="http://schemas.microsoft.com/office/drawing/2014/main" id="{711ABBD7-619C-E5D0-9EC3-11C48C579DE9}"/>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4" name="Freeform 141">
                <a:extLst>
                  <a:ext uri="{FF2B5EF4-FFF2-40B4-BE49-F238E27FC236}">
                    <a16:creationId xmlns:a16="http://schemas.microsoft.com/office/drawing/2014/main" id="{DA73B8B9-3BE7-AEE0-EBD7-E6D974CF6573}"/>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5" name="Freeform 142">
                <a:extLst>
                  <a:ext uri="{FF2B5EF4-FFF2-40B4-BE49-F238E27FC236}">
                    <a16:creationId xmlns:a16="http://schemas.microsoft.com/office/drawing/2014/main" id="{51366FC2-34FD-F73E-F4F8-C27FC8202D95}"/>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6" name="Freeform 143">
                <a:extLst>
                  <a:ext uri="{FF2B5EF4-FFF2-40B4-BE49-F238E27FC236}">
                    <a16:creationId xmlns:a16="http://schemas.microsoft.com/office/drawing/2014/main" id="{25FF5204-425C-CA05-C089-0E3206578909}"/>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7" name="Freeform 144">
                <a:extLst>
                  <a:ext uri="{FF2B5EF4-FFF2-40B4-BE49-F238E27FC236}">
                    <a16:creationId xmlns:a16="http://schemas.microsoft.com/office/drawing/2014/main" id="{0779663E-3185-D5A8-C2D0-55E7B2D846F5}"/>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08" name="Freeform 145">
                <a:extLst>
                  <a:ext uri="{FF2B5EF4-FFF2-40B4-BE49-F238E27FC236}">
                    <a16:creationId xmlns:a16="http://schemas.microsoft.com/office/drawing/2014/main" id="{B55B9235-3888-B852-72D5-3395A3D198D9}"/>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9" name="Freeform 146">
                <a:extLst>
                  <a:ext uri="{FF2B5EF4-FFF2-40B4-BE49-F238E27FC236}">
                    <a16:creationId xmlns:a16="http://schemas.microsoft.com/office/drawing/2014/main" id="{FA95BCB8-861B-3299-2E09-28FD1163F2D7}"/>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0" name="Freeform 147">
                <a:extLst>
                  <a:ext uri="{FF2B5EF4-FFF2-40B4-BE49-F238E27FC236}">
                    <a16:creationId xmlns:a16="http://schemas.microsoft.com/office/drawing/2014/main" id="{7926F923-B511-EEE9-C582-11761ED53C27}"/>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1" name="Freeform 148">
                <a:extLst>
                  <a:ext uri="{FF2B5EF4-FFF2-40B4-BE49-F238E27FC236}">
                    <a16:creationId xmlns:a16="http://schemas.microsoft.com/office/drawing/2014/main" id="{48D4B060-5267-983D-0973-DF8C7664B60B}"/>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2" name="Freeform 149">
                <a:extLst>
                  <a:ext uri="{FF2B5EF4-FFF2-40B4-BE49-F238E27FC236}">
                    <a16:creationId xmlns:a16="http://schemas.microsoft.com/office/drawing/2014/main" id="{1E676AC5-BA56-ABCC-8AB6-BCD62DA218E4}"/>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3" name="Freeform 150">
                <a:extLst>
                  <a:ext uri="{FF2B5EF4-FFF2-40B4-BE49-F238E27FC236}">
                    <a16:creationId xmlns:a16="http://schemas.microsoft.com/office/drawing/2014/main" id="{13361051-96CC-7EEA-77A4-1E8F538EC8A4}"/>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4" name="Freeform 151">
                <a:extLst>
                  <a:ext uri="{FF2B5EF4-FFF2-40B4-BE49-F238E27FC236}">
                    <a16:creationId xmlns:a16="http://schemas.microsoft.com/office/drawing/2014/main" id="{3AE5D9C1-E68C-9FEA-C142-109BA485039A}"/>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5" name="Freeform 152">
                <a:extLst>
                  <a:ext uri="{FF2B5EF4-FFF2-40B4-BE49-F238E27FC236}">
                    <a16:creationId xmlns:a16="http://schemas.microsoft.com/office/drawing/2014/main" id="{2DE6BB11-BD99-0ECD-3263-9EDD5E2E1638}"/>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6" name="Freeform 153">
                <a:extLst>
                  <a:ext uri="{FF2B5EF4-FFF2-40B4-BE49-F238E27FC236}">
                    <a16:creationId xmlns:a16="http://schemas.microsoft.com/office/drawing/2014/main" id="{96EDFEAA-FE8C-BB84-8D60-04B8E5A8988E}"/>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7" name="Freeform 154">
                <a:extLst>
                  <a:ext uri="{FF2B5EF4-FFF2-40B4-BE49-F238E27FC236}">
                    <a16:creationId xmlns:a16="http://schemas.microsoft.com/office/drawing/2014/main" id="{A1623547-836A-C055-A939-420A4CE83644}"/>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8" name="Freeform 155">
                <a:extLst>
                  <a:ext uri="{FF2B5EF4-FFF2-40B4-BE49-F238E27FC236}">
                    <a16:creationId xmlns:a16="http://schemas.microsoft.com/office/drawing/2014/main" id="{D4B07757-9663-8F7C-2734-92980A39FD22}"/>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9" name="Freeform 156">
                <a:extLst>
                  <a:ext uri="{FF2B5EF4-FFF2-40B4-BE49-F238E27FC236}">
                    <a16:creationId xmlns:a16="http://schemas.microsoft.com/office/drawing/2014/main" id="{E383C36C-EDA9-C3D5-0FC3-CEC2C7F2C4A7}"/>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0" name="Freeform 157">
                <a:extLst>
                  <a:ext uri="{FF2B5EF4-FFF2-40B4-BE49-F238E27FC236}">
                    <a16:creationId xmlns:a16="http://schemas.microsoft.com/office/drawing/2014/main" id="{9E2D5387-FEE2-2527-4AB8-4B589EA4ECB7}"/>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1" name="Freeform 158">
                <a:extLst>
                  <a:ext uri="{FF2B5EF4-FFF2-40B4-BE49-F238E27FC236}">
                    <a16:creationId xmlns:a16="http://schemas.microsoft.com/office/drawing/2014/main" id="{6D0CC624-5F5D-028F-9071-94AE32DFD2BC}"/>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2" name="Freeform 159">
                <a:extLst>
                  <a:ext uri="{FF2B5EF4-FFF2-40B4-BE49-F238E27FC236}">
                    <a16:creationId xmlns:a16="http://schemas.microsoft.com/office/drawing/2014/main" id="{5E711631-D4E1-0F58-5BFE-BE0E46AD9048}"/>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3" name="Freeform 160">
                <a:extLst>
                  <a:ext uri="{FF2B5EF4-FFF2-40B4-BE49-F238E27FC236}">
                    <a16:creationId xmlns:a16="http://schemas.microsoft.com/office/drawing/2014/main" id="{0150BCC9-89AD-47F5-2990-FAE95BB9FCBA}"/>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4" name="Freeform 161">
                <a:extLst>
                  <a:ext uri="{FF2B5EF4-FFF2-40B4-BE49-F238E27FC236}">
                    <a16:creationId xmlns:a16="http://schemas.microsoft.com/office/drawing/2014/main" id="{07584B6D-0F99-C292-35AF-0F4196AE926D}"/>
                  </a:ext>
                </a:extLst>
              </p:cNvPr>
              <p:cNvSpPr>
                <a:spLocks/>
              </p:cNvSpPr>
              <p:nvPr userDrawn="1"/>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5" name="Freeform 162">
                <a:extLst>
                  <a:ext uri="{FF2B5EF4-FFF2-40B4-BE49-F238E27FC236}">
                    <a16:creationId xmlns:a16="http://schemas.microsoft.com/office/drawing/2014/main" id="{DA62C272-BC60-1E0F-D4C4-A15D93851ECD}"/>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6" name="Freeform 163">
                <a:extLst>
                  <a:ext uri="{FF2B5EF4-FFF2-40B4-BE49-F238E27FC236}">
                    <a16:creationId xmlns:a16="http://schemas.microsoft.com/office/drawing/2014/main" id="{FFA5F2AC-C183-86BF-BFC3-CD8407DE5CFA}"/>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7" name="Freeform 164">
                <a:extLst>
                  <a:ext uri="{FF2B5EF4-FFF2-40B4-BE49-F238E27FC236}">
                    <a16:creationId xmlns:a16="http://schemas.microsoft.com/office/drawing/2014/main" id="{A02FC184-FE04-FF74-4A81-24200D636968}"/>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8" name="Freeform 165">
                <a:extLst>
                  <a:ext uri="{FF2B5EF4-FFF2-40B4-BE49-F238E27FC236}">
                    <a16:creationId xmlns:a16="http://schemas.microsoft.com/office/drawing/2014/main" id="{B2850107-C9F2-4C4C-9DBE-8EC891295B6A}"/>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29" name="Freeform 166">
                <a:extLst>
                  <a:ext uri="{FF2B5EF4-FFF2-40B4-BE49-F238E27FC236}">
                    <a16:creationId xmlns:a16="http://schemas.microsoft.com/office/drawing/2014/main" id="{91B23DEC-B597-3A54-374F-E83AC814F689}"/>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0" name="Freeform 167">
                <a:extLst>
                  <a:ext uri="{FF2B5EF4-FFF2-40B4-BE49-F238E27FC236}">
                    <a16:creationId xmlns:a16="http://schemas.microsoft.com/office/drawing/2014/main" id="{4DADA66B-EB41-D57A-7F8E-B67E963E0F87}"/>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1" name="Freeform 168">
                <a:extLst>
                  <a:ext uri="{FF2B5EF4-FFF2-40B4-BE49-F238E27FC236}">
                    <a16:creationId xmlns:a16="http://schemas.microsoft.com/office/drawing/2014/main" id="{8EB2F399-4275-0B63-DE17-6DF186658D5D}"/>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2" name="Freeform 169">
                <a:extLst>
                  <a:ext uri="{FF2B5EF4-FFF2-40B4-BE49-F238E27FC236}">
                    <a16:creationId xmlns:a16="http://schemas.microsoft.com/office/drawing/2014/main" id="{27739403-CA57-742A-98CB-01FA86D46445}"/>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3" name="Freeform 170">
                <a:extLst>
                  <a:ext uri="{FF2B5EF4-FFF2-40B4-BE49-F238E27FC236}">
                    <a16:creationId xmlns:a16="http://schemas.microsoft.com/office/drawing/2014/main" id="{7035A8D5-5561-F419-4755-5E083C2DD61C}"/>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4" name="Freeform 171">
                <a:extLst>
                  <a:ext uri="{FF2B5EF4-FFF2-40B4-BE49-F238E27FC236}">
                    <a16:creationId xmlns:a16="http://schemas.microsoft.com/office/drawing/2014/main" id="{595A7C11-35A5-25BC-0D89-C93467FBB9E3}"/>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5" name="Freeform 172">
                <a:extLst>
                  <a:ext uri="{FF2B5EF4-FFF2-40B4-BE49-F238E27FC236}">
                    <a16:creationId xmlns:a16="http://schemas.microsoft.com/office/drawing/2014/main" id="{6A443D14-8B37-7C87-09E9-7C7C73D92276}"/>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6" name="Freeform 173">
                <a:extLst>
                  <a:ext uri="{FF2B5EF4-FFF2-40B4-BE49-F238E27FC236}">
                    <a16:creationId xmlns:a16="http://schemas.microsoft.com/office/drawing/2014/main" id="{B27398A8-FB19-64E3-6A4E-92653AAC8BA0}"/>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7" name="Freeform 174">
                <a:extLst>
                  <a:ext uri="{FF2B5EF4-FFF2-40B4-BE49-F238E27FC236}">
                    <a16:creationId xmlns:a16="http://schemas.microsoft.com/office/drawing/2014/main" id="{B56E1BCD-F1E1-E4F9-DFD7-BC3293EAB2A9}"/>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8" name="Freeform 175">
                <a:extLst>
                  <a:ext uri="{FF2B5EF4-FFF2-40B4-BE49-F238E27FC236}">
                    <a16:creationId xmlns:a16="http://schemas.microsoft.com/office/drawing/2014/main" id="{5E192D0E-2EE9-3BFD-CCB9-2620C3C6C44E}"/>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39" name="Freeform 176">
                <a:extLst>
                  <a:ext uri="{FF2B5EF4-FFF2-40B4-BE49-F238E27FC236}">
                    <a16:creationId xmlns:a16="http://schemas.microsoft.com/office/drawing/2014/main" id="{FCD8FE74-5991-DABD-0AB1-16B2E3307305}"/>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0" name="Freeform 177">
                <a:extLst>
                  <a:ext uri="{FF2B5EF4-FFF2-40B4-BE49-F238E27FC236}">
                    <a16:creationId xmlns:a16="http://schemas.microsoft.com/office/drawing/2014/main" id="{9DD2F2EE-1B59-A4AF-EF91-EE2C94374C6F}"/>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1" name="Freeform 178">
                <a:extLst>
                  <a:ext uri="{FF2B5EF4-FFF2-40B4-BE49-F238E27FC236}">
                    <a16:creationId xmlns:a16="http://schemas.microsoft.com/office/drawing/2014/main" id="{9C880F5D-7D23-3FEC-E051-A52C1E2A30D6}"/>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2" name="Freeform 179">
                <a:extLst>
                  <a:ext uri="{FF2B5EF4-FFF2-40B4-BE49-F238E27FC236}">
                    <a16:creationId xmlns:a16="http://schemas.microsoft.com/office/drawing/2014/main" id="{D090B225-B989-6448-4454-790E160E81BD}"/>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3" name="Freeform 180">
                <a:extLst>
                  <a:ext uri="{FF2B5EF4-FFF2-40B4-BE49-F238E27FC236}">
                    <a16:creationId xmlns:a16="http://schemas.microsoft.com/office/drawing/2014/main" id="{B14CC76B-B8F6-60B8-5596-934090B88EE0}"/>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4" name="Freeform 181">
                <a:extLst>
                  <a:ext uri="{FF2B5EF4-FFF2-40B4-BE49-F238E27FC236}">
                    <a16:creationId xmlns:a16="http://schemas.microsoft.com/office/drawing/2014/main" id="{FB71224D-C97E-EC83-00A5-53C673A77378}"/>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5" name="Freeform 182">
                <a:extLst>
                  <a:ext uri="{FF2B5EF4-FFF2-40B4-BE49-F238E27FC236}">
                    <a16:creationId xmlns:a16="http://schemas.microsoft.com/office/drawing/2014/main" id="{CE31F966-8CA7-F06E-0748-D4E46B89C650}"/>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6" name="Freeform 183">
                <a:extLst>
                  <a:ext uri="{FF2B5EF4-FFF2-40B4-BE49-F238E27FC236}">
                    <a16:creationId xmlns:a16="http://schemas.microsoft.com/office/drawing/2014/main" id="{AA55D2BC-4330-44AB-E6D9-D978657580EF}"/>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7" name="Freeform 184">
                <a:extLst>
                  <a:ext uri="{FF2B5EF4-FFF2-40B4-BE49-F238E27FC236}">
                    <a16:creationId xmlns:a16="http://schemas.microsoft.com/office/drawing/2014/main" id="{8E127AE4-48EB-2253-C9D8-DF8908B84BE2}"/>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8" name="Freeform 185">
                <a:extLst>
                  <a:ext uri="{FF2B5EF4-FFF2-40B4-BE49-F238E27FC236}">
                    <a16:creationId xmlns:a16="http://schemas.microsoft.com/office/drawing/2014/main" id="{88DE65B3-7C97-02B3-8172-7BA3BC04916A}"/>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9" name="Freeform 186">
                <a:extLst>
                  <a:ext uri="{FF2B5EF4-FFF2-40B4-BE49-F238E27FC236}">
                    <a16:creationId xmlns:a16="http://schemas.microsoft.com/office/drawing/2014/main" id="{C42FFFA8-05C3-13F3-6D04-EE7B47DB7D19}"/>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0" name="Freeform 187">
                <a:extLst>
                  <a:ext uri="{FF2B5EF4-FFF2-40B4-BE49-F238E27FC236}">
                    <a16:creationId xmlns:a16="http://schemas.microsoft.com/office/drawing/2014/main" id="{C644D912-D4BC-A61F-3190-0E6B7365BB88}"/>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1" name="Freeform 188">
                <a:extLst>
                  <a:ext uri="{FF2B5EF4-FFF2-40B4-BE49-F238E27FC236}">
                    <a16:creationId xmlns:a16="http://schemas.microsoft.com/office/drawing/2014/main" id="{2E7CBCD1-FC3A-D954-ADE4-997BA817621F}"/>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2" name="Freeform 189">
                <a:extLst>
                  <a:ext uri="{FF2B5EF4-FFF2-40B4-BE49-F238E27FC236}">
                    <a16:creationId xmlns:a16="http://schemas.microsoft.com/office/drawing/2014/main" id="{D0567911-8D0E-C1A0-12ED-86581880BD08}"/>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3" name="Freeform 190">
                <a:extLst>
                  <a:ext uri="{FF2B5EF4-FFF2-40B4-BE49-F238E27FC236}">
                    <a16:creationId xmlns:a16="http://schemas.microsoft.com/office/drawing/2014/main" id="{96FDAF76-6634-99C9-5CC6-C441AC776FB3}"/>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4" name="Freeform 191">
                <a:extLst>
                  <a:ext uri="{FF2B5EF4-FFF2-40B4-BE49-F238E27FC236}">
                    <a16:creationId xmlns:a16="http://schemas.microsoft.com/office/drawing/2014/main" id="{9ED3163F-0D26-C88A-2EB7-F93A6CF24C5C}"/>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5" name="Freeform 192">
                <a:extLst>
                  <a:ext uri="{FF2B5EF4-FFF2-40B4-BE49-F238E27FC236}">
                    <a16:creationId xmlns:a16="http://schemas.microsoft.com/office/drawing/2014/main" id="{538B7200-A51F-6609-3586-EA56554654DC}"/>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6" name="Freeform 193">
                <a:extLst>
                  <a:ext uri="{FF2B5EF4-FFF2-40B4-BE49-F238E27FC236}">
                    <a16:creationId xmlns:a16="http://schemas.microsoft.com/office/drawing/2014/main" id="{D8721342-2D6D-69D5-BC31-CE89BDCA2C02}"/>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7" name="Freeform 194">
                <a:extLst>
                  <a:ext uri="{FF2B5EF4-FFF2-40B4-BE49-F238E27FC236}">
                    <a16:creationId xmlns:a16="http://schemas.microsoft.com/office/drawing/2014/main" id="{6711FCFE-3709-8749-B8D3-5DC50B1449EC}"/>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8" name="Freeform 195">
                <a:extLst>
                  <a:ext uri="{FF2B5EF4-FFF2-40B4-BE49-F238E27FC236}">
                    <a16:creationId xmlns:a16="http://schemas.microsoft.com/office/drawing/2014/main" id="{C546E17E-FF12-33D3-B2E9-D49116A74ECB}"/>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9" name="Freeform 196">
                <a:extLst>
                  <a:ext uri="{FF2B5EF4-FFF2-40B4-BE49-F238E27FC236}">
                    <a16:creationId xmlns:a16="http://schemas.microsoft.com/office/drawing/2014/main" id="{B23C6891-47BB-D263-7B24-E7DB6601C92F}"/>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0" name="Freeform 197">
                <a:extLst>
                  <a:ext uri="{FF2B5EF4-FFF2-40B4-BE49-F238E27FC236}">
                    <a16:creationId xmlns:a16="http://schemas.microsoft.com/office/drawing/2014/main" id="{546082A8-F614-5B85-F6DE-C43962A3A961}"/>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1" name="Freeform 198">
                <a:extLst>
                  <a:ext uri="{FF2B5EF4-FFF2-40B4-BE49-F238E27FC236}">
                    <a16:creationId xmlns:a16="http://schemas.microsoft.com/office/drawing/2014/main" id="{BAECF22C-7DAA-A9A1-6E0A-8F302D35C935}"/>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2" name="Freeform 199">
                <a:extLst>
                  <a:ext uri="{FF2B5EF4-FFF2-40B4-BE49-F238E27FC236}">
                    <a16:creationId xmlns:a16="http://schemas.microsoft.com/office/drawing/2014/main" id="{423810DF-31EE-C5EB-D4D5-C3202D1B5594}"/>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3" name="Freeform 200">
                <a:extLst>
                  <a:ext uri="{FF2B5EF4-FFF2-40B4-BE49-F238E27FC236}">
                    <a16:creationId xmlns:a16="http://schemas.microsoft.com/office/drawing/2014/main" id="{AB7E3196-4E23-08E9-3D5D-F419A791E985}"/>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4" name="Freeform 201">
                <a:extLst>
                  <a:ext uri="{FF2B5EF4-FFF2-40B4-BE49-F238E27FC236}">
                    <a16:creationId xmlns:a16="http://schemas.microsoft.com/office/drawing/2014/main" id="{488ADDD2-69A0-D668-E8C2-51819A833446}"/>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202">
                <a:extLst>
                  <a:ext uri="{FF2B5EF4-FFF2-40B4-BE49-F238E27FC236}">
                    <a16:creationId xmlns:a16="http://schemas.microsoft.com/office/drawing/2014/main" id="{2576960D-2914-7E27-D133-1206C4733A06}"/>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6" name="Freeform 203">
                <a:extLst>
                  <a:ext uri="{FF2B5EF4-FFF2-40B4-BE49-F238E27FC236}">
                    <a16:creationId xmlns:a16="http://schemas.microsoft.com/office/drawing/2014/main" id="{FE6F2EB0-1963-F1F5-86E1-EDB25A799295}"/>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204">
                <a:extLst>
                  <a:ext uri="{FF2B5EF4-FFF2-40B4-BE49-F238E27FC236}">
                    <a16:creationId xmlns:a16="http://schemas.microsoft.com/office/drawing/2014/main" id="{1C6E0839-A7FB-0E88-B5CC-174E30B91EFB}"/>
                  </a:ext>
                </a:extLst>
              </p:cNvPr>
              <p:cNvSpPr>
                <a:spLocks noEditPoints="1"/>
              </p:cNvSpPr>
              <p:nvPr userDrawn="1"/>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12" name="Freeform 206">
              <a:extLst>
                <a:ext uri="{FF2B5EF4-FFF2-40B4-BE49-F238E27FC236}">
                  <a16:creationId xmlns:a16="http://schemas.microsoft.com/office/drawing/2014/main" id="{C29B46AA-BBA2-1855-8D3B-5D21E4312551}"/>
                </a:ext>
              </a:extLst>
            </p:cNvPr>
            <p:cNvSpPr>
              <a:spLocks noEditPoints="1"/>
            </p:cNvSpPr>
            <p:nvPr userDrawn="1"/>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207">
              <a:extLst>
                <a:ext uri="{FF2B5EF4-FFF2-40B4-BE49-F238E27FC236}">
                  <a16:creationId xmlns:a16="http://schemas.microsoft.com/office/drawing/2014/main" id="{A3381E4D-2609-00E7-A9CC-FCE06043F96F}"/>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208">
              <a:extLst>
                <a:ext uri="{FF2B5EF4-FFF2-40B4-BE49-F238E27FC236}">
                  <a16:creationId xmlns:a16="http://schemas.microsoft.com/office/drawing/2014/main" id="{ECE5A4BE-5292-6312-ED91-998F2D662083}"/>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209">
              <a:extLst>
                <a:ext uri="{FF2B5EF4-FFF2-40B4-BE49-F238E27FC236}">
                  <a16:creationId xmlns:a16="http://schemas.microsoft.com/office/drawing/2014/main" id="{CBE1FE77-8BF1-0A92-6A34-D08945361E9F}"/>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210">
              <a:extLst>
                <a:ext uri="{FF2B5EF4-FFF2-40B4-BE49-F238E27FC236}">
                  <a16:creationId xmlns:a16="http://schemas.microsoft.com/office/drawing/2014/main" id="{2D14DD13-4CC5-52EF-5E58-30032AE28D03}"/>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211">
              <a:extLst>
                <a:ext uri="{FF2B5EF4-FFF2-40B4-BE49-F238E27FC236}">
                  <a16:creationId xmlns:a16="http://schemas.microsoft.com/office/drawing/2014/main" id="{2894967B-2FEC-C5A6-B933-46C78ADEC885}"/>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212">
              <a:extLst>
                <a:ext uri="{FF2B5EF4-FFF2-40B4-BE49-F238E27FC236}">
                  <a16:creationId xmlns:a16="http://schemas.microsoft.com/office/drawing/2014/main" id="{8DB126FA-B5AB-7809-C631-0551D2690652}"/>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213">
              <a:extLst>
                <a:ext uri="{FF2B5EF4-FFF2-40B4-BE49-F238E27FC236}">
                  <a16:creationId xmlns:a16="http://schemas.microsoft.com/office/drawing/2014/main" id="{0F5D9BD8-021E-D896-11C5-ED89F3B41C04}"/>
                </a:ext>
              </a:extLst>
            </p:cNvPr>
            <p:cNvSpPr>
              <a:spLocks/>
            </p:cNvSpPr>
            <p:nvPr userDrawn="1"/>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214">
              <a:extLst>
                <a:ext uri="{FF2B5EF4-FFF2-40B4-BE49-F238E27FC236}">
                  <a16:creationId xmlns:a16="http://schemas.microsoft.com/office/drawing/2014/main" id="{6F2F8D34-4DD7-82CD-2F09-2D373D2AAE6E}"/>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215">
              <a:extLst>
                <a:ext uri="{FF2B5EF4-FFF2-40B4-BE49-F238E27FC236}">
                  <a16:creationId xmlns:a16="http://schemas.microsoft.com/office/drawing/2014/main" id="{5B470304-2BCB-27B8-FA48-FA2936E761A4}"/>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216">
              <a:extLst>
                <a:ext uri="{FF2B5EF4-FFF2-40B4-BE49-F238E27FC236}">
                  <a16:creationId xmlns:a16="http://schemas.microsoft.com/office/drawing/2014/main" id="{F4B3C6E5-3E53-E0A5-87F4-C2648167F407}"/>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217">
              <a:extLst>
                <a:ext uri="{FF2B5EF4-FFF2-40B4-BE49-F238E27FC236}">
                  <a16:creationId xmlns:a16="http://schemas.microsoft.com/office/drawing/2014/main" id="{5FB6BF9E-2584-4753-DBED-ED5B0C1A9170}"/>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218">
              <a:extLst>
                <a:ext uri="{FF2B5EF4-FFF2-40B4-BE49-F238E27FC236}">
                  <a16:creationId xmlns:a16="http://schemas.microsoft.com/office/drawing/2014/main" id="{973E7239-4C9B-81B8-C20B-A61EB53BDEB9}"/>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219">
              <a:extLst>
                <a:ext uri="{FF2B5EF4-FFF2-40B4-BE49-F238E27FC236}">
                  <a16:creationId xmlns:a16="http://schemas.microsoft.com/office/drawing/2014/main" id="{12C6F532-032A-413A-C855-E35EEF109630}"/>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220">
              <a:extLst>
                <a:ext uri="{FF2B5EF4-FFF2-40B4-BE49-F238E27FC236}">
                  <a16:creationId xmlns:a16="http://schemas.microsoft.com/office/drawing/2014/main" id="{38C666FB-82F3-1A19-0873-7F245FCBFD39}"/>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221">
              <a:extLst>
                <a:ext uri="{FF2B5EF4-FFF2-40B4-BE49-F238E27FC236}">
                  <a16:creationId xmlns:a16="http://schemas.microsoft.com/office/drawing/2014/main" id="{D6C80737-EFAB-C253-CF64-912D699886AF}"/>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222">
              <a:extLst>
                <a:ext uri="{FF2B5EF4-FFF2-40B4-BE49-F238E27FC236}">
                  <a16:creationId xmlns:a16="http://schemas.microsoft.com/office/drawing/2014/main" id="{F727AE03-FFC5-7A27-D0F2-C3295F2CA51A}"/>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223">
              <a:extLst>
                <a:ext uri="{FF2B5EF4-FFF2-40B4-BE49-F238E27FC236}">
                  <a16:creationId xmlns:a16="http://schemas.microsoft.com/office/drawing/2014/main" id="{DF6C7DCB-A438-829E-C7D8-994CC119BC45}"/>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224">
              <a:extLst>
                <a:ext uri="{FF2B5EF4-FFF2-40B4-BE49-F238E27FC236}">
                  <a16:creationId xmlns:a16="http://schemas.microsoft.com/office/drawing/2014/main" id="{A33F5C56-5B9A-EA58-9196-CDCB3DAEE72A}"/>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225">
              <a:extLst>
                <a:ext uri="{FF2B5EF4-FFF2-40B4-BE49-F238E27FC236}">
                  <a16:creationId xmlns:a16="http://schemas.microsoft.com/office/drawing/2014/main" id="{0DF7785F-79BF-F7D6-0FC8-24475A9F8FD1}"/>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226">
              <a:extLst>
                <a:ext uri="{FF2B5EF4-FFF2-40B4-BE49-F238E27FC236}">
                  <a16:creationId xmlns:a16="http://schemas.microsoft.com/office/drawing/2014/main" id="{52D76976-AA46-9F1F-4D78-5049D63F584D}"/>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227">
              <a:extLst>
                <a:ext uri="{FF2B5EF4-FFF2-40B4-BE49-F238E27FC236}">
                  <a16:creationId xmlns:a16="http://schemas.microsoft.com/office/drawing/2014/main" id="{5037FD08-8053-A37E-F501-76714E18173F}"/>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228">
              <a:extLst>
                <a:ext uri="{FF2B5EF4-FFF2-40B4-BE49-F238E27FC236}">
                  <a16:creationId xmlns:a16="http://schemas.microsoft.com/office/drawing/2014/main" id="{BE55C636-A623-FF66-E779-07A26846C33E}"/>
                </a:ext>
              </a:extLst>
            </p:cNvPr>
            <p:cNvSpPr>
              <a:spLocks noEditPoints="1"/>
            </p:cNvSpPr>
            <p:nvPr userDrawn="1"/>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229">
              <a:extLst>
                <a:ext uri="{FF2B5EF4-FFF2-40B4-BE49-F238E27FC236}">
                  <a16:creationId xmlns:a16="http://schemas.microsoft.com/office/drawing/2014/main" id="{ADFC78F1-5F42-1E27-2896-76E90FF63CCA}"/>
                </a:ext>
              </a:extLst>
            </p:cNvPr>
            <p:cNvSpPr>
              <a:spLocks noEditPoints="1"/>
            </p:cNvSpPr>
            <p:nvPr userDrawn="1"/>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230">
              <a:extLst>
                <a:ext uri="{FF2B5EF4-FFF2-40B4-BE49-F238E27FC236}">
                  <a16:creationId xmlns:a16="http://schemas.microsoft.com/office/drawing/2014/main" id="{FBA0CF86-3D7C-40E1-F788-25547E287D00}"/>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231">
              <a:extLst>
                <a:ext uri="{FF2B5EF4-FFF2-40B4-BE49-F238E27FC236}">
                  <a16:creationId xmlns:a16="http://schemas.microsoft.com/office/drawing/2014/main" id="{7EFB73E2-B48A-DC4E-E3C9-EF66958888A9}"/>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232">
              <a:extLst>
                <a:ext uri="{FF2B5EF4-FFF2-40B4-BE49-F238E27FC236}">
                  <a16:creationId xmlns:a16="http://schemas.microsoft.com/office/drawing/2014/main" id="{E31F2C11-2708-5E15-8218-63BA4FA612F3}"/>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233">
              <a:extLst>
                <a:ext uri="{FF2B5EF4-FFF2-40B4-BE49-F238E27FC236}">
                  <a16:creationId xmlns:a16="http://schemas.microsoft.com/office/drawing/2014/main" id="{6AFA6AD8-2CD7-9667-2CBF-B29E3A999D34}"/>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234">
              <a:extLst>
                <a:ext uri="{FF2B5EF4-FFF2-40B4-BE49-F238E27FC236}">
                  <a16:creationId xmlns:a16="http://schemas.microsoft.com/office/drawing/2014/main" id="{BD6559BE-211B-73C7-2C42-D021D9A6DCE2}"/>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235">
              <a:extLst>
                <a:ext uri="{FF2B5EF4-FFF2-40B4-BE49-F238E27FC236}">
                  <a16:creationId xmlns:a16="http://schemas.microsoft.com/office/drawing/2014/main" id="{5E3401B5-D61C-E5C5-21BA-4D27A394EC23}"/>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236">
              <a:extLst>
                <a:ext uri="{FF2B5EF4-FFF2-40B4-BE49-F238E27FC236}">
                  <a16:creationId xmlns:a16="http://schemas.microsoft.com/office/drawing/2014/main" id="{62759AB3-8CAC-55CD-EF80-879184E8E760}"/>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237">
              <a:extLst>
                <a:ext uri="{FF2B5EF4-FFF2-40B4-BE49-F238E27FC236}">
                  <a16:creationId xmlns:a16="http://schemas.microsoft.com/office/drawing/2014/main" id="{CF019F2B-199E-0107-24C8-86C4E7449FB7}"/>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238">
              <a:extLst>
                <a:ext uri="{FF2B5EF4-FFF2-40B4-BE49-F238E27FC236}">
                  <a16:creationId xmlns:a16="http://schemas.microsoft.com/office/drawing/2014/main" id="{6AF34714-154C-9223-BE1A-D8FE97391428}"/>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239">
              <a:extLst>
                <a:ext uri="{FF2B5EF4-FFF2-40B4-BE49-F238E27FC236}">
                  <a16:creationId xmlns:a16="http://schemas.microsoft.com/office/drawing/2014/main" id="{3C7A5933-CC00-4ABB-1919-BEB174DD7DCC}"/>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240">
              <a:extLst>
                <a:ext uri="{FF2B5EF4-FFF2-40B4-BE49-F238E27FC236}">
                  <a16:creationId xmlns:a16="http://schemas.microsoft.com/office/drawing/2014/main" id="{AC35C4DC-4CAE-9436-73C1-CE405916CF90}"/>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241">
              <a:extLst>
                <a:ext uri="{FF2B5EF4-FFF2-40B4-BE49-F238E27FC236}">
                  <a16:creationId xmlns:a16="http://schemas.microsoft.com/office/drawing/2014/main" id="{B0FE4DB6-4572-808F-6BCB-8D0ABD586C33}"/>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242">
              <a:extLst>
                <a:ext uri="{FF2B5EF4-FFF2-40B4-BE49-F238E27FC236}">
                  <a16:creationId xmlns:a16="http://schemas.microsoft.com/office/drawing/2014/main" id="{1AC6EE5B-57C7-67E2-7ABB-CA7B60F52E7C}"/>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243">
              <a:extLst>
                <a:ext uri="{FF2B5EF4-FFF2-40B4-BE49-F238E27FC236}">
                  <a16:creationId xmlns:a16="http://schemas.microsoft.com/office/drawing/2014/main" id="{99B68379-F248-1D74-0048-D19F0EAC90D9}"/>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244">
              <a:extLst>
                <a:ext uri="{FF2B5EF4-FFF2-40B4-BE49-F238E27FC236}">
                  <a16:creationId xmlns:a16="http://schemas.microsoft.com/office/drawing/2014/main" id="{7C85F977-2FF7-FBA4-E882-555E79D7601E}"/>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245">
              <a:extLst>
                <a:ext uri="{FF2B5EF4-FFF2-40B4-BE49-F238E27FC236}">
                  <a16:creationId xmlns:a16="http://schemas.microsoft.com/office/drawing/2014/main" id="{1CDB79B1-C0E7-4A71-F000-250B543F55C8}"/>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246">
              <a:extLst>
                <a:ext uri="{FF2B5EF4-FFF2-40B4-BE49-F238E27FC236}">
                  <a16:creationId xmlns:a16="http://schemas.microsoft.com/office/drawing/2014/main" id="{8557E721-8412-E71A-91EA-8BE01B717624}"/>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247">
              <a:extLst>
                <a:ext uri="{FF2B5EF4-FFF2-40B4-BE49-F238E27FC236}">
                  <a16:creationId xmlns:a16="http://schemas.microsoft.com/office/drawing/2014/main" id="{EE1B306A-71FF-DE5B-A07E-0A5E54480E02}"/>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248">
              <a:extLst>
                <a:ext uri="{FF2B5EF4-FFF2-40B4-BE49-F238E27FC236}">
                  <a16:creationId xmlns:a16="http://schemas.microsoft.com/office/drawing/2014/main" id="{DA727595-5172-35D1-80C5-6D28CC08FA44}"/>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249">
              <a:extLst>
                <a:ext uri="{FF2B5EF4-FFF2-40B4-BE49-F238E27FC236}">
                  <a16:creationId xmlns:a16="http://schemas.microsoft.com/office/drawing/2014/main" id="{866D93DE-AF76-4A33-E3FD-962E8FCA1C29}"/>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250">
              <a:extLst>
                <a:ext uri="{FF2B5EF4-FFF2-40B4-BE49-F238E27FC236}">
                  <a16:creationId xmlns:a16="http://schemas.microsoft.com/office/drawing/2014/main" id="{5ECD9F8E-389A-203C-2518-02DDB6D2FF5E}"/>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251">
              <a:extLst>
                <a:ext uri="{FF2B5EF4-FFF2-40B4-BE49-F238E27FC236}">
                  <a16:creationId xmlns:a16="http://schemas.microsoft.com/office/drawing/2014/main" id="{B4A97633-AFEB-C8B6-6544-2780E3B735D0}"/>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252">
              <a:extLst>
                <a:ext uri="{FF2B5EF4-FFF2-40B4-BE49-F238E27FC236}">
                  <a16:creationId xmlns:a16="http://schemas.microsoft.com/office/drawing/2014/main" id="{3FD58466-3F8E-61DE-D1B3-645B78996A01}"/>
                </a:ext>
              </a:extLst>
            </p:cNvPr>
            <p:cNvSpPr>
              <a:spLocks/>
            </p:cNvSpPr>
            <p:nvPr userDrawn="1"/>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253">
              <a:extLst>
                <a:ext uri="{FF2B5EF4-FFF2-40B4-BE49-F238E27FC236}">
                  <a16:creationId xmlns:a16="http://schemas.microsoft.com/office/drawing/2014/main" id="{ECBCAA4A-D814-8B29-19CF-B69D976A55FB}"/>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254">
              <a:extLst>
                <a:ext uri="{FF2B5EF4-FFF2-40B4-BE49-F238E27FC236}">
                  <a16:creationId xmlns:a16="http://schemas.microsoft.com/office/drawing/2014/main" id="{5162B113-05AF-032D-0B1A-EC3984E4A983}"/>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255">
              <a:extLst>
                <a:ext uri="{FF2B5EF4-FFF2-40B4-BE49-F238E27FC236}">
                  <a16:creationId xmlns:a16="http://schemas.microsoft.com/office/drawing/2014/main" id="{05BF5229-9FF6-4355-DA6B-8E708102A582}"/>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256">
              <a:extLst>
                <a:ext uri="{FF2B5EF4-FFF2-40B4-BE49-F238E27FC236}">
                  <a16:creationId xmlns:a16="http://schemas.microsoft.com/office/drawing/2014/main" id="{E6C87542-09C7-C7ED-E0F1-563643E5FE87}"/>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257">
              <a:extLst>
                <a:ext uri="{FF2B5EF4-FFF2-40B4-BE49-F238E27FC236}">
                  <a16:creationId xmlns:a16="http://schemas.microsoft.com/office/drawing/2014/main" id="{9B0AC0B8-96E4-C5DA-E813-04E68B5C064E}"/>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258">
              <a:extLst>
                <a:ext uri="{FF2B5EF4-FFF2-40B4-BE49-F238E27FC236}">
                  <a16:creationId xmlns:a16="http://schemas.microsoft.com/office/drawing/2014/main" id="{309CBCA6-91D2-5088-2805-949179FB5580}"/>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259">
              <a:extLst>
                <a:ext uri="{FF2B5EF4-FFF2-40B4-BE49-F238E27FC236}">
                  <a16:creationId xmlns:a16="http://schemas.microsoft.com/office/drawing/2014/main" id="{B0DEC28A-FD60-85BB-E61D-6EED79CCEFFE}"/>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260">
              <a:extLst>
                <a:ext uri="{FF2B5EF4-FFF2-40B4-BE49-F238E27FC236}">
                  <a16:creationId xmlns:a16="http://schemas.microsoft.com/office/drawing/2014/main" id="{7AC4A49B-3C2C-A3F6-BD0A-77BF81D81DA7}"/>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261">
              <a:extLst>
                <a:ext uri="{FF2B5EF4-FFF2-40B4-BE49-F238E27FC236}">
                  <a16:creationId xmlns:a16="http://schemas.microsoft.com/office/drawing/2014/main" id="{0FABCEA9-D9B7-FE4B-F129-8355DD1A3097}"/>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262">
              <a:extLst>
                <a:ext uri="{FF2B5EF4-FFF2-40B4-BE49-F238E27FC236}">
                  <a16:creationId xmlns:a16="http://schemas.microsoft.com/office/drawing/2014/main" id="{1ADEF481-F075-4E2E-7263-2391228B8FC7}"/>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263">
              <a:extLst>
                <a:ext uri="{FF2B5EF4-FFF2-40B4-BE49-F238E27FC236}">
                  <a16:creationId xmlns:a16="http://schemas.microsoft.com/office/drawing/2014/main" id="{C7F7EFDC-6FA5-2F4B-9BAB-50D40891C198}"/>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264">
              <a:extLst>
                <a:ext uri="{FF2B5EF4-FFF2-40B4-BE49-F238E27FC236}">
                  <a16:creationId xmlns:a16="http://schemas.microsoft.com/office/drawing/2014/main" id="{9F981855-0F4A-4494-BB6A-C7D58FB68F07}"/>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265">
              <a:extLst>
                <a:ext uri="{FF2B5EF4-FFF2-40B4-BE49-F238E27FC236}">
                  <a16:creationId xmlns:a16="http://schemas.microsoft.com/office/drawing/2014/main" id="{E3D50670-4339-CB06-3288-9F67E19084FB}"/>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266">
              <a:extLst>
                <a:ext uri="{FF2B5EF4-FFF2-40B4-BE49-F238E27FC236}">
                  <a16:creationId xmlns:a16="http://schemas.microsoft.com/office/drawing/2014/main" id="{CC6936C7-8F1E-AAE7-C653-9EF79A99EE8B}"/>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267">
              <a:extLst>
                <a:ext uri="{FF2B5EF4-FFF2-40B4-BE49-F238E27FC236}">
                  <a16:creationId xmlns:a16="http://schemas.microsoft.com/office/drawing/2014/main" id="{3F269A2C-3D7F-80E1-B8A7-D5E81F3D15AE}"/>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268">
              <a:extLst>
                <a:ext uri="{FF2B5EF4-FFF2-40B4-BE49-F238E27FC236}">
                  <a16:creationId xmlns:a16="http://schemas.microsoft.com/office/drawing/2014/main" id="{6BAEC6FB-4295-185F-D7BC-9400AEF3DCB4}"/>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269">
              <a:extLst>
                <a:ext uri="{FF2B5EF4-FFF2-40B4-BE49-F238E27FC236}">
                  <a16:creationId xmlns:a16="http://schemas.microsoft.com/office/drawing/2014/main" id="{E3279D9E-200E-F5B0-DE2F-C7DC238379E8}"/>
                </a:ext>
              </a:extLst>
            </p:cNvPr>
            <p:cNvSpPr>
              <a:spLocks/>
            </p:cNvSpPr>
            <p:nvPr userDrawn="1"/>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270">
              <a:extLst>
                <a:ext uri="{FF2B5EF4-FFF2-40B4-BE49-F238E27FC236}">
                  <a16:creationId xmlns:a16="http://schemas.microsoft.com/office/drawing/2014/main" id="{919A1915-D165-70ED-2AB6-1AC7FFEDDD72}"/>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271">
              <a:extLst>
                <a:ext uri="{FF2B5EF4-FFF2-40B4-BE49-F238E27FC236}">
                  <a16:creationId xmlns:a16="http://schemas.microsoft.com/office/drawing/2014/main" id="{6BD72E06-376B-89C6-6936-2FD41D7FBB49}"/>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272">
              <a:extLst>
                <a:ext uri="{FF2B5EF4-FFF2-40B4-BE49-F238E27FC236}">
                  <a16:creationId xmlns:a16="http://schemas.microsoft.com/office/drawing/2014/main" id="{69A7FF1A-40AD-FCFD-57D5-F8A69451C222}"/>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273">
              <a:extLst>
                <a:ext uri="{FF2B5EF4-FFF2-40B4-BE49-F238E27FC236}">
                  <a16:creationId xmlns:a16="http://schemas.microsoft.com/office/drawing/2014/main" id="{8FCB125A-1EC4-90E8-9901-2063834E502C}"/>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274">
              <a:extLst>
                <a:ext uri="{FF2B5EF4-FFF2-40B4-BE49-F238E27FC236}">
                  <a16:creationId xmlns:a16="http://schemas.microsoft.com/office/drawing/2014/main" id="{BD3787AF-67EA-8F6B-B164-A93D8864969D}"/>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275">
              <a:extLst>
                <a:ext uri="{FF2B5EF4-FFF2-40B4-BE49-F238E27FC236}">
                  <a16:creationId xmlns:a16="http://schemas.microsoft.com/office/drawing/2014/main" id="{23B326B6-4FAE-5429-8E26-5C0A67E3D883}"/>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276">
              <a:extLst>
                <a:ext uri="{FF2B5EF4-FFF2-40B4-BE49-F238E27FC236}">
                  <a16:creationId xmlns:a16="http://schemas.microsoft.com/office/drawing/2014/main" id="{7BB4800C-77C6-621F-C12B-660F7E305D98}"/>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277">
              <a:extLst>
                <a:ext uri="{FF2B5EF4-FFF2-40B4-BE49-F238E27FC236}">
                  <a16:creationId xmlns:a16="http://schemas.microsoft.com/office/drawing/2014/main" id="{F104AC3F-E740-C4F0-5C12-23B40A3D82F3}"/>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278">
              <a:extLst>
                <a:ext uri="{FF2B5EF4-FFF2-40B4-BE49-F238E27FC236}">
                  <a16:creationId xmlns:a16="http://schemas.microsoft.com/office/drawing/2014/main" id="{EBB21A7E-5376-94D4-FA77-B877B1594C6C}"/>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279">
              <a:extLst>
                <a:ext uri="{FF2B5EF4-FFF2-40B4-BE49-F238E27FC236}">
                  <a16:creationId xmlns:a16="http://schemas.microsoft.com/office/drawing/2014/main" id="{A3176EEA-C3DB-979B-DFB9-D8757CC6D640}"/>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280">
              <a:extLst>
                <a:ext uri="{FF2B5EF4-FFF2-40B4-BE49-F238E27FC236}">
                  <a16:creationId xmlns:a16="http://schemas.microsoft.com/office/drawing/2014/main" id="{2CCDFB77-C7C2-A361-5363-436E6C5A90C1}"/>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281">
              <a:extLst>
                <a:ext uri="{FF2B5EF4-FFF2-40B4-BE49-F238E27FC236}">
                  <a16:creationId xmlns:a16="http://schemas.microsoft.com/office/drawing/2014/main" id="{7CD57F83-CFC7-7C33-1186-8ADAD9C56B96}"/>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282">
              <a:extLst>
                <a:ext uri="{FF2B5EF4-FFF2-40B4-BE49-F238E27FC236}">
                  <a16:creationId xmlns:a16="http://schemas.microsoft.com/office/drawing/2014/main" id="{546FE76B-ABB0-F4DF-D41A-BDBE14F4C62F}"/>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283">
              <a:extLst>
                <a:ext uri="{FF2B5EF4-FFF2-40B4-BE49-F238E27FC236}">
                  <a16:creationId xmlns:a16="http://schemas.microsoft.com/office/drawing/2014/main" id="{19BABF6F-DDFB-0550-D535-AA5183CC6BA2}"/>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284">
              <a:extLst>
                <a:ext uri="{FF2B5EF4-FFF2-40B4-BE49-F238E27FC236}">
                  <a16:creationId xmlns:a16="http://schemas.microsoft.com/office/drawing/2014/main" id="{A6326BFD-B588-4E39-4018-776B08C606B0}"/>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285">
              <a:extLst>
                <a:ext uri="{FF2B5EF4-FFF2-40B4-BE49-F238E27FC236}">
                  <a16:creationId xmlns:a16="http://schemas.microsoft.com/office/drawing/2014/main" id="{5D17F4C5-D603-6803-B15F-0A83892AF27A}"/>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286">
              <a:extLst>
                <a:ext uri="{FF2B5EF4-FFF2-40B4-BE49-F238E27FC236}">
                  <a16:creationId xmlns:a16="http://schemas.microsoft.com/office/drawing/2014/main" id="{45E65124-983F-C9E8-04F7-20D4155E46D3}"/>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287">
              <a:extLst>
                <a:ext uri="{FF2B5EF4-FFF2-40B4-BE49-F238E27FC236}">
                  <a16:creationId xmlns:a16="http://schemas.microsoft.com/office/drawing/2014/main" id="{262A7B73-488E-C7CF-6900-93A1AC6591D7}"/>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288">
              <a:extLst>
                <a:ext uri="{FF2B5EF4-FFF2-40B4-BE49-F238E27FC236}">
                  <a16:creationId xmlns:a16="http://schemas.microsoft.com/office/drawing/2014/main" id="{BC99ACD5-48A8-4AA6-BBEC-F354A59312DB}"/>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289">
              <a:extLst>
                <a:ext uri="{FF2B5EF4-FFF2-40B4-BE49-F238E27FC236}">
                  <a16:creationId xmlns:a16="http://schemas.microsoft.com/office/drawing/2014/main" id="{E800BC0C-5561-98D8-B597-BD17E8FB4011}"/>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290">
              <a:extLst>
                <a:ext uri="{FF2B5EF4-FFF2-40B4-BE49-F238E27FC236}">
                  <a16:creationId xmlns:a16="http://schemas.microsoft.com/office/drawing/2014/main" id="{3E8A82EE-70BF-EF77-6CFD-2D560657C922}"/>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291">
              <a:extLst>
                <a:ext uri="{FF2B5EF4-FFF2-40B4-BE49-F238E27FC236}">
                  <a16:creationId xmlns:a16="http://schemas.microsoft.com/office/drawing/2014/main" id="{2DEB1D3F-6B91-3BDB-005D-3689868AB15E}"/>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292">
              <a:extLst>
                <a:ext uri="{FF2B5EF4-FFF2-40B4-BE49-F238E27FC236}">
                  <a16:creationId xmlns:a16="http://schemas.microsoft.com/office/drawing/2014/main" id="{AF8A99CC-CE01-FB2E-004A-9E9C175BDD6E}"/>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293">
              <a:extLst>
                <a:ext uri="{FF2B5EF4-FFF2-40B4-BE49-F238E27FC236}">
                  <a16:creationId xmlns:a16="http://schemas.microsoft.com/office/drawing/2014/main" id="{EE63AB96-1EE6-D305-F799-8EF13BFAA79C}"/>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294">
              <a:extLst>
                <a:ext uri="{FF2B5EF4-FFF2-40B4-BE49-F238E27FC236}">
                  <a16:creationId xmlns:a16="http://schemas.microsoft.com/office/drawing/2014/main" id="{09693E95-5B03-BA36-5CF3-D68BA61F8701}"/>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295">
              <a:extLst>
                <a:ext uri="{FF2B5EF4-FFF2-40B4-BE49-F238E27FC236}">
                  <a16:creationId xmlns:a16="http://schemas.microsoft.com/office/drawing/2014/main" id="{7C871A36-AE7D-5B9E-180B-5B02E28E41B8}"/>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296">
              <a:extLst>
                <a:ext uri="{FF2B5EF4-FFF2-40B4-BE49-F238E27FC236}">
                  <a16:creationId xmlns:a16="http://schemas.microsoft.com/office/drawing/2014/main" id="{0B8077FD-2FDF-BC93-D88A-B96041BDFBA5}"/>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297">
              <a:extLst>
                <a:ext uri="{FF2B5EF4-FFF2-40B4-BE49-F238E27FC236}">
                  <a16:creationId xmlns:a16="http://schemas.microsoft.com/office/drawing/2014/main" id="{6A68A690-BC2F-BB1F-A482-436ACC026206}"/>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298">
              <a:extLst>
                <a:ext uri="{FF2B5EF4-FFF2-40B4-BE49-F238E27FC236}">
                  <a16:creationId xmlns:a16="http://schemas.microsoft.com/office/drawing/2014/main" id="{97F101EC-4816-4944-34D5-F9212E569051}"/>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299">
              <a:extLst>
                <a:ext uri="{FF2B5EF4-FFF2-40B4-BE49-F238E27FC236}">
                  <a16:creationId xmlns:a16="http://schemas.microsoft.com/office/drawing/2014/main" id="{DDE3EF2E-87D0-61F9-B3EB-8941092B47F8}"/>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300">
              <a:extLst>
                <a:ext uri="{FF2B5EF4-FFF2-40B4-BE49-F238E27FC236}">
                  <a16:creationId xmlns:a16="http://schemas.microsoft.com/office/drawing/2014/main" id="{2530163D-D34F-313D-236D-A1279DD986DB}"/>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301">
              <a:extLst>
                <a:ext uri="{FF2B5EF4-FFF2-40B4-BE49-F238E27FC236}">
                  <a16:creationId xmlns:a16="http://schemas.microsoft.com/office/drawing/2014/main" id="{2C39A43B-7DD0-37F0-3870-3932C23F0D2C}"/>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302">
              <a:extLst>
                <a:ext uri="{FF2B5EF4-FFF2-40B4-BE49-F238E27FC236}">
                  <a16:creationId xmlns:a16="http://schemas.microsoft.com/office/drawing/2014/main" id="{87C9BE5F-EBBA-A50E-03C7-F26AC415147B}"/>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303">
              <a:extLst>
                <a:ext uri="{FF2B5EF4-FFF2-40B4-BE49-F238E27FC236}">
                  <a16:creationId xmlns:a16="http://schemas.microsoft.com/office/drawing/2014/main" id="{D052833A-4E73-5FA7-8331-DC0331B42F70}"/>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304">
              <a:extLst>
                <a:ext uri="{FF2B5EF4-FFF2-40B4-BE49-F238E27FC236}">
                  <a16:creationId xmlns:a16="http://schemas.microsoft.com/office/drawing/2014/main" id="{7975FE59-CDEA-3349-2046-7ABB9787A849}"/>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305">
              <a:extLst>
                <a:ext uri="{FF2B5EF4-FFF2-40B4-BE49-F238E27FC236}">
                  <a16:creationId xmlns:a16="http://schemas.microsoft.com/office/drawing/2014/main" id="{1E4CEB74-9C12-0A66-CFBA-95178090F256}"/>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306">
              <a:extLst>
                <a:ext uri="{FF2B5EF4-FFF2-40B4-BE49-F238E27FC236}">
                  <a16:creationId xmlns:a16="http://schemas.microsoft.com/office/drawing/2014/main" id="{C5B040A6-3417-C92E-7F20-C4CF3CC8D085}"/>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307">
              <a:extLst>
                <a:ext uri="{FF2B5EF4-FFF2-40B4-BE49-F238E27FC236}">
                  <a16:creationId xmlns:a16="http://schemas.microsoft.com/office/drawing/2014/main" id="{3FA2B976-9683-B45E-C527-F5F8BB74BC6B}"/>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308">
              <a:extLst>
                <a:ext uri="{FF2B5EF4-FFF2-40B4-BE49-F238E27FC236}">
                  <a16:creationId xmlns:a16="http://schemas.microsoft.com/office/drawing/2014/main" id="{0E60BEC9-0E17-A182-B9B5-6CF386D7F576}"/>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309">
              <a:extLst>
                <a:ext uri="{FF2B5EF4-FFF2-40B4-BE49-F238E27FC236}">
                  <a16:creationId xmlns:a16="http://schemas.microsoft.com/office/drawing/2014/main" id="{9CAA2371-123D-B55B-E9F9-B06CEC7EBA33}"/>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310">
              <a:extLst>
                <a:ext uri="{FF2B5EF4-FFF2-40B4-BE49-F238E27FC236}">
                  <a16:creationId xmlns:a16="http://schemas.microsoft.com/office/drawing/2014/main" id="{229523CA-F601-6E28-8620-A134725E4200}"/>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311">
              <a:extLst>
                <a:ext uri="{FF2B5EF4-FFF2-40B4-BE49-F238E27FC236}">
                  <a16:creationId xmlns:a16="http://schemas.microsoft.com/office/drawing/2014/main" id="{216791B8-BB28-D15E-0FD9-15EFBC89E189}"/>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312">
              <a:extLst>
                <a:ext uri="{FF2B5EF4-FFF2-40B4-BE49-F238E27FC236}">
                  <a16:creationId xmlns:a16="http://schemas.microsoft.com/office/drawing/2014/main" id="{04E81229-6567-BFAC-EC5B-ACE00B1443D0}"/>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313">
              <a:extLst>
                <a:ext uri="{FF2B5EF4-FFF2-40B4-BE49-F238E27FC236}">
                  <a16:creationId xmlns:a16="http://schemas.microsoft.com/office/drawing/2014/main" id="{2DC3CAF1-E7C5-6705-3D28-2DE59ED51024}"/>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314">
              <a:extLst>
                <a:ext uri="{FF2B5EF4-FFF2-40B4-BE49-F238E27FC236}">
                  <a16:creationId xmlns:a16="http://schemas.microsoft.com/office/drawing/2014/main" id="{67209EC9-6342-1C81-E4F5-E385160ADCDA}"/>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315">
              <a:extLst>
                <a:ext uri="{FF2B5EF4-FFF2-40B4-BE49-F238E27FC236}">
                  <a16:creationId xmlns:a16="http://schemas.microsoft.com/office/drawing/2014/main" id="{BA4174AF-E9FE-196C-8FDD-9D029454E8C0}"/>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316">
              <a:extLst>
                <a:ext uri="{FF2B5EF4-FFF2-40B4-BE49-F238E27FC236}">
                  <a16:creationId xmlns:a16="http://schemas.microsoft.com/office/drawing/2014/main" id="{4F640091-DCB3-DDEB-84AA-09283D84B769}"/>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317">
              <a:extLst>
                <a:ext uri="{FF2B5EF4-FFF2-40B4-BE49-F238E27FC236}">
                  <a16:creationId xmlns:a16="http://schemas.microsoft.com/office/drawing/2014/main" id="{8F4868A2-34E2-401B-CAC8-D40689C08DDA}"/>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318">
              <a:extLst>
                <a:ext uri="{FF2B5EF4-FFF2-40B4-BE49-F238E27FC236}">
                  <a16:creationId xmlns:a16="http://schemas.microsoft.com/office/drawing/2014/main" id="{3F13CC9A-6635-C891-BC8F-62F09653212A}"/>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319">
              <a:extLst>
                <a:ext uri="{FF2B5EF4-FFF2-40B4-BE49-F238E27FC236}">
                  <a16:creationId xmlns:a16="http://schemas.microsoft.com/office/drawing/2014/main" id="{3E483C19-94AB-8CC4-879E-D8079A582DC8}"/>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320">
              <a:extLst>
                <a:ext uri="{FF2B5EF4-FFF2-40B4-BE49-F238E27FC236}">
                  <a16:creationId xmlns:a16="http://schemas.microsoft.com/office/drawing/2014/main" id="{3A97495B-32F2-DEF9-7E80-5E5A3B1D27CA}"/>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321">
              <a:extLst>
                <a:ext uri="{FF2B5EF4-FFF2-40B4-BE49-F238E27FC236}">
                  <a16:creationId xmlns:a16="http://schemas.microsoft.com/office/drawing/2014/main" id="{88921BC9-B4E5-0E7F-F619-D3127DB0D3EC}"/>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322">
              <a:extLst>
                <a:ext uri="{FF2B5EF4-FFF2-40B4-BE49-F238E27FC236}">
                  <a16:creationId xmlns:a16="http://schemas.microsoft.com/office/drawing/2014/main" id="{7A627582-6A00-6C9A-768C-E61C961CA5EF}"/>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323">
              <a:extLst>
                <a:ext uri="{FF2B5EF4-FFF2-40B4-BE49-F238E27FC236}">
                  <a16:creationId xmlns:a16="http://schemas.microsoft.com/office/drawing/2014/main" id="{0F0CFFFB-051E-CBE7-8F53-066EDD0EBE38}"/>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324">
              <a:extLst>
                <a:ext uri="{FF2B5EF4-FFF2-40B4-BE49-F238E27FC236}">
                  <a16:creationId xmlns:a16="http://schemas.microsoft.com/office/drawing/2014/main" id="{662177C7-E5DB-12EA-E4F7-F45D4736EF0F}"/>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325">
              <a:extLst>
                <a:ext uri="{FF2B5EF4-FFF2-40B4-BE49-F238E27FC236}">
                  <a16:creationId xmlns:a16="http://schemas.microsoft.com/office/drawing/2014/main" id="{892146B9-6D4C-3F2D-7F9C-8E8673CD1C84}"/>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326">
              <a:extLst>
                <a:ext uri="{FF2B5EF4-FFF2-40B4-BE49-F238E27FC236}">
                  <a16:creationId xmlns:a16="http://schemas.microsoft.com/office/drawing/2014/main" id="{DF552D37-707B-090F-FFEC-89A6722BDCBF}"/>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327">
              <a:extLst>
                <a:ext uri="{FF2B5EF4-FFF2-40B4-BE49-F238E27FC236}">
                  <a16:creationId xmlns:a16="http://schemas.microsoft.com/office/drawing/2014/main" id="{056B9BAE-DF3D-0C30-EF87-E8806B4686E8}"/>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328">
              <a:extLst>
                <a:ext uri="{FF2B5EF4-FFF2-40B4-BE49-F238E27FC236}">
                  <a16:creationId xmlns:a16="http://schemas.microsoft.com/office/drawing/2014/main" id="{9257D737-2E9A-B79E-D1AD-064A5D8C49DD}"/>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329">
              <a:extLst>
                <a:ext uri="{FF2B5EF4-FFF2-40B4-BE49-F238E27FC236}">
                  <a16:creationId xmlns:a16="http://schemas.microsoft.com/office/drawing/2014/main" id="{9B270BE9-B996-12A9-74EC-26C4D4E6EEE6}"/>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330">
              <a:extLst>
                <a:ext uri="{FF2B5EF4-FFF2-40B4-BE49-F238E27FC236}">
                  <a16:creationId xmlns:a16="http://schemas.microsoft.com/office/drawing/2014/main" id="{47AFB0A4-8090-38B8-A5CA-2465BC819E3E}"/>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331">
              <a:extLst>
                <a:ext uri="{FF2B5EF4-FFF2-40B4-BE49-F238E27FC236}">
                  <a16:creationId xmlns:a16="http://schemas.microsoft.com/office/drawing/2014/main" id="{BA1726B5-1FF9-7FA0-60CF-9E0851D010E0}"/>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332">
              <a:extLst>
                <a:ext uri="{FF2B5EF4-FFF2-40B4-BE49-F238E27FC236}">
                  <a16:creationId xmlns:a16="http://schemas.microsoft.com/office/drawing/2014/main" id="{4821D90D-BCB9-3068-DC0D-16A19248A4F3}"/>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333">
              <a:extLst>
                <a:ext uri="{FF2B5EF4-FFF2-40B4-BE49-F238E27FC236}">
                  <a16:creationId xmlns:a16="http://schemas.microsoft.com/office/drawing/2014/main" id="{D40386FD-F0A3-9A8A-C06E-39797F428BF6}"/>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334">
              <a:extLst>
                <a:ext uri="{FF2B5EF4-FFF2-40B4-BE49-F238E27FC236}">
                  <a16:creationId xmlns:a16="http://schemas.microsoft.com/office/drawing/2014/main" id="{E147DA82-B252-0CF3-EB5F-7D806790D257}"/>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335">
              <a:extLst>
                <a:ext uri="{FF2B5EF4-FFF2-40B4-BE49-F238E27FC236}">
                  <a16:creationId xmlns:a16="http://schemas.microsoft.com/office/drawing/2014/main" id="{69208736-5E21-CC1D-0539-9307A0B0A396}"/>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336">
              <a:extLst>
                <a:ext uri="{FF2B5EF4-FFF2-40B4-BE49-F238E27FC236}">
                  <a16:creationId xmlns:a16="http://schemas.microsoft.com/office/drawing/2014/main" id="{2836DA93-A63F-C6C8-7C42-70AA87F34C97}"/>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337">
              <a:extLst>
                <a:ext uri="{FF2B5EF4-FFF2-40B4-BE49-F238E27FC236}">
                  <a16:creationId xmlns:a16="http://schemas.microsoft.com/office/drawing/2014/main" id="{5EACF743-34F0-0207-968A-B5A1B8DCB1FD}"/>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338">
              <a:extLst>
                <a:ext uri="{FF2B5EF4-FFF2-40B4-BE49-F238E27FC236}">
                  <a16:creationId xmlns:a16="http://schemas.microsoft.com/office/drawing/2014/main" id="{CB089CFD-AF1D-77B5-39F3-3DD3A896FF21}"/>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339">
              <a:extLst>
                <a:ext uri="{FF2B5EF4-FFF2-40B4-BE49-F238E27FC236}">
                  <a16:creationId xmlns:a16="http://schemas.microsoft.com/office/drawing/2014/main" id="{FEC3A3A3-076B-46D0-ABBA-4F15E8AAB141}"/>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340">
              <a:extLst>
                <a:ext uri="{FF2B5EF4-FFF2-40B4-BE49-F238E27FC236}">
                  <a16:creationId xmlns:a16="http://schemas.microsoft.com/office/drawing/2014/main" id="{9FFEEAF3-CA81-E1A3-4E4F-20AAB547CCF6}"/>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341">
              <a:extLst>
                <a:ext uri="{FF2B5EF4-FFF2-40B4-BE49-F238E27FC236}">
                  <a16:creationId xmlns:a16="http://schemas.microsoft.com/office/drawing/2014/main" id="{7D74CD0E-C427-E463-7CE3-4F38522F38AF}"/>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342">
              <a:extLst>
                <a:ext uri="{FF2B5EF4-FFF2-40B4-BE49-F238E27FC236}">
                  <a16:creationId xmlns:a16="http://schemas.microsoft.com/office/drawing/2014/main" id="{D8AC6996-A2F1-4E36-B9C4-48529E49D5FB}"/>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343">
              <a:extLst>
                <a:ext uri="{FF2B5EF4-FFF2-40B4-BE49-F238E27FC236}">
                  <a16:creationId xmlns:a16="http://schemas.microsoft.com/office/drawing/2014/main" id="{87496911-3D31-0608-8B0F-2A16347A7A28}"/>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344">
              <a:extLst>
                <a:ext uri="{FF2B5EF4-FFF2-40B4-BE49-F238E27FC236}">
                  <a16:creationId xmlns:a16="http://schemas.microsoft.com/office/drawing/2014/main" id="{C3091A73-355E-FEE3-0C11-81FCAFFAC179}"/>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345">
              <a:extLst>
                <a:ext uri="{FF2B5EF4-FFF2-40B4-BE49-F238E27FC236}">
                  <a16:creationId xmlns:a16="http://schemas.microsoft.com/office/drawing/2014/main" id="{D56D7834-AD27-48C7-506E-B500C61AF697}"/>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346">
              <a:extLst>
                <a:ext uri="{FF2B5EF4-FFF2-40B4-BE49-F238E27FC236}">
                  <a16:creationId xmlns:a16="http://schemas.microsoft.com/office/drawing/2014/main" id="{2DD6547D-E176-221B-8E8A-DC7018A66F0F}"/>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347">
              <a:extLst>
                <a:ext uri="{FF2B5EF4-FFF2-40B4-BE49-F238E27FC236}">
                  <a16:creationId xmlns:a16="http://schemas.microsoft.com/office/drawing/2014/main" id="{82BB6989-85FF-96F3-7FA2-4254B9C20DAE}"/>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348">
              <a:extLst>
                <a:ext uri="{FF2B5EF4-FFF2-40B4-BE49-F238E27FC236}">
                  <a16:creationId xmlns:a16="http://schemas.microsoft.com/office/drawing/2014/main" id="{783E0592-BAF6-A689-208B-84F24CEDCD6C}"/>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349">
              <a:extLst>
                <a:ext uri="{FF2B5EF4-FFF2-40B4-BE49-F238E27FC236}">
                  <a16:creationId xmlns:a16="http://schemas.microsoft.com/office/drawing/2014/main" id="{422F3D8F-AB9C-4078-2A6C-990C8411ECF8}"/>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350">
              <a:extLst>
                <a:ext uri="{FF2B5EF4-FFF2-40B4-BE49-F238E27FC236}">
                  <a16:creationId xmlns:a16="http://schemas.microsoft.com/office/drawing/2014/main" id="{6A8767EE-2A88-C053-E413-F6ECAD7F1D24}"/>
                </a:ext>
              </a:extLst>
            </p:cNvPr>
            <p:cNvSpPr>
              <a:spLocks noEditPoints="1"/>
            </p:cNvSpPr>
            <p:nvPr userDrawn="1"/>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351">
              <a:extLst>
                <a:ext uri="{FF2B5EF4-FFF2-40B4-BE49-F238E27FC236}">
                  <a16:creationId xmlns:a16="http://schemas.microsoft.com/office/drawing/2014/main" id="{E111EAEB-6B46-AA23-E595-CDD836E7B19A}"/>
                </a:ext>
              </a:extLst>
            </p:cNvPr>
            <p:cNvSpPr>
              <a:spLocks noEditPoints="1"/>
            </p:cNvSpPr>
            <p:nvPr userDrawn="1"/>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352">
              <a:extLst>
                <a:ext uri="{FF2B5EF4-FFF2-40B4-BE49-F238E27FC236}">
                  <a16:creationId xmlns:a16="http://schemas.microsoft.com/office/drawing/2014/main" id="{A67E59D9-DEF3-F27B-22C3-838E97E52ED5}"/>
                </a:ext>
              </a:extLst>
            </p:cNvPr>
            <p:cNvSpPr>
              <a:spLocks/>
            </p:cNvSpPr>
            <p:nvPr userDrawn="1"/>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353">
              <a:extLst>
                <a:ext uri="{FF2B5EF4-FFF2-40B4-BE49-F238E27FC236}">
                  <a16:creationId xmlns:a16="http://schemas.microsoft.com/office/drawing/2014/main" id="{94C15800-B416-0C80-7B05-10E02B130727}"/>
                </a:ext>
              </a:extLst>
            </p:cNvPr>
            <p:cNvSpPr>
              <a:spLocks/>
            </p:cNvSpPr>
            <p:nvPr userDrawn="1"/>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354">
              <a:extLst>
                <a:ext uri="{FF2B5EF4-FFF2-40B4-BE49-F238E27FC236}">
                  <a16:creationId xmlns:a16="http://schemas.microsoft.com/office/drawing/2014/main" id="{9EDAA1CE-34BE-FF70-2822-76C0D9BEFAA5}"/>
                </a:ext>
              </a:extLst>
            </p:cNvPr>
            <p:cNvSpPr>
              <a:spLocks/>
            </p:cNvSpPr>
            <p:nvPr userDrawn="1"/>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355">
              <a:extLst>
                <a:ext uri="{FF2B5EF4-FFF2-40B4-BE49-F238E27FC236}">
                  <a16:creationId xmlns:a16="http://schemas.microsoft.com/office/drawing/2014/main" id="{C44C297F-92B1-22D4-502A-79259E7458A5}"/>
                </a:ext>
              </a:extLst>
            </p:cNvPr>
            <p:cNvSpPr>
              <a:spLocks/>
            </p:cNvSpPr>
            <p:nvPr userDrawn="1"/>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356">
              <a:extLst>
                <a:ext uri="{FF2B5EF4-FFF2-40B4-BE49-F238E27FC236}">
                  <a16:creationId xmlns:a16="http://schemas.microsoft.com/office/drawing/2014/main" id="{E01A6673-D900-FD5B-FF72-6671B77E72F4}"/>
                </a:ext>
              </a:extLst>
            </p:cNvPr>
            <p:cNvSpPr>
              <a:spLocks/>
            </p:cNvSpPr>
            <p:nvPr userDrawn="1"/>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357">
              <a:extLst>
                <a:ext uri="{FF2B5EF4-FFF2-40B4-BE49-F238E27FC236}">
                  <a16:creationId xmlns:a16="http://schemas.microsoft.com/office/drawing/2014/main" id="{75AFE58F-ACF9-E400-D45C-0E9B32FB1DC7}"/>
                </a:ext>
              </a:extLst>
            </p:cNvPr>
            <p:cNvSpPr>
              <a:spLocks/>
            </p:cNvSpPr>
            <p:nvPr userDrawn="1"/>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358">
              <a:extLst>
                <a:ext uri="{FF2B5EF4-FFF2-40B4-BE49-F238E27FC236}">
                  <a16:creationId xmlns:a16="http://schemas.microsoft.com/office/drawing/2014/main" id="{758D6F93-821F-4DFA-4EB4-1D059F66DC06}"/>
                </a:ext>
              </a:extLst>
            </p:cNvPr>
            <p:cNvSpPr>
              <a:spLocks/>
            </p:cNvSpPr>
            <p:nvPr userDrawn="1"/>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359">
              <a:extLst>
                <a:ext uri="{FF2B5EF4-FFF2-40B4-BE49-F238E27FC236}">
                  <a16:creationId xmlns:a16="http://schemas.microsoft.com/office/drawing/2014/main" id="{16ACD6D4-EC76-8DF1-B17C-BFFA5324D677}"/>
                </a:ext>
              </a:extLst>
            </p:cNvPr>
            <p:cNvSpPr>
              <a:spLocks/>
            </p:cNvSpPr>
            <p:nvPr userDrawn="1"/>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360">
              <a:extLst>
                <a:ext uri="{FF2B5EF4-FFF2-40B4-BE49-F238E27FC236}">
                  <a16:creationId xmlns:a16="http://schemas.microsoft.com/office/drawing/2014/main" id="{E3E588A0-F31E-5895-4C7A-27F251852B5C}"/>
                </a:ext>
              </a:extLst>
            </p:cNvPr>
            <p:cNvSpPr>
              <a:spLocks/>
            </p:cNvSpPr>
            <p:nvPr userDrawn="1"/>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361">
              <a:extLst>
                <a:ext uri="{FF2B5EF4-FFF2-40B4-BE49-F238E27FC236}">
                  <a16:creationId xmlns:a16="http://schemas.microsoft.com/office/drawing/2014/main" id="{15C565AF-E5F0-BC17-D0A0-FD70C9C2BEF8}"/>
                </a:ext>
              </a:extLst>
            </p:cNvPr>
            <p:cNvSpPr>
              <a:spLocks/>
            </p:cNvSpPr>
            <p:nvPr userDrawn="1"/>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Source">
            <a:extLst>
              <a:ext uri="{FF2B5EF4-FFF2-40B4-BE49-F238E27FC236}">
                <a16:creationId xmlns:a16="http://schemas.microsoft.com/office/drawing/2014/main" id="{CC5131E8-D33B-E461-8251-079DFAFF93C3}"/>
              </a:ext>
            </a:extLst>
          </p:cNvPr>
          <p:cNvSpPr>
            <a:spLocks noGrp="1"/>
          </p:cNvSpPr>
          <p:nvPr>
            <p:ph sz="quarter" idx="23"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bg1"/>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7" name="Footer Placeholder 6">
            <a:extLst>
              <a:ext uri="{FF2B5EF4-FFF2-40B4-BE49-F238E27FC236}">
                <a16:creationId xmlns:a16="http://schemas.microsoft.com/office/drawing/2014/main" id="{3F1BF62B-5B77-1604-62AE-43CB35793C7E}"/>
              </a:ext>
            </a:extLst>
          </p:cNvPr>
          <p:cNvSpPr>
            <a:spLocks noGrp="1"/>
          </p:cNvSpPr>
          <p:nvPr>
            <p:ph type="ftr" sz="quarter" idx="24"/>
          </p:nvPr>
        </p:nvSpPr>
        <p:spPr/>
        <p:txBody>
          <a:bodyPr/>
          <a:lstStyle>
            <a:lvl1pPr>
              <a:defRPr>
                <a:solidFill>
                  <a:schemeClr val="bg1"/>
                </a:solidFill>
              </a:defRPr>
            </a:lvl1pPr>
          </a:lstStyle>
          <a:p>
            <a:r>
              <a:rPr lang="en-GB"/>
              <a:t>Information Classification: PUBLIC</a:t>
            </a:r>
            <a:endParaRPr lang="en-GB" dirty="0"/>
          </a:p>
        </p:txBody>
      </p:sp>
      <p:pic>
        <p:nvPicPr>
          <p:cNvPr id="8" name="Picture 7">
            <a:extLst>
              <a:ext uri="{FF2B5EF4-FFF2-40B4-BE49-F238E27FC236}">
                <a16:creationId xmlns:a16="http://schemas.microsoft.com/office/drawing/2014/main" id="{9FBDF86A-DD52-10C5-89EC-DF0C02325AEE}"/>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048384111"/>
      </p:ext>
    </p:extLst>
  </p:cSld>
  <p:clrMapOvr>
    <a:masterClrMapping/>
  </p:clrMapOvr>
  <p:transition>
    <p:wip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3 - World map">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576026" y="1439863"/>
            <a:ext cx="3335147" cy="4105275"/>
          </a:xfrm>
          <a:prstGeom prst="rect">
            <a:avLst/>
          </a:prstGeom>
        </p:spPr>
        <p:txBody>
          <a:bodyPr vert="horz" lIns="0" tIns="45720" rIns="0" bIns="45720" rtlCol="0">
            <a:noAutofit/>
          </a:bodyPr>
          <a:lstStyle>
            <a:lvl1pPr>
              <a:defRPr lang="en-US" sz="1323" dirty="0" smtClean="0">
                <a:solidFill>
                  <a:schemeClr val="accent2"/>
                </a:solidFill>
                <a:latin typeface="Avenir Next LT Pro" panose="020B0504020202020204" pitchFamily="34" charset="77"/>
              </a:defRPr>
            </a:lvl1pPr>
            <a:lvl2pPr>
              <a:defRPr lang="en-US" sz="1323" dirty="0" smtClean="0">
                <a:solidFill>
                  <a:schemeClr val="tx2"/>
                </a:solidFill>
                <a:latin typeface="Avenir Next LT Pro" panose="020B0504020202020204" pitchFamily="34" charset="77"/>
              </a:defRPr>
            </a:lvl2pPr>
            <a:lvl3pPr>
              <a:defRPr lang="en-US" sz="1323" dirty="0" smtClean="0">
                <a:solidFill>
                  <a:schemeClr val="tx2"/>
                </a:solidFill>
                <a:latin typeface="Avenir Next LT Pro" panose="020B0504020202020204" pitchFamily="34" charset="77"/>
              </a:defRPr>
            </a:lvl3pPr>
            <a:lvl4pPr>
              <a:defRPr lang="en-US" sz="1323" dirty="0" smtClean="0">
                <a:solidFill>
                  <a:schemeClr val="tx2"/>
                </a:solidFill>
                <a:latin typeface="Avenir Next LT Pro" panose="020B0504020202020204" pitchFamily="34" charset="77"/>
              </a:defRPr>
            </a:lvl4pPr>
            <a:lvl5pPr>
              <a:defRPr lang="en-US" sz="1323" dirty="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1" name="Slide Number Placeholder 150">
            <a:extLst>
              <a:ext uri="{FF2B5EF4-FFF2-40B4-BE49-F238E27FC236}">
                <a16:creationId xmlns:a16="http://schemas.microsoft.com/office/drawing/2014/main" id="{43386CE1-05E2-D931-932B-D87065344556}"/>
              </a:ext>
            </a:extLst>
          </p:cNvPr>
          <p:cNvSpPr>
            <a:spLocks noGrp="1"/>
          </p:cNvSpPr>
          <p:nvPr>
            <p:ph type="sldNum" sz="quarter" idx="20"/>
          </p:nvPr>
        </p:nvSpPr>
        <p:spPr/>
        <p:txBody>
          <a:bodyPr/>
          <a:lstStyle/>
          <a:p>
            <a:fld id="{0F961903-03AF-4EAC-BF2C-945F8C5557D1}" type="slidenum">
              <a:rPr lang="en-GB" smtClean="0"/>
              <a:pPr/>
              <a:t>‹#›</a:t>
            </a:fld>
            <a:endParaRPr lang="en-GB" dirty="0"/>
          </a:p>
        </p:txBody>
      </p:sp>
      <p:sp>
        <p:nvSpPr>
          <p:cNvPr id="152" name="Text Placeholder 5">
            <a:extLst>
              <a:ext uri="{FF2B5EF4-FFF2-40B4-BE49-F238E27FC236}">
                <a16:creationId xmlns:a16="http://schemas.microsoft.com/office/drawing/2014/main" id="{64EA2A4F-7777-B7FD-9AA6-CB50B6A89BD9}"/>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53" name="Title 7">
            <a:extLst>
              <a:ext uri="{FF2B5EF4-FFF2-40B4-BE49-F238E27FC236}">
                <a16:creationId xmlns:a16="http://schemas.microsoft.com/office/drawing/2014/main" id="{AE8D1C77-A1D1-A910-2F7F-37CF9C254EEA}"/>
              </a:ext>
            </a:extLst>
          </p:cNvPr>
          <p:cNvSpPr>
            <a:spLocks noGrp="1"/>
          </p:cNvSpPr>
          <p:nvPr>
            <p:ph type="title"/>
          </p:nvPr>
        </p:nvSpPr>
        <p:spPr>
          <a:xfrm>
            <a:off x="576263" y="576263"/>
            <a:ext cx="10367962" cy="360000"/>
          </a:xfrm>
        </p:spPr>
        <p:txBody>
          <a:bodyPr/>
          <a:lstStyle/>
          <a:p>
            <a:r>
              <a:rPr lang="en-US" dirty="0"/>
              <a:t>Click to edit Master title style</a:t>
            </a:r>
            <a:endParaRPr lang="en-GB" dirty="0"/>
          </a:p>
        </p:txBody>
      </p:sp>
      <p:sp>
        <p:nvSpPr>
          <p:cNvPr id="2" name="Text Placeholder 7">
            <a:extLst>
              <a:ext uri="{FF2B5EF4-FFF2-40B4-BE49-F238E27FC236}">
                <a16:creationId xmlns:a16="http://schemas.microsoft.com/office/drawing/2014/main" id="{66518DB6-27B5-2EB1-87E3-5D9C93DE429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grpSp>
        <p:nvGrpSpPr>
          <p:cNvPr id="435" name="Group 434">
            <a:extLst>
              <a:ext uri="{FF2B5EF4-FFF2-40B4-BE49-F238E27FC236}">
                <a16:creationId xmlns:a16="http://schemas.microsoft.com/office/drawing/2014/main" id="{B6689FAD-8D13-C9DA-840F-18383AB3CAF1}"/>
              </a:ext>
            </a:extLst>
          </p:cNvPr>
          <p:cNvGrpSpPr/>
          <p:nvPr userDrawn="1"/>
        </p:nvGrpSpPr>
        <p:grpSpPr>
          <a:xfrm>
            <a:off x="3665692" y="1472231"/>
            <a:ext cx="7567458" cy="4431682"/>
            <a:chOff x="405196" y="330205"/>
            <a:chExt cx="11378455" cy="6197686"/>
          </a:xfrm>
          <a:solidFill>
            <a:srgbClr val="C4C5C6"/>
          </a:solidFill>
        </p:grpSpPr>
        <p:grpSp>
          <p:nvGrpSpPr>
            <p:cNvPr id="436" name="Group 205">
              <a:extLst>
                <a:ext uri="{FF2B5EF4-FFF2-40B4-BE49-F238E27FC236}">
                  <a16:creationId xmlns:a16="http://schemas.microsoft.com/office/drawing/2014/main" id="{F1FC5B10-D575-F8AF-E23B-959A447F688A}"/>
                </a:ext>
              </a:extLst>
            </p:cNvPr>
            <p:cNvGrpSpPr>
              <a:grpSpLocks/>
            </p:cNvGrpSpPr>
            <p:nvPr userDrawn="1"/>
          </p:nvGrpSpPr>
          <p:grpSpPr bwMode="auto">
            <a:xfrm>
              <a:off x="2176455" y="418231"/>
              <a:ext cx="9565878" cy="5728817"/>
              <a:chOff x="1003" y="129"/>
              <a:chExt cx="5325" cy="3189"/>
            </a:xfrm>
            <a:grpFill/>
          </p:grpSpPr>
          <p:sp>
            <p:nvSpPr>
              <p:cNvPr id="593" name="Freeform 5">
                <a:extLst>
                  <a:ext uri="{FF2B5EF4-FFF2-40B4-BE49-F238E27FC236}">
                    <a16:creationId xmlns:a16="http://schemas.microsoft.com/office/drawing/2014/main" id="{FC9016DE-BE19-2C05-0F34-D1F4217646EA}"/>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Freeform 6">
                <a:extLst>
                  <a:ext uri="{FF2B5EF4-FFF2-40B4-BE49-F238E27FC236}">
                    <a16:creationId xmlns:a16="http://schemas.microsoft.com/office/drawing/2014/main" id="{7BDDB7E6-0B5B-4D6E-6A86-827C816873F3}"/>
                  </a:ext>
                </a:extLst>
              </p:cNvPr>
              <p:cNvSpPr>
                <a:spLocks/>
              </p:cNvSpPr>
              <p:nvPr userDrawn="1"/>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5" name="Freeform 7">
                <a:extLst>
                  <a:ext uri="{FF2B5EF4-FFF2-40B4-BE49-F238E27FC236}">
                    <a16:creationId xmlns:a16="http://schemas.microsoft.com/office/drawing/2014/main" id="{0BA2F75D-444A-0F04-C0D8-BC2443CB52ED}"/>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Freeform 8">
                <a:extLst>
                  <a:ext uri="{FF2B5EF4-FFF2-40B4-BE49-F238E27FC236}">
                    <a16:creationId xmlns:a16="http://schemas.microsoft.com/office/drawing/2014/main" id="{9EAEFBD9-2F0D-67B1-CE43-A7103629AEBB}"/>
                  </a:ext>
                </a:extLst>
              </p:cNvPr>
              <p:cNvSpPr>
                <a:spLocks/>
              </p:cNvSpPr>
              <p:nvPr userDrawn="1"/>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7" name="Freeform 9">
                <a:extLst>
                  <a:ext uri="{FF2B5EF4-FFF2-40B4-BE49-F238E27FC236}">
                    <a16:creationId xmlns:a16="http://schemas.microsoft.com/office/drawing/2014/main" id="{5EDACF68-94DE-8F00-F22C-C301EBFEC58A}"/>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Freeform 10">
                <a:extLst>
                  <a:ext uri="{FF2B5EF4-FFF2-40B4-BE49-F238E27FC236}">
                    <a16:creationId xmlns:a16="http://schemas.microsoft.com/office/drawing/2014/main" id="{00FA0A2D-B27E-F2CD-AB49-6D6A8A796287}"/>
                  </a:ext>
                </a:extLst>
              </p:cNvPr>
              <p:cNvSpPr>
                <a:spLocks/>
              </p:cNvSpPr>
              <p:nvPr userDrawn="1"/>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9" name="Freeform 11">
                <a:extLst>
                  <a:ext uri="{FF2B5EF4-FFF2-40B4-BE49-F238E27FC236}">
                    <a16:creationId xmlns:a16="http://schemas.microsoft.com/office/drawing/2014/main" id="{6BCD7CFE-D657-8F9C-4ECB-6AE210664D0A}"/>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Freeform 12">
                <a:extLst>
                  <a:ext uri="{FF2B5EF4-FFF2-40B4-BE49-F238E27FC236}">
                    <a16:creationId xmlns:a16="http://schemas.microsoft.com/office/drawing/2014/main" id="{B09246FA-5CE8-EB5B-92CE-806C6CE6780E}"/>
                  </a:ext>
                </a:extLst>
              </p:cNvPr>
              <p:cNvSpPr>
                <a:spLocks/>
              </p:cNvSpPr>
              <p:nvPr userDrawn="1"/>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Freeform 13">
                <a:extLst>
                  <a:ext uri="{FF2B5EF4-FFF2-40B4-BE49-F238E27FC236}">
                    <a16:creationId xmlns:a16="http://schemas.microsoft.com/office/drawing/2014/main" id="{D1753BA4-262B-4125-5CBF-31BEE625EB24}"/>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Freeform 14">
                <a:extLst>
                  <a:ext uri="{FF2B5EF4-FFF2-40B4-BE49-F238E27FC236}">
                    <a16:creationId xmlns:a16="http://schemas.microsoft.com/office/drawing/2014/main" id="{420D186D-7D78-65A2-139E-BEB6B063B83A}"/>
                  </a:ext>
                </a:extLst>
              </p:cNvPr>
              <p:cNvSpPr>
                <a:spLocks noEditPoints="1"/>
              </p:cNvSpPr>
              <p:nvPr userDrawn="1"/>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Freeform 15">
                <a:extLst>
                  <a:ext uri="{FF2B5EF4-FFF2-40B4-BE49-F238E27FC236}">
                    <a16:creationId xmlns:a16="http://schemas.microsoft.com/office/drawing/2014/main" id="{06D08FF6-FA93-8C45-02B6-51BCA2F70EF2}"/>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Freeform 16">
                <a:extLst>
                  <a:ext uri="{FF2B5EF4-FFF2-40B4-BE49-F238E27FC236}">
                    <a16:creationId xmlns:a16="http://schemas.microsoft.com/office/drawing/2014/main" id="{E63DF229-EF33-CDF0-D837-A49FD2B4B86C}"/>
                  </a:ext>
                </a:extLst>
              </p:cNvPr>
              <p:cNvSpPr>
                <a:spLocks/>
              </p:cNvSpPr>
              <p:nvPr userDrawn="1"/>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Freeform 17">
                <a:extLst>
                  <a:ext uri="{FF2B5EF4-FFF2-40B4-BE49-F238E27FC236}">
                    <a16:creationId xmlns:a16="http://schemas.microsoft.com/office/drawing/2014/main" id="{E8A798C2-A633-A994-3804-AE43AA29AA1A}"/>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Freeform 18">
                <a:extLst>
                  <a:ext uri="{FF2B5EF4-FFF2-40B4-BE49-F238E27FC236}">
                    <a16:creationId xmlns:a16="http://schemas.microsoft.com/office/drawing/2014/main" id="{D416119F-EB30-6653-3E03-55A414C723C0}"/>
                  </a:ext>
                </a:extLst>
              </p:cNvPr>
              <p:cNvSpPr>
                <a:spLocks noEditPoints="1"/>
              </p:cNvSpPr>
              <p:nvPr userDrawn="1"/>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7" name="Freeform 19">
                <a:extLst>
                  <a:ext uri="{FF2B5EF4-FFF2-40B4-BE49-F238E27FC236}">
                    <a16:creationId xmlns:a16="http://schemas.microsoft.com/office/drawing/2014/main" id="{1E8C80BC-279B-6B19-2E2B-863A32EF1EC9}"/>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8" name="Freeform 20">
                <a:extLst>
                  <a:ext uri="{FF2B5EF4-FFF2-40B4-BE49-F238E27FC236}">
                    <a16:creationId xmlns:a16="http://schemas.microsoft.com/office/drawing/2014/main" id="{02705EF1-F786-9948-1BA7-692B8C5A9CC6}"/>
                  </a:ext>
                </a:extLst>
              </p:cNvPr>
              <p:cNvSpPr>
                <a:spLocks noEditPoints="1"/>
              </p:cNvSpPr>
              <p:nvPr userDrawn="1"/>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9" name="Freeform 21">
                <a:extLst>
                  <a:ext uri="{FF2B5EF4-FFF2-40B4-BE49-F238E27FC236}">
                    <a16:creationId xmlns:a16="http://schemas.microsoft.com/office/drawing/2014/main" id="{D2306735-B07C-406A-1881-B9B8F534456A}"/>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0" name="Freeform 22">
                <a:extLst>
                  <a:ext uri="{FF2B5EF4-FFF2-40B4-BE49-F238E27FC236}">
                    <a16:creationId xmlns:a16="http://schemas.microsoft.com/office/drawing/2014/main" id="{7CF452A5-3D40-7D0E-5EF1-81E8A52EB425}"/>
                  </a:ext>
                </a:extLst>
              </p:cNvPr>
              <p:cNvSpPr>
                <a:spLocks noEditPoints="1"/>
              </p:cNvSpPr>
              <p:nvPr userDrawn="1"/>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23">
                <a:extLst>
                  <a:ext uri="{FF2B5EF4-FFF2-40B4-BE49-F238E27FC236}">
                    <a16:creationId xmlns:a16="http://schemas.microsoft.com/office/drawing/2014/main" id="{3A20CF0D-A9F6-70BF-8474-6379302F69C2}"/>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24">
                <a:extLst>
                  <a:ext uri="{FF2B5EF4-FFF2-40B4-BE49-F238E27FC236}">
                    <a16:creationId xmlns:a16="http://schemas.microsoft.com/office/drawing/2014/main" id="{D31B8EC2-7186-9F62-11F9-0160146B37D2}"/>
                  </a:ext>
                </a:extLst>
              </p:cNvPr>
              <p:cNvSpPr>
                <a:spLocks/>
              </p:cNvSpPr>
              <p:nvPr userDrawn="1"/>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25">
                <a:extLst>
                  <a:ext uri="{FF2B5EF4-FFF2-40B4-BE49-F238E27FC236}">
                    <a16:creationId xmlns:a16="http://schemas.microsoft.com/office/drawing/2014/main" id="{EC1238F6-99A6-7B55-F9FD-AE8C02B38A26}"/>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Freeform 26">
                <a:extLst>
                  <a:ext uri="{FF2B5EF4-FFF2-40B4-BE49-F238E27FC236}">
                    <a16:creationId xmlns:a16="http://schemas.microsoft.com/office/drawing/2014/main" id="{320306F7-3258-B4B6-14A2-222F771543AC}"/>
                  </a:ext>
                </a:extLst>
              </p:cNvPr>
              <p:cNvSpPr>
                <a:spLocks noEditPoints="1"/>
              </p:cNvSpPr>
              <p:nvPr userDrawn="1"/>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5" name="Freeform 27">
                <a:extLst>
                  <a:ext uri="{FF2B5EF4-FFF2-40B4-BE49-F238E27FC236}">
                    <a16:creationId xmlns:a16="http://schemas.microsoft.com/office/drawing/2014/main" id="{F79C98FA-9D1D-56CE-1968-6A63D6575C78}"/>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Freeform 28">
                <a:extLst>
                  <a:ext uri="{FF2B5EF4-FFF2-40B4-BE49-F238E27FC236}">
                    <a16:creationId xmlns:a16="http://schemas.microsoft.com/office/drawing/2014/main" id="{4B2F8682-A41B-83B3-45DA-55201DBFCCD7}"/>
                  </a:ext>
                </a:extLst>
              </p:cNvPr>
              <p:cNvSpPr>
                <a:spLocks/>
              </p:cNvSpPr>
              <p:nvPr userDrawn="1"/>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7" name="Freeform 29">
                <a:extLst>
                  <a:ext uri="{FF2B5EF4-FFF2-40B4-BE49-F238E27FC236}">
                    <a16:creationId xmlns:a16="http://schemas.microsoft.com/office/drawing/2014/main" id="{411B8452-5930-7DAE-D43E-2163A16975FF}"/>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30">
                <a:extLst>
                  <a:ext uri="{FF2B5EF4-FFF2-40B4-BE49-F238E27FC236}">
                    <a16:creationId xmlns:a16="http://schemas.microsoft.com/office/drawing/2014/main" id="{8DCE9747-ACE4-4949-3C14-9F0F26574D89}"/>
                  </a:ext>
                </a:extLst>
              </p:cNvPr>
              <p:cNvSpPr>
                <a:spLocks noEditPoints="1"/>
              </p:cNvSpPr>
              <p:nvPr userDrawn="1"/>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Freeform 31">
                <a:extLst>
                  <a:ext uri="{FF2B5EF4-FFF2-40B4-BE49-F238E27FC236}">
                    <a16:creationId xmlns:a16="http://schemas.microsoft.com/office/drawing/2014/main" id="{C7A6CAC6-7FDB-131B-1DED-A709B411349E}"/>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0" name="Freeform 32">
                <a:extLst>
                  <a:ext uri="{FF2B5EF4-FFF2-40B4-BE49-F238E27FC236}">
                    <a16:creationId xmlns:a16="http://schemas.microsoft.com/office/drawing/2014/main" id="{291B504A-F025-FB60-2F67-D215C8BEEF38}"/>
                  </a:ext>
                </a:extLst>
              </p:cNvPr>
              <p:cNvSpPr>
                <a:spLocks/>
              </p:cNvSpPr>
              <p:nvPr userDrawn="1"/>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Freeform 33">
                <a:extLst>
                  <a:ext uri="{FF2B5EF4-FFF2-40B4-BE49-F238E27FC236}">
                    <a16:creationId xmlns:a16="http://schemas.microsoft.com/office/drawing/2014/main" id="{B0237C2D-18AE-1A00-A368-3F0D8AB5FFAF}"/>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2" name="Freeform 34">
                <a:extLst>
                  <a:ext uri="{FF2B5EF4-FFF2-40B4-BE49-F238E27FC236}">
                    <a16:creationId xmlns:a16="http://schemas.microsoft.com/office/drawing/2014/main" id="{96F0AF4A-4FB1-6DA8-2475-46D4ACEA5FEA}"/>
                  </a:ext>
                </a:extLst>
              </p:cNvPr>
              <p:cNvSpPr>
                <a:spLocks noEditPoints="1"/>
              </p:cNvSpPr>
              <p:nvPr userDrawn="1"/>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Freeform 35">
                <a:extLst>
                  <a:ext uri="{FF2B5EF4-FFF2-40B4-BE49-F238E27FC236}">
                    <a16:creationId xmlns:a16="http://schemas.microsoft.com/office/drawing/2014/main" id="{B859F20F-3419-EDCE-7E34-B5125EC19BE8}"/>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4" name="Freeform 36">
                <a:extLst>
                  <a:ext uri="{FF2B5EF4-FFF2-40B4-BE49-F238E27FC236}">
                    <a16:creationId xmlns:a16="http://schemas.microsoft.com/office/drawing/2014/main" id="{0DE45D7B-B379-8C5A-2093-7F7396A929CE}"/>
                  </a:ext>
                </a:extLst>
              </p:cNvPr>
              <p:cNvSpPr>
                <a:spLocks noEditPoints="1"/>
              </p:cNvSpPr>
              <p:nvPr userDrawn="1"/>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Freeform 37">
                <a:extLst>
                  <a:ext uri="{FF2B5EF4-FFF2-40B4-BE49-F238E27FC236}">
                    <a16:creationId xmlns:a16="http://schemas.microsoft.com/office/drawing/2014/main" id="{F41A5CC2-FB24-1CF8-8EC1-1B7733C9804D}"/>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Freeform 38">
                <a:extLst>
                  <a:ext uri="{FF2B5EF4-FFF2-40B4-BE49-F238E27FC236}">
                    <a16:creationId xmlns:a16="http://schemas.microsoft.com/office/drawing/2014/main" id="{C586F99B-7B76-0843-2C25-11EC0D0618DA}"/>
                  </a:ext>
                </a:extLst>
              </p:cNvPr>
              <p:cNvSpPr>
                <a:spLocks noEditPoints="1"/>
              </p:cNvSpPr>
              <p:nvPr userDrawn="1"/>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Freeform 39">
                <a:extLst>
                  <a:ext uri="{FF2B5EF4-FFF2-40B4-BE49-F238E27FC236}">
                    <a16:creationId xmlns:a16="http://schemas.microsoft.com/office/drawing/2014/main" id="{956F631C-C12A-932B-0353-B5F8F9B4CA1D}"/>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Freeform 40">
                <a:extLst>
                  <a:ext uri="{FF2B5EF4-FFF2-40B4-BE49-F238E27FC236}">
                    <a16:creationId xmlns:a16="http://schemas.microsoft.com/office/drawing/2014/main" id="{0C19AE0B-0383-FCE0-2285-39BD6F3D07ED}"/>
                  </a:ext>
                </a:extLst>
              </p:cNvPr>
              <p:cNvSpPr>
                <a:spLocks noEditPoints="1"/>
              </p:cNvSpPr>
              <p:nvPr userDrawn="1"/>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Freeform 41">
                <a:extLst>
                  <a:ext uri="{FF2B5EF4-FFF2-40B4-BE49-F238E27FC236}">
                    <a16:creationId xmlns:a16="http://schemas.microsoft.com/office/drawing/2014/main" id="{698C7C9C-4D59-915A-C6B6-EAD7391E2D00}"/>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Freeform 42">
                <a:extLst>
                  <a:ext uri="{FF2B5EF4-FFF2-40B4-BE49-F238E27FC236}">
                    <a16:creationId xmlns:a16="http://schemas.microsoft.com/office/drawing/2014/main" id="{E74C2FF2-F7E0-6177-4179-8D9BFAF40939}"/>
                  </a:ext>
                </a:extLst>
              </p:cNvPr>
              <p:cNvSpPr>
                <a:spLocks/>
              </p:cNvSpPr>
              <p:nvPr userDrawn="1"/>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43">
                <a:extLst>
                  <a:ext uri="{FF2B5EF4-FFF2-40B4-BE49-F238E27FC236}">
                    <a16:creationId xmlns:a16="http://schemas.microsoft.com/office/drawing/2014/main" id="{30B597C5-A2BC-68C0-21D6-057BAB4C03AB}"/>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44">
                <a:extLst>
                  <a:ext uri="{FF2B5EF4-FFF2-40B4-BE49-F238E27FC236}">
                    <a16:creationId xmlns:a16="http://schemas.microsoft.com/office/drawing/2014/main" id="{AEBED901-B722-50FD-8D94-6A959E53599E}"/>
                  </a:ext>
                </a:extLst>
              </p:cNvPr>
              <p:cNvSpPr>
                <a:spLocks/>
              </p:cNvSpPr>
              <p:nvPr userDrawn="1"/>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45">
                <a:extLst>
                  <a:ext uri="{FF2B5EF4-FFF2-40B4-BE49-F238E27FC236}">
                    <a16:creationId xmlns:a16="http://schemas.microsoft.com/office/drawing/2014/main" id="{E2E351F6-8E63-FA25-CBBC-0AA4047AE405}"/>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46">
                <a:extLst>
                  <a:ext uri="{FF2B5EF4-FFF2-40B4-BE49-F238E27FC236}">
                    <a16:creationId xmlns:a16="http://schemas.microsoft.com/office/drawing/2014/main" id="{924DC873-881C-9A09-FFB5-BE465AF06624}"/>
                  </a:ext>
                </a:extLst>
              </p:cNvPr>
              <p:cNvSpPr>
                <a:spLocks/>
              </p:cNvSpPr>
              <p:nvPr userDrawn="1"/>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Freeform 47">
                <a:extLst>
                  <a:ext uri="{FF2B5EF4-FFF2-40B4-BE49-F238E27FC236}">
                    <a16:creationId xmlns:a16="http://schemas.microsoft.com/office/drawing/2014/main" id="{7CE4EC01-4AFA-95B2-542B-5EFB63458459}"/>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6" name="Freeform 48">
                <a:extLst>
                  <a:ext uri="{FF2B5EF4-FFF2-40B4-BE49-F238E27FC236}">
                    <a16:creationId xmlns:a16="http://schemas.microsoft.com/office/drawing/2014/main" id="{0D29C65A-917E-1BBF-46B3-3B3F4ED89667}"/>
                  </a:ext>
                </a:extLst>
              </p:cNvPr>
              <p:cNvSpPr>
                <a:spLocks noEditPoints="1"/>
              </p:cNvSpPr>
              <p:nvPr userDrawn="1"/>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Freeform 49">
                <a:extLst>
                  <a:ext uri="{FF2B5EF4-FFF2-40B4-BE49-F238E27FC236}">
                    <a16:creationId xmlns:a16="http://schemas.microsoft.com/office/drawing/2014/main" id="{B8B10B1A-E65B-97D8-0D5E-6EDBA1ED435C}"/>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8" name="Freeform 50">
                <a:extLst>
                  <a:ext uri="{FF2B5EF4-FFF2-40B4-BE49-F238E27FC236}">
                    <a16:creationId xmlns:a16="http://schemas.microsoft.com/office/drawing/2014/main" id="{1F0EE9AE-FED1-3579-89D0-6A8D6974D267}"/>
                  </a:ext>
                </a:extLst>
              </p:cNvPr>
              <p:cNvSpPr>
                <a:spLocks noEditPoints="1"/>
              </p:cNvSpPr>
              <p:nvPr userDrawn="1"/>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51">
                <a:extLst>
                  <a:ext uri="{FF2B5EF4-FFF2-40B4-BE49-F238E27FC236}">
                    <a16:creationId xmlns:a16="http://schemas.microsoft.com/office/drawing/2014/main" id="{08EEA1D3-8C0D-B08F-EF7B-57FAB1F7229E}"/>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Freeform 52">
                <a:extLst>
                  <a:ext uri="{FF2B5EF4-FFF2-40B4-BE49-F238E27FC236}">
                    <a16:creationId xmlns:a16="http://schemas.microsoft.com/office/drawing/2014/main" id="{ABA3F798-6A9A-DAC1-BB98-E964AE520144}"/>
                  </a:ext>
                </a:extLst>
              </p:cNvPr>
              <p:cNvSpPr>
                <a:spLocks/>
              </p:cNvSpPr>
              <p:nvPr userDrawn="1"/>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1" name="Freeform 53">
                <a:extLst>
                  <a:ext uri="{FF2B5EF4-FFF2-40B4-BE49-F238E27FC236}">
                    <a16:creationId xmlns:a16="http://schemas.microsoft.com/office/drawing/2014/main" id="{9BF626B9-2F64-BB51-3E84-5EA76F444E47}"/>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Freeform 54">
                <a:extLst>
                  <a:ext uri="{FF2B5EF4-FFF2-40B4-BE49-F238E27FC236}">
                    <a16:creationId xmlns:a16="http://schemas.microsoft.com/office/drawing/2014/main" id="{6C145DC7-01B8-7BCB-59C6-F62EC17BF987}"/>
                  </a:ext>
                </a:extLst>
              </p:cNvPr>
              <p:cNvSpPr>
                <a:spLocks/>
              </p:cNvSpPr>
              <p:nvPr userDrawn="1"/>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3" name="Freeform 55">
                <a:extLst>
                  <a:ext uri="{FF2B5EF4-FFF2-40B4-BE49-F238E27FC236}">
                    <a16:creationId xmlns:a16="http://schemas.microsoft.com/office/drawing/2014/main" id="{FFC4C4F7-110C-89FA-437F-D6527C028770}"/>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Freeform 56">
                <a:extLst>
                  <a:ext uri="{FF2B5EF4-FFF2-40B4-BE49-F238E27FC236}">
                    <a16:creationId xmlns:a16="http://schemas.microsoft.com/office/drawing/2014/main" id="{625F379F-2091-7137-F72D-35F30BC8E679}"/>
                  </a:ext>
                </a:extLst>
              </p:cNvPr>
              <p:cNvSpPr>
                <a:spLocks/>
              </p:cNvSpPr>
              <p:nvPr userDrawn="1"/>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5" name="Freeform 57">
                <a:extLst>
                  <a:ext uri="{FF2B5EF4-FFF2-40B4-BE49-F238E27FC236}">
                    <a16:creationId xmlns:a16="http://schemas.microsoft.com/office/drawing/2014/main" id="{27A94964-F71C-293D-7490-9E7C12EB2BB4}"/>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Freeform 58">
                <a:extLst>
                  <a:ext uri="{FF2B5EF4-FFF2-40B4-BE49-F238E27FC236}">
                    <a16:creationId xmlns:a16="http://schemas.microsoft.com/office/drawing/2014/main" id="{5326A694-3087-E538-4884-5A49D4E42F20}"/>
                  </a:ext>
                </a:extLst>
              </p:cNvPr>
              <p:cNvSpPr>
                <a:spLocks/>
              </p:cNvSpPr>
              <p:nvPr userDrawn="1"/>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Freeform 59">
                <a:extLst>
                  <a:ext uri="{FF2B5EF4-FFF2-40B4-BE49-F238E27FC236}">
                    <a16:creationId xmlns:a16="http://schemas.microsoft.com/office/drawing/2014/main" id="{5FD1CE17-7089-92AB-62BC-19E5B0B7D023}"/>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Freeform 60">
                <a:extLst>
                  <a:ext uri="{FF2B5EF4-FFF2-40B4-BE49-F238E27FC236}">
                    <a16:creationId xmlns:a16="http://schemas.microsoft.com/office/drawing/2014/main" id="{F440FCF3-C962-D1E5-A711-2C68D2531EE7}"/>
                  </a:ext>
                </a:extLst>
              </p:cNvPr>
              <p:cNvSpPr>
                <a:spLocks noEditPoints="1"/>
              </p:cNvSpPr>
              <p:nvPr userDrawn="1"/>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Freeform 61">
                <a:extLst>
                  <a:ext uri="{FF2B5EF4-FFF2-40B4-BE49-F238E27FC236}">
                    <a16:creationId xmlns:a16="http://schemas.microsoft.com/office/drawing/2014/main" id="{3069DF5A-56F5-6E3C-48E4-FE7D5E40E1A1}"/>
                  </a:ext>
                </a:extLst>
              </p:cNvPr>
              <p:cNvSpPr>
                <a:spLocks/>
              </p:cNvSpPr>
              <p:nvPr userDrawn="1"/>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Freeform 62">
                <a:extLst>
                  <a:ext uri="{FF2B5EF4-FFF2-40B4-BE49-F238E27FC236}">
                    <a16:creationId xmlns:a16="http://schemas.microsoft.com/office/drawing/2014/main" id="{1D4D1067-6353-E8B4-0F11-964ADDF6CB8E}"/>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Freeform 63">
                <a:extLst>
                  <a:ext uri="{FF2B5EF4-FFF2-40B4-BE49-F238E27FC236}">
                    <a16:creationId xmlns:a16="http://schemas.microsoft.com/office/drawing/2014/main" id="{84FE6A9F-D46F-FF8E-3706-7C806D502995}"/>
                  </a:ext>
                </a:extLst>
              </p:cNvPr>
              <p:cNvSpPr>
                <a:spLocks/>
              </p:cNvSpPr>
              <p:nvPr userDrawn="1"/>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Freeform 64">
                <a:extLst>
                  <a:ext uri="{FF2B5EF4-FFF2-40B4-BE49-F238E27FC236}">
                    <a16:creationId xmlns:a16="http://schemas.microsoft.com/office/drawing/2014/main" id="{C1AE2401-B4AD-4A21-2FE9-066C689F8A98}"/>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3" name="Freeform 65">
                <a:extLst>
                  <a:ext uri="{FF2B5EF4-FFF2-40B4-BE49-F238E27FC236}">
                    <a16:creationId xmlns:a16="http://schemas.microsoft.com/office/drawing/2014/main" id="{C32AD6B6-D9E2-455E-2659-B865C26B14A7}"/>
                  </a:ext>
                </a:extLst>
              </p:cNvPr>
              <p:cNvSpPr>
                <a:spLocks noEditPoints="1"/>
              </p:cNvSpPr>
              <p:nvPr userDrawn="1"/>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4" name="Freeform 66">
                <a:extLst>
                  <a:ext uri="{FF2B5EF4-FFF2-40B4-BE49-F238E27FC236}">
                    <a16:creationId xmlns:a16="http://schemas.microsoft.com/office/drawing/2014/main" id="{DF0CD728-2811-13F8-D72B-AAACEF9DA56F}"/>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5" name="Freeform 67">
                <a:extLst>
                  <a:ext uri="{FF2B5EF4-FFF2-40B4-BE49-F238E27FC236}">
                    <a16:creationId xmlns:a16="http://schemas.microsoft.com/office/drawing/2014/main" id="{65CB77BA-07A7-F409-081A-E714D1424D3E}"/>
                  </a:ext>
                </a:extLst>
              </p:cNvPr>
              <p:cNvSpPr>
                <a:spLocks/>
              </p:cNvSpPr>
              <p:nvPr userDrawn="1"/>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6" name="Freeform 68">
                <a:extLst>
                  <a:ext uri="{FF2B5EF4-FFF2-40B4-BE49-F238E27FC236}">
                    <a16:creationId xmlns:a16="http://schemas.microsoft.com/office/drawing/2014/main" id="{4F78642F-AA5C-C7B5-2153-B4AF957DDC1C}"/>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7" name="Freeform 69">
                <a:extLst>
                  <a:ext uri="{FF2B5EF4-FFF2-40B4-BE49-F238E27FC236}">
                    <a16:creationId xmlns:a16="http://schemas.microsoft.com/office/drawing/2014/main" id="{E3F5C9F3-ACED-5C0E-E457-4D6F579FA0EC}"/>
                  </a:ext>
                </a:extLst>
              </p:cNvPr>
              <p:cNvSpPr>
                <a:spLocks noEditPoints="1"/>
              </p:cNvSpPr>
              <p:nvPr userDrawn="1"/>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8" name="Freeform 70">
                <a:extLst>
                  <a:ext uri="{FF2B5EF4-FFF2-40B4-BE49-F238E27FC236}">
                    <a16:creationId xmlns:a16="http://schemas.microsoft.com/office/drawing/2014/main" id="{C1EA5FF8-11AF-4704-9E0D-5780F96B9DD2}"/>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9" name="Freeform 71">
                <a:extLst>
                  <a:ext uri="{FF2B5EF4-FFF2-40B4-BE49-F238E27FC236}">
                    <a16:creationId xmlns:a16="http://schemas.microsoft.com/office/drawing/2014/main" id="{16BE7B78-57A7-1637-CA78-493C38FB450C}"/>
                  </a:ext>
                </a:extLst>
              </p:cNvPr>
              <p:cNvSpPr>
                <a:spLocks noEditPoints="1"/>
              </p:cNvSpPr>
              <p:nvPr userDrawn="1"/>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0" name="Freeform 72">
                <a:extLst>
                  <a:ext uri="{FF2B5EF4-FFF2-40B4-BE49-F238E27FC236}">
                    <a16:creationId xmlns:a16="http://schemas.microsoft.com/office/drawing/2014/main" id="{98AB350E-0986-9D36-BC24-02E32EFA1FD1}"/>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1" name="Freeform 73">
                <a:extLst>
                  <a:ext uri="{FF2B5EF4-FFF2-40B4-BE49-F238E27FC236}">
                    <a16:creationId xmlns:a16="http://schemas.microsoft.com/office/drawing/2014/main" id="{066ABC04-7F2B-9046-2E44-FBA0CA8BC5C8}"/>
                  </a:ext>
                </a:extLst>
              </p:cNvPr>
              <p:cNvSpPr>
                <a:spLocks noEditPoints="1"/>
              </p:cNvSpPr>
              <p:nvPr userDrawn="1"/>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2" name="Freeform 74">
                <a:extLst>
                  <a:ext uri="{FF2B5EF4-FFF2-40B4-BE49-F238E27FC236}">
                    <a16:creationId xmlns:a16="http://schemas.microsoft.com/office/drawing/2014/main" id="{7E5FCC04-4F17-72CA-6ED2-54C4EC64D42B}"/>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3" name="Freeform 75">
                <a:extLst>
                  <a:ext uri="{FF2B5EF4-FFF2-40B4-BE49-F238E27FC236}">
                    <a16:creationId xmlns:a16="http://schemas.microsoft.com/office/drawing/2014/main" id="{B6056EAA-5107-6349-873D-D262948A9623}"/>
                  </a:ext>
                </a:extLst>
              </p:cNvPr>
              <p:cNvSpPr>
                <a:spLocks/>
              </p:cNvSpPr>
              <p:nvPr userDrawn="1"/>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4" name="Freeform 76">
                <a:extLst>
                  <a:ext uri="{FF2B5EF4-FFF2-40B4-BE49-F238E27FC236}">
                    <a16:creationId xmlns:a16="http://schemas.microsoft.com/office/drawing/2014/main" id="{96BA3BBC-5348-E01A-D40A-E3D5BE76EAB6}"/>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5" name="Freeform 77">
                <a:extLst>
                  <a:ext uri="{FF2B5EF4-FFF2-40B4-BE49-F238E27FC236}">
                    <a16:creationId xmlns:a16="http://schemas.microsoft.com/office/drawing/2014/main" id="{0534A375-F45B-F901-D9D5-E95A51036B7C}"/>
                  </a:ext>
                </a:extLst>
              </p:cNvPr>
              <p:cNvSpPr>
                <a:spLocks noEditPoints="1"/>
              </p:cNvSpPr>
              <p:nvPr userDrawn="1"/>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6" name="Freeform 78">
                <a:extLst>
                  <a:ext uri="{FF2B5EF4-FFF2-40B4-BE49-F238E27FC236}">
                    <a16:creationId xmlns:a16="http://schemas.microsoft.com/office/drawing/2014/main" id="{C2C2FEBF-A533-B2B7-8719-EA4CDBE87564}"/>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7" name="Freeform 79">
                <a:extLst>
                  <a:ext uri="{FF2B5EF4-FFF2-40B4-BE49-F238E27FC236}">
                    <a16:creationId xmlns:a16="http://schemas.microsoft.com/office/drawing/2014/main" id="{2BDE5F2D-C27E-A0F7-651C-A2930E59EE0F}"/>
                  </a:ext>
                </a:extLst>
              </p:cNvPr>
              <p:cNvSpPr>
                <a:spLocks/>
              </p:cNvSpPr>
              <p:nvPr userDrawn="1"/>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8" name="Freeform 80">
                <a:extLst>
                  <a:ext uri="{FF2B5EF4-FFF2-40B4-BE49-F238E27FC236}">
                    <a16:creationId xmlns:a16="http://schemas.microsoft.com/office/drawing/2014/main" id="{C7838B47-4915-1D26-4B08-CDD263A384AE}"/>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9" name="Freeform 81">
                <a:extLst>
                  <a:ext uri="{FF2B5EF4-FFF2-40B4-BE49-F238E27FC236}">
                    <a16:creationId xmlns:a16="http://schemas.microsoft.com/office/drawing/2014/main" id="{FECC9EF7-2F96-3DA9-41BF-34BE3E081BF8}"/>
                  </a:ext>
                </a:extLst>
              </p:cNvPr>
              <p:cNvSpPr>
                <a:spLocks/>
              </p:cNvSpPr>
              <p:nvPr userDrawn="1"/>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0" name="Freeform 82">
                <a:extLst>
                  <a:ext uri="{FF2B5EF4-FFF2-40B4-BE49-F238E27FC236}">
                    <a16:creationId xmlns:a16="http://schemas.microsoft.com/office/drawing/2014/main" id="{2DA64822-B503-1ACB-D621-D391CD8B5412}"/>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1" name="Freeform 83">
                <a:extLst>
                  <a:ext uri="{FF2B5EF4-FFF2-40B4-BE49-F238E27FC236}">
                    <a16:creationId xmlns:a16="http://schemas.microsoft.com/office/drawing/2014/main" id="{48EA07AE-9B29-8DD8-A1F3-87F5B2B07086}"/>
                  </a:ext>
                </a:extLst>
              </p:cNvPr>
              <p:cNvSpPr>
                <a:spLocks/>
              </p:cNvSpPr>
              <p:nvPr userDrawn="1"/>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2" name="Freeform 84">
                <a:extLst>
                  <a:ext uri="{FF2B5EF4-FFF2-40B4-BE49-F238E27FC236}">
                    <a16:creationId xmlns:a16="http://schemas.microsoft.com/office/drawing/2014/main" id="{2FCEA4B8-F8F7-B2DD-399A-4BECE5BBDD60}"/>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3" name="Freeform 85">
                <a:extLst>
                  <a:ext uri="{FF2B5EF4-FFF2-40B4-BE49-F238E27FC236}">
                    <a16:creationId xmlns:a16="http://schemas.microsoft.com/office/drawing/2014/main" id="{A23E406D-B14C-3BF0-4FA7-2D05A62C0758}"/>
                  </a:ext>
                </a:extLst>
              </p:cNvPr>
              <p:cNvSpPr>
                <a:spLocks/>
              </p:cNvSpPr>
              <p:nvPr userDrawn="1"/>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4" name="Freeform 86">
                <a:extLst>
                  <a:ext uri="{FF2B5EF4-FFF2-40B4-BE49-F238E27FC236}">
                    <a16:creationId xmlns:a16="http://schemas.microsoft.com/office/drawing/2014/main" id="{3E4F9C53-3C60-8E47-8E5F-17DFA8F7A25D}"/>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5" name="Freeform 87">
                <a:extLst>
                  <a:ext uri="{FF2B5EF4-FFF2-40B4-BE49-F238E27FC236}">
                    <a16:creationId xmlns:a16="http://schemas.microsoft.com/office/drawing/2014/main" id="{FDB02A3B-0022-9CA0-0D72-2F42C9A6C286}"/>
                  </a:ext>
                </a:extLst>
              </p:cNvPr>
              <p:cNvSpPr>
                <a:spLocks/>
              </p:cNvSpPr>
              <p:nvPr userDrawn="1"/>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6" name="Freeform 88">
                <a:extLst>
                  <a:ext uri="{FF2B5EF4-FFF2-40B4-BE49-F238E27FC236}">
                    <a16:creationId xmlns:a16="http://schemas.microsoft.com/office/drawing/2014/main" id="{FEBC0AFB-245A-1D37-0702-1A4C0B8A19E9}"/>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7" name="Freeform 89">
                <a:extLst>
                  <a:ext uri="{FF2B5EF4-FFF2-40B4-BE49-F238E27FC236}">
                    <a16:creationId xmlns:a16="http://schemas.microsoft.com/office/drawing/2014/main" id="{E33E60B2-E2E7-DB1B-1149-9345A406AC00}"/>
                  </a:ext>
                </a:extLst>
              </p:cNvPr>
              <p:cNvSpPr>
                <a:spLocks/>
              </p:cNvSpPr>
              <p:nvPr userDrawn="1"/>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8" name="Freeform 90">
                <a:extLst>
                  <a:ext uri="{FF2B5EF4-FFF2-40B4-BE49-F238E27FC236}">
                    <a16:creationId xmlns:a16="http://schemas.microsoft.com/office/drawing/2014/main" id="{FFDEBA9A-4282-1DEC-BC34-7DCCC3E81C30}"/>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9" name="Freeform 91">
                <a:extLst>
                  <a:ext uri="{FF2B5EF4-FFF2-40B4-BE49-F238E27FC236}">
                    <a16:creationId xmlns:a16="http://schemas.microsoft.com/office/drawing/2014/main" id="{783E25B8-0E30-7AFB-7C50-1DF48A780646}"/>
                  </a:ext>
                </a:extLst>
              </p:cNvPr>
              <p:cNvSpPr>
                <a:spLocks noEditPoints="1"/>
              </p:cNvSpPr>
              <p:nvPr userDrawn="1"/>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0" name="Freeform 92">
                <a:extLst>
                  <a:ext uri="{FF2B5EF4-FFF2-40B4-BE49-F238E27FC236}">
                    <a16:creationId xmlns:a16="http://schemas.microsoft.com/office/drawing/2014/main" id="{5E8A6872-F1A1-72BF-156D-62ECC130A87C}"/>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93">
                <a:extLst>
                  <a:ext uri="{FF2B5EF4-FFF2-40B4-BE49-F238E27FC236}">
                    <a16:creationId xmlns:a16="http://schemas.microsoft.com/office/drawing/2014/main" id="{EE8113C8-2235-C96D-8312-CDA9E315E15F}"/>
                  </a:ext>
                </a:extLst>
              </p:cNvPr>
              <p:cNvSpPr>
                <a:spLocks/>
              </p:cNvSpPr>
              <p:nvPr userDrawn="1"/>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2" name="Freeform 94">
                <a:extLst>
                  <a:ext uri="{FF2B5EF4-FFF2-40B4-BE49-F238E27FC236}">
                    <a16:creationId xmlns:a16="http://schemas.microsoft.com/office/drawing/2014/main" id="{FCDE5E26-72A0-B5B7-CAA0-689D3E286D98}"/>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95">
                <a:extLst>
                  <a:ext uri="{FF2B5EF4-FFF2-40B4-BE49-F238E27FC236}">
                    <a16:creationId xmlns:a16="http://schemas.microsoft.com/office/drawing/2014/main" id="{ADDD1D20-C1C4-E0E7-256C-2A7652A0564D}"/>
                  </a:ext>
                </a:extLst>
              </p:cNvPr>
              <p:cNvSpPr>
                <a:spLocks/>
              </p:cNvSpPr>
              <p:nvPr userDrawn="1"/>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4" name="Freeform 96">
                <a:extLst>
                  <a:ext uri="{FF2B5EF4-FFF2-40B4-BE49-F238E27FC236}">
                    <a16:creationId xmlns:a16="http://schemas.microsoft.com/office/drawing/2014/main" id="{13A84117-35CA-FD38-CC1A-B96F256CFC3C}"/>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97">
                <a:extLst>
                  <a:ext uri="{FF2B5EF4-FFF2-40B4-BE49-F238E27FC236}">
                    <a16:creationId xmlns:a16="http://schemas.microsoft.com/office/drawing/2014/main" id="{C9FF21D8-4358-F148-C063-99A0DE3B51A4}"/>
                  </a:ext>
                </a:extLst>
              </p:cNvPr>
              <p:cNvSpPr>
                <a:spLocks/>
              </p:cNvSpPr>
              <p:nvPr userDrawn="1"/>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6" name="Freeform 98">
                <a:extLst>
                  <a:ext uri="{FF2B5EF4-FFF2-40B4-BE49-F238E27FC236}">
                    <a16:creationId xmlns:a16="http://schemas.microsoft.com/office/drawing/2014/main" id="{C605423F-D0C7-83C4-AB13-E5D512A9ACE9}"/>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99">
                <a:extLst>
                  <a:ext uri="{FF2B5EF4-FFF2-40B4-BE49-F238E27FC236}">
                    <a16:creationId xmlns:a16="http://schemas.microsoft.com/office/drawing/2014/main" id="{70D6683A-4C14-856C-25C8-96069CAC11A4}"/>
                  </a:ext>
                </a:extLst>
              </p:cNvPr>
              <p:cNvSpPr>
                <a:spLocks/>
              </p:cNvSpPr>
              <p:nvPr userDrawn="1"/>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8" name="Freeform 100">
                <a:extLst>
                  <a:ext uri="{FF2B5EF4-FFF2-40B4-BE49-F238E27FC236}">
                    <a16:creationId xmlns:a16="http://schemas.microsoft.com/office/drawing/2014/main" id="{B10C669E-581B-EAA6-BBA2-C75FEE64091D}"/>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101">
                <a:extLst>
                  <a:ext uri="{FF2B5EF4-FFF2-40B4-BE49-F238E27FC236}">
                    <a16:creationId xmlns:a16="http://schemas.microsoft.com/office/drawing/2014/main" id="{3FDA7F96-CEFC-2810-3BE5-57B764378286}"/>
                  </a:ext>
                </a:extLst>
              </p:cNvPr>
              <p:cNvSpPr>
                <a:spLocks/>
              </p:cNvSpPr>
              <p:nvPr userDrawn="1"/>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0" name="Freeform 102">
                <a:extLst>
                  <a:ext uri="{FF2B5EF4-FFF2-40B4-BE49-F238E27FC236}">
                    <a16:creationId xmlns:a16="http://schemas.microsoft.com/office/drawing/2014/main" id="{38AC6921-DBD2-8349-D3FD-6A71EBE073CA}"/>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103">
                <a:extLst>
                  <a:ext uri="{FF2B5EF4-FFF2-40B4-BE49-F238E27FC236}">
                    <a16:creationId xmlns:a16="http://schemas.microsoft.com/office/drawing/2014/main" id="{41E712CA-1EDE-7610-3522-F785310649DA}"/>
                  </a:ext>
                </a:extLst>
              </p:cNvPr>
              <p:cNvSpPr>
                <a:spLocks noEditPoints="1"/>
              </p:cNvSpPr>
              <p:nvPr userDrawn="1"/>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2" name="Freeform 104">
                <a:extLst>
                  <a:ext uri="{FF2B5EF4-FFF2-40B4-BE49-F238E27FC236}">
                    <a16:creationId xmlns:a16="http://schemas.microsoft.com/office/drawing/2014/main" id="{305CE7CD-7A56-CF26-B1BB-9BDB591E889D}"/>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105">
                <a:extLst>
                  <a:ext uri="{FF2B5EF4-FFF2-40B4-BE49-F238E27FC236}">
                    <a16:creationId xmlns:a16="http://schemas.microsoft.com/office/drawing/2014/main" id="{F62125A5-53EA-C791-1D80-00C64B96C5BF}"/>
                  </a:ext>
                </a:extLst>
              </p:cNvPr>
              <p:cNvSpPr>
                <a:spLocks/>
              </p:cNvSpPr>
              <p:nvPr userDrawn="1"/>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4" name="Freeform 106">
                <a:extLst>
                  <a:ext uri="{FF2B5EF4-FFF2-40B4-BE49-F238E27FC236}">
                    <a16:creationId xmlns:a16="http://schemas.microsoft.com/office/drawing/2014/main" id="{1949DFE3-F01C-664F-77D0-1C58403AE430}"/>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107">
                <a:extLst>
                  <a:ext uri="{FF2B5EF4-FFF2-40B4-BE49-F238E27FC236}">
                    <a16:creationId xmlns:a16="http://schemas.microsoft.com/office/drawing/2014/main" id="{5A0CC466-C59E-DE37-C2EA-753138B4B2F2}"/>
                  </a:ext>
                </a:extLst>
              </p:cNvPr>
              <p:cNvSpPr>
                <a:spLocks/>
              </p:cNvSpPr>
              <p:nvPr userDrawn="1"/>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6" name="Freeform 108">
                <a:extLst>
                  <a:ext uri="{FF2B5EF4-FFF2-40B4-BE49-F238E27FC236}">
                    <a16:creationId xmlns:a16="http://schemas.microsoft.com/office/drawing/2014/main" id="{8372704A-A356-3CE7-D3F3-297A773C71F2}"/>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7" name="Freeform 109">
                <a:extLst>
                  <a:ext uri="{FF2B5EF4-FFF2-40B4-BE49-F238E27FC236}">
                    <a16:creationId xmlns:a16="http://schemas.microsoft.com/office/drawing/2014/main" id="{02BD96CA-03FA-DB07-4649-24AC951BA8D9}"/>
                  </a:ext>
                </a:extLst>
              </p:cNvPr>
              <p:cNvSpPr>
                <a:spLocks noEditPoints="1"/>
              </p:cNvSpPr>
              <p:nvPr userDrawn="1"/>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8" name="Freeform 110">
                <a:extLst>
                  <a:ext uri="{FF2B5EF4-FFF2-40B4-BE49-F238E27FC236}">
                    <a16:creationId xmlns:a16="http://schemas.microsoft.com/office/drawing/2014/main" id="{469E0541-5330-5960-4E98-6550A7F5CA6C}"/>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9" name="Freeform 111">
                <a:extLst>
                  <a:ext uri="{FF2B5EF4-FFF2-40B4-BE49-F238E27FC236}">
                    <a16:creationId xmlns:a16="http://schemas.microsoft.com/office/drawing/2014/main" id="{73B6DA19-0825-AC39-59D9-D2B9614F3FB6}"/>
                  </a:ext>
                </a:extLst>
              </p:cNvPr>
              <p:cNvSpPr>
                <a:spLocks noEditPoints="1"/>
              </p:cNvSpPr>
              <p:nvPr userDrawn="1"/>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0" name="Freeform 112">
                <a:extLst>
                  <a:ext uri="{FF2B5EF4-FFF2-40B4-BE49-F238E27FC236}">
                    <a16:creationId xmlns:a16="http://schemas.microsoft.com/office/drawing/2014/main" id="{DEE3EC65-A5F2-A10F-E1A2-D6786AD9C81C}"/>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1" name="Freeform 113">
                <a:extLst>
                  <a:ext uri="{FF2B5EF4-FFF2-40B4-BE49-F238E27FC236}">
                    <a16:creationId xmlns:a16="http://schemas.microsoft.com/office/drawing/2014/main" id="{AA55B4F2-CFBC-5AE5-DC3B-5570DD0181C0}"/>
                  </a:ext>
                </a:extLst>
              </p:cNvPr>
              <p:cNvSpPr>
                <a:spLocks/>
              </p:cNvSpPr>
              <p:nvPr userDrawn="1"/>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02" name="Freeform 114">
                <a:extLst>
                  <a:ext uri="{FF2B5EF4-FFF2-40B4-BE49-F238E27FC236}">
                    <a16:creationId xmlns:a16="http://schemas.microsoft.com/office/drawing/2014/main" id="{56782B98-E330-15F0-FBA9-1462F95AD92C}"/>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3" name="Freeform 115">
                <a:extLst>
                  <a:ext uri="{FF2B5EF4-FFF2-40B4-BE49-F238E27FC236}">
                    <a16:creationId xmlns:a16="http://schemas.microsoft.com/office/drawing/2014/main" id="{AAB2DDDB-E626-B050-62C5-B2F06F783913}"/>
                  </a:ext>
                </a:extLst>
              </p:cNvPr>
              <p:cNvSpPr>
                <a:spLocks noEditPoints="1"/>
              </p:cNvSpPr>
              <p:nvPr userDrawn="1"/>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4" name="Freeform 116">
                <a:extLst>
                  <a:ext uri="{FF2B5EF4-FFF2-40B4-BE49-F238E27FC236}">
                    <a16:creationId xmlns:a16="http://schemas.microsoft.com/office/drawing/2014/main" id="{0AD34220-5F8A-2C9D-6A72-A4847DD9E3F5}"/>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5" name="Freeform 117">
                <a:extLst>
                  <a:ext uri="{FF2B5EF4-FFF2-40B4-BE49-F238E27FC236}">
                    <a16:creationId xmlns:a16="http://schemas.microsoft.com/office/drawing/2014/main" id="{A8057305-ED26-1DD0-CD49-E814BF73BC37}"/>
                  </a:ext>
                </a:extLst>
              </p:cNvPr>
              <p:cNvSpPr>
                <a:spLocks noEditPoints="1"/>
              </p:cNvSpPr>
              <p:nvPr userDrawn="1"/>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6" name="Freeform 118">
                <a:extLst>
                  <a:ext uri="{FF2B5EF4-FFF2-40B4-BE49-F238E27FC236}">
                    <a16:creationId xmlns:a16="http://schemas.microsoft.com/office/drawing/2014/main" id="{58DEDAB8-3170-03DC-7CD5-9EFB7D429D0A}"/>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7" name="Freeform 119">
                <a:extLst>
                  <a:ext uri="{FF2B5EF4-FFF2-40B4-BE49-F238E27FC236}">
                    <a16:creationId xmlns:a16="http://schemas.microsoft.com/office/drawing/2014/main" id="{71F57589-61A6-BA0A-CC7D-2BB577D7D50A}"/>
                  </a:ext>
                </a:extLst>
              </p:cNvPr>
              <p:cNvSpPr>
                <a:spLocks/>
              </p:cNvSpPr>
              <p:nvPr userDrawn="1"/>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8" name="Freeform 120">
                <a:extLst>
                  <a:ext uri="{FF2B5EF4-FFF2-40B4-BE49-F238E27FC236}">
                    <a16:creationId xmlns:a16="http://schemas.microsoft.com/office/drawing/2014/main" id="{5041D032-E416-0A7F-4414-32693540A40E}"/>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9" name="Freeform 121">
                <a:extLst>
                  <a:ext uri="{FF2B5EF4-FFF2-40B4-BE49-F238E27FC236}">
                    <a16:creationId xmlns:a16="http://schemas.microsoft.com/office/drawing/2014/main" id="{2F915168-3DB2-E881-A076-4851C5BCCAC1}"/>
                  </a:ext>
                </a:extLst>
              </p:cNvPr>
              <p:cNvSpPr>
                <a:spLocks/>
              </p:cNvSpPr>
              <p:nvPr userDrawn="1"/>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0" name="Freeform 122">
                <a:extLst>
                  <a:ext uri="{FF2B5EF4-FFF2-40B4-BE49-F238E27FC236}">
                    <a16:creationId xmlns:a16="http://schemas.microsoft.com/office/drawing/2014/main" id="{3E526122-CE3D-4987-478B-70C3B88FD811}"/>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1" name="Freeform 123">
                <a:extLst>
                  <a:ext uri="{FF2B5EF4-FFF2-40B4-BE49-F238E27FC236}">
                    <a16:creationId xmlns:a16="http://schemas.microsoft.com/office/drawing/2014/main" id="{B32D8A72-D1EE-9D07-F57E-0375EE41762D}"/>
                  </a:ext>
                </a:extLst>
              </p:cNvPr>
              <p:cNvSpPr>
                <a:spLocks/>
              </p:cNvSpPr>
              <p:nvPr userDrawn="1"/>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2" name="Freeform 124">
                <a:extLst>
                  <a:ext uri="{FF2B5EF4-FFF2-40B4-BE49-F238E27FC236}">
                    <a16:creationId xmlns:a16="http://schemas.microsoft.com/office/drawing/2014/main" id="{BE8104CE-F766-3CD8-5808-9526DFD0005E}"/>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3" name="Freeform 125">
                <a:extLst>
                  <a:ext uri="{FF2B5EF4-FFF2-40B4-BE49-F238E27FC236}">
                    <a16:creationId xmlns:a16="http://schemas.microsoft.com/office/drawing/2014/main" id="{7BBA19D5-4A31-87F6-ECB3-C300EC28A530}"/>
                  </a:ext>
                </a:extLst>
              </p:cNvPr>
              <p:cNvSpPr>
                <a:spLocks noEditPoints="1"/>
              </p:cNvSpPr>
              <p:nvPr userDrawn="1"/>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4" name="Freeform 126">
                <a:extLst>
                  <a:ext uri="{FF2B5EF4-FFF2-40B4-BE49-F238E27FC236}">
                    <a16:creationId xmlns:a16="http://schemas.microsoft.com/office/drawing/2014/main" id="{0FB4D550-182C-40F5-D531-65D4417C60F3}"/>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5" name="Freeform 127">
                <a:extLst>
                  <a:ext uri="{FF2B5EF4-FFF2-40B4-BE49-F238E27FC236}">
                    <a16:creationId xmlns:a16="http://schemas.microsoft.com/office/drawing/2014/main" id="{0C927222-F90C-AAD8-2A92-4243FBCA5CE2}"/>
                  </a:ext>
                </a:extLst>
              </p:cNvPr>
              <p:cNvSpPr>
                <a:spLocks noEditPoints="1"/>
              </p:cNvSpPr>
              <p:nvPr userDrawn="1"/>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6" name="Freeform 128">
                <a:extLst>
                  <a:ext uri="{FF2B5EF4-FFF2-40B4-BE49-F238E27FC236}">
                    <a16:creationId xmlns:a16="http://schemas.microsoft.com/office/drawing/2014/main" id="{C28F8D73-3A7E-1A85-55EF-98DE18921E61}"/>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7" name="Freeform 129">
                <a:extLst>
                  <a:ext uri="{FF2B5EF4-FFF2-40B4-BE49-F238E27FC236}">
                    <a16:creationId xmlns:a16="http://schemas.microsoft.com/office/drawing/2014/main" id="{5B7EB0B3-1AE9-72B5-65E3-F1B23059B521}"/>
                  </a:ext>
                </a:extLst>
              </p:cNvPr>
              <p:cNvSpPr>
                <a:spLocks noEditPoints="1"/>
              </p:cNvSpPr>
              <p:nvPr userDrawn="1"/>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8" name="Freeform 130">
                <a:extLst>
                  <a:ext uri="{FF2B5EF4-FFF2-40B4-BE49-F238E27FC236}">
                    <a16:creationId xmlns:a16="http://schemas.microsoft.com/office/drawing/2014/main" id="{1933064F-AADA-E583-165E-49FD78A1166F}"/>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9" name="Freeform 131">
                <a:extLst>
                  <a:ext uri="{FF2B5EF4-FFF2-40B4-BE49-F238E27FC236}">
                    <a16:creationId xmlns:a16="http://schemas.microsoft.com/office/drawing/2014/main" id="{0FFC24EA-78F2-280C-18D6-AC673C719389}"/>
                  </a:ext>
                </a:extLst>
              </p:cNvPr>
              <p:cNvSpPr>
                <a:spLocks/>
              </p:cNvSpPr>
              <p:nvPr userDrawn="1"/>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0" name="Freeform 132">
                <a:extLst>
                  <a:ext uri="{FF2B5EF4-FFF2-40B4-BE49-F238E27FC236}">
                    <a16:creationId xmlns:a16="http://schemas.microsoft.com/office/drawing/2014/main" id="{DFBDBA57-8550-E3A4-9162-D9D853C70877}"/>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1" name="Freeform 133">
                <a:extLst>
                  <a:ext uri="{FF2B5EF4-FFF2-40B4-BE49-F238E27FC236}">
                    <a16:creationId xmlns:a16="http://schemas.microsoft.com/office/drawing/2014/main" id="{D35A09DA-E4BB-31FE-D051-72CC95802B9D}"/>
                  </a:ext>
                </a:extLst>
              </p:cNvPr>
              <p:cNvSpPr>
                <a:spLocks noEditPoints="1"/>
              </p:cNvSpPr>
              <p:nvPr userDrawn="1"/>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2" name="Freeform 134">
                <a:extLst>
                  <a:ext uri="{FF2B5EF4-FFF2-40B4-BE49-F238E27FC236}">
                    <a16:creationId xmlns:a16="http://schemas.microsoft.com/office/drawing/2014/main" id="{060B1694-1EC4-CD3B-6F0D-4EC843592BF3}"/>
                  </a:ext>
                </a:extLst>
              </p:cNvPr>
              <p:cNvSpPr>
                <a:spLocks/>
              </p:cNvSpPr>
              <p:nvPr userDrawn="1"/>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3" name="Freeform 135">
                <a:extLst>
                  <a:ext uri="{FF2B5EF4-FFF2-40B4-BE49-F238E27FC236}">
                    <a16:creationId xmlns:a16="http://schemas.microsoft.com/office/drawing/2014/main" id="{DAA55C2F-9356-CFFD-EA0D-D5029B6BD6B1}"/>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4" name="Freeform 136">
                <a:extLst>
                  <a:ext uri="{FF2B5EF4-FFF2-40B4-BE49-F238E27FC236}">
                    <a16:creationId xmlns:a16="http://schemas.microsoft.com/office/drawing/2014/main" id="{3B1A882C-49E5-4D73-A131-EA674899BEDE}"/>
                  </a:ext>
                </a:extLst>
              </p:cNvPr>
              <p:cNvSpPr>
                <a:spLocks/>
              </p:cNvSpPr>
              <p:nvPr userDrawn="1"/>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5" name="Freeform 137">
                <a:extLst>
                  <a:ext uri="{FF2B5EF4-FFF2-40B4-BE49-F238E27FC236}">
                    <a16:creationId xmlns:a16="http://schemas.microsoft.com/office/drawing/2014/main" id="{E66D3D1A-E725-CA7C-8F3E-84D313BB20AE}"/>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6" name="Freeform 138">
                <a:extLst>
                  <a:ext uri="{FF2B5EF4-FFF2-40B4-BE49-F238E27FC236}">
                    <a16:creationId xmlns:a16="http://schemas.microsoft.com/office/drawing/2014/main" id="{A2323B29-C3A1-3DDE-0C93-33BB116A2DE0}"/>
                  </a:ext>
                </a:extLst>
              </p:cNvPr>
              <p:cNvSpPr>
                <a:spLocks/>
              </p:cNvSpPr>
              <p:nvPr userDrawn="1"/>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 name="Freeform 139">
                <a:extLst>
                  <a:ext uri="{FF2B5EF4-FFF2-40B4-BE49-F238E27FC236}">
                    <a16:creationId xmlns:a16="http://schemas.microsoft.com/office/drawing/2014/main" id="{5DECC13D-620D-0B65-8CA7-56C2E8A1DB73}"/>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8" name="Freeform 140">
                <a:extLst>
                  <a:ext uri="{FF2B5EF4-FFF2-40B4-BE49-F238E27FC236}">
                    <a16:creationId xmlns:a16="http://schemas.microsoft.com/office/drawing/2014/main" id="{F246B8C1-1560-A2DA-8430-DFEDC086232C}"/>
                  </a:ext>
                </a:extLst>
              </p:cNvPr>
              <p:cNvSpPr>
                <a:spLocks noEditPoints="1"/>
              </p:cNvSpPr>
              <p:nvPr userDrawn="1"/>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9" name="Freeform 141">
                <a:extLst>
                  <a:ext uri="{FF2B5EF4-FFF2-40B4-BE49-F238E27FC236}">
                    <a16:creationId xmlns:a16="http://schemas.microsoft.com/office/drawing/2014/main" id="{6A86DE80-D48F-6EC6-D57C-38F37FB93861}"/>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0" name="Freeform 142">
                <a:extLst>
                  <a:ext uri="{FF2B5EF4-FFF2-40B4-BE49-F238E27FC236}">
                    <a16:creationId xmlns:a16="http://schemas.microsoft.com/office/drawing/2014/main" id="{DFDD225E-9738-C233-E9F6-7BCB0D3F75F8}"/>
                  </a:ext>
                </a:extLst>
              </p:cNvPr>
              <p:cNvSpPr>
                <a:spLocks/>
              </p:cNvSpPr>
              <p:nvPr userDrawn="1"/>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1" name="Freeform 143">
                <a:extLst>
                  <a:ext uri="{FF2B5EF4-FFF2-40B4-BE49-F238E27FC236}">
                    <a16:creationId xmlns:a16="http://schemas.microsoft.com/office/drawing/2014/main" id="{0780B76C-5A2C-5219-328F-A6E3C1CE2E83}"/>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2" name="Freeform 144">
                <a:extLst>
                  <a:ext uri="{FF2B5EF4-FFF2-40B4-BE49-F238E27FC236}">
                    <a16:creationId xmlns:a16="http://schemas.microsoft.com/office/drawing/2014/main" id="{619516F4-7905-B1FE-3721-D8E83A708ED6}"/>
                  </a:ext>
                </a:extLst>
              </p:cNvPr>
              <p:cNvSpPr>
                <a:spLocks/>
              </p:cNvSpPr>
              <p:nvPr userDrawn="1"/>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3" name="Freeform 145">
                <a:extLst>
                  <a:ext uri="{FF2B5EF4-FFF2-40B4-BE49-F238E27FC236}">
                    <a16:creationId xmlns:a16="http://schemas.microsoft.com/office/drawing/2014/main" id="{A1379F5A-78AA-FD8B-2447-5DB4DA8ECD12}"/>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4" name="Freeform 146">
                <a:extLst>
                  <a:ext uri="{FF2B5EF4-FFF2-40B4-BE49-F238E27FC236}">
                    <a16:creationId xmlns:a16="http://schemas.microsoft.com/office/drawing/2014/main" id="{16E93C08-0814-BACE-2743-51DC5C863816}"/>
                  </a:ext>
                </a:extLst>
              </p:cNvPr>
              <p:cNvSpPr>
                <a:spLocks/>
              </p:cNvSpPr>
              <p:nvPr userDrawn="1"/>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5" name="Freeform 147">
                <a:extLst>
                  <a:ext uri="{FF2B5EF4-FFF2-40B4-BE49-F238E27FC236}">
                    <a16:creationId xmlns:a16="http://schemas.microsoft.com/office/drawing/2014/main" id="{93772868-6ADC-58B1-3915-63C893CE6805}"/>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6" name="Freeform 148">
                <a:extLst>
                  <a:ext uri="{FF2B5EF4-FFF2-40B4-BE49-F238E27FC236}">
                    <a16:creationId xmlns:a16="http://schemas.microsoft.com/office/drawing/2014/main" id="{C06D0B78-8EAF-127F-B917-6B013A2C9684}"/>
                  </a:ext>
                </a:extLst>
              </p:cNvPr>
              <p:cNvSpPr>
                <a:spLocks/>
              </p:cNvSpPr>
              <p:nvPr userDrawn="1"/>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7" name="Freeform 149">
                <a:extLst>
                  <a:ext uri="{FF2B5EF4-FFF2-40B4-BE49-F238E27FC236}">
                    <a16:creationId xmlns:a16="http://schemas.microsoft.com/office/drawing/2014/main" id="{D7C621F5-786C-990B-DAF7-1A787A0FFC3D}"/>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8" name="Freeform 150">
                <a:extLst>
                  <a:ext uri="{FF2B5EF4-FFF2-40B4-BE49-F238E27FC236}">
                    <a16:creationId xmlns:a16="http://schemas.microsoft.com/office/drawing/2014/main" id="{6380A8C5-C096-A5E0-F1DA-D182B6A6D100}"/>
                  </a:ext>
                </a:extLst>
              </p:cNvPr>
              <p:cNvSpPr>
                <a:spLocks/>
              </p:cNvSpPr>
              <p:nvPr userDrawn="1"/>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9" name="Freeform 151">
                <a:extLst>
                  <a:ext uri="{FF2B5EF4-FFF2-40B4-BE49-F238E27FC236}">
                    <a16:creationId xmlns:a16="http://schemas.microsoft.com/office/drawing/2014/main" id="{154EE238-5249-1318-4949-1A289E25F04A}"/>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0" name="Freeform 152">
                <a:extLst>
                  <a:ext uri="{FF2B5EF4-FFF2-40B4-BE49-F238E27FC236}">
                    <a16:creationId xmlns:a16="http://schemas.microsoft.com/office/drawing/2014/main" id="{55B0E352-81C4-2176-3292-49EC0196EBAB}"/>
                  </a:ext>
                </a:extLst>
              </p:cNvPr>
              <p:cNvSpPr>
                <a:spLocks/>
              </p:cNvSpPr>
              <p:nvPr userDrawn="1"/>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1" name="Freeform 153">
                <a:extLst>
                  <a:ext uri="{FF2B5EF4-FFF2-40B4-BE49-F238E27FC236}">
                    <a16:creationId xmlns:a16="http://schemas.microsoft.com/office/drawing/2014/main" id="{775D43DF-E40B-F612-621F-739DEB28753C}"/>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2" name="Freeform 154">
                <a:extLst>
                  <a:ext uri="{FF2B5EF4-FFF2-40B4-BE49-F238E27FC236}">
                    <a16:creationId xmlns:a16="http://schemas.microsoft.com/office/drawing/2014/main" id="{688E585D-45D2-719D-9F53-0E8B7C07D6AC}"/>
                  </a:ext>
                </a:extLst>
              </p:cNvPr>
              <p:cNvSpPr>
                <a:spLocks noEditPoints="1"/>
              </p:cNvSpPr>
              <p:nvPr userDrawn="1"/>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3" name="Freeform 155">
                <a:extLst>
                  <a:ext uri="{FF2B5EF4-FFF2-40B4-BE49-F238E27FC236}">
                    <a16:creationId xmlns:a16="http://schemas.microsoft.com/office/drawing/2014/main" id="{630D8A7C-5A3C-F390-8F92-85BA5DB62930}"/>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4" name="Freeform 156">
                <a:extLst>
                  <a:ext uri="{FF2B5EF4-FFF2-40B4-BE49-F238E27FC236}">
                    <a16:creationId xmlns:a16="http://schemas.microsoft.com/office/drawing/2014/main" id="{478081C5-C99A-A15D-C7D4-3B293D98440B}"/>
                  </a:ext>
                </a:extLst>
              </p:cNvPr>
              <p:cNvSpPr>
                <a:spLocks/>
              </p:cNvSpPr>
              <p:nvPr userDrawn="1"/>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5" name="Freeform 157">
                <a:extLst>
                  <a:ext uri="{FF2B5EF4-FFF2-40B4-BE49-F238E27FC236}">
                    <a16:creationId xmlns:a16="http://schemas.microsoft.com/office/drawing/2014/main" id="{009B0CEB-144B-200D-782D-8FA2D44702DD}"/>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6" name="Freeform 158">
                <a:extLst>
                  <a:ext uri="{FF2B5EF4-FFF2-40B4-BE49-F238E27FC236}">
                    <a16:creationId xmlns:a16="http://schemas.microsoft.com/office/drawing/2014/main" id="{54F05272-C937-86CC-EB6D-321D43F81965}"/>
                  </a:ext>
                </a:extLst>
              </p:cNvPr>
              <p:cNvSpPr>
                <a:spLocks/>
              </p:cNvSpPr>
              <p:nvPr userDrawn="1"/>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7" name="Freeform 159">
                <a:extLst>
                  <a:ext uri="{FF2B5EF4-FFF2-40B4-BE49-F238E27FC236}">
                    <a16:creationId xmlns:a16="http://schemas.microsoft.com/office/drawing/2014/main" id="{816835A3-338C-869B-9840-E25E668740FA}"/>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8" name="Freeform 160">
                <a:extLst>
                  <a:ext uri="{FF2B5EF4-FFF2-40B4-BE49-F238E27FC236}">
                    <a16:creationId xmlns:a16="http://schemas.microsoft.com/office/drawing/2014/main" id="{038C09AB-038A-4ECB-73A7-0898DE53EA69}"/>
                  </a:ext>
                </a:extLst>
              </p:cNvPr>
              <p:cNvSpPr>
                <a:spLocks/>
              </p:cNvSpPr>
              <p:nvPr userDrawn="1"/>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9" name="Freeform 161">
                <a:extLst>
                  <a:ext uri="{FF2B5EF4-FFF2-40B4-BE49-F238E27FC236}">
                    <a16:creationId xmlns:a16="http://schemas.microsoft.com/office/drawing/2014/main" id="{E030CCD9-33E0-CDDB-3D87-AAF836850C7B}"/>
                  </a:ext>
                </a:extLst>
              </p:cNvPr>
              <p:cNvSpPr>
                <a:spLocks/>
              </p:cNvSpPr>
              <p:nvPr userDrawn="1"/>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0" name="Freeform 162">
                <a:extLst>
                  <a:ext uri="{FF2B5EF4-FFF2-40B4-BE49-F238E27FC236}">
                    <a16:creationId xmlns:a16="http://schemas.microsoft.com/office/drawing/2014/main" id="{402EBAC8-7964-0459-FF26-99FB67FA7814}"/>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1" name="Freeform 163">
                <a:extLst>
                  <a:ext uri="{FF2B5EF4-FFF2-40B4-BE49-F238E27FC236}">
                    <a16:creationId xmlns:a16="http://schemas.microsoft.com/office/drawing/2014/main" id="{935A20EA-E3DE-0A6E-117D-933B0792A631}"/>
                  </a:ext>
                </a:extLst>
              </p:cNvPr>
              <p:cNvSpPr>
                <a:spLocks noEditPoints="1"/>
              </p:cNvSpPr>
              <p:nvPr userDrawn="1"/>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2" name="Freeform 164">
                <a:extLst>
                  <a:ext uri="{FF2B5EF4-FFF2-40B4-BE49-F238E27FC236}">
                    <a16:creationId xmlns:a16="http://schemas.microsoft.com/office/drawing/2014/main" id="{5302135B-E7FF-67DC-98B5-5F5D9165EBCF}"/>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3" name="Freeform 165">
                <a:extLst>
                  <a:ext uri="{FF2B5EF4-FFF2-40B4-BE49-F238E27FC236}">
                    <a16:creationId xmlns:a16="http://schemas.microsoft.com/office/drawing/2014/main" id="{AB72538D-44D3-1BAB-3802-DAA3DF92FBB2}"/>
                  </a:ext>
                </a:extLst>
              </p:cNvPr>
              <p:cNvSpPr>
                <a:spLocks/>
              </p:cNvSpPr>
              <p:nvPr userDrawn="1"/>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4" name="Freeform 166">
                <a:extLst>
                  <a:ext uri="{FF2B5EF4-FFF2-40B4-BE49-F238E27FC236}">
                    <a16:creationId xmlns:a16="http://schemas.microsoft.com/office/drawing/2014/main" id="{F8CA1AC9-160E-7BC2-A9D9-70DCB928B751}"/>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5" name="Freeform 167">
                <a:extLst>
                  <a:ext uri="{FF2B5EF4-FFF2-40B4-BE49-F238E27FC236}">
                    <a16:creationId xmlns:a16="http://schemas.microsoft.com/office/drawing/2014/main" id="{E0448C2B-12FF-58AF-3550-4F3DDFF417FA}"/>
                  </a:ext>
                </a:extLst>
              </p:cNvPr>
              <p:cNvSpPr>
                <a:spLocks/>
              </p:cNvSpPr>
              <p:nvPr userDrawn="1"/>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6" name="Freeform 168">
                <a:extLst>
                  <a:ext uri="{FF2B5EF4-FFF2-40B4-BE49-F238E27FC236}">
                    <a16:creationId xmlns:a16="http://schemas.microsoft.com/office/drawing/2014/main" id="{65F45925-F56C-DE5A-1B42-D8B77381D71D}"/>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7" name="Freeform 169">
                <a:extLst>
                  <a:ext uri="{FF2B5EF4-FFF2-40B4-BE49-F238E27FC236}">
                    <a16:creationId xmlns:a16="http://schemas.microsoft.com/office/drawing/2014/main" id="{F45FC845-2D8E-8DC4-71AD-EEE483E46EFF}"/>
                  </a:ext>
                </a:extLst>
              </p:cNvPr>
              <p:cNvSpPr>
                <a:spLocks/>
              </p:cNvSpPr>
              <p:nvPr userDrawn="1"/>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8" name="Freeform 170">
                <a:extLst>
                  <a:ext uri="{FF2B5EF4-FFF2-40B4-BE49-F238E27FC236}">
                    <a16:creationId xmlns:a16="http://schemas.microsoft.com/office/drawing/2014/main" id="{5024EE8A-3947-1CB6-E901-BFDC604A06C5}"/>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9" name="Freeform 171">
                <a:extLst>
                  <a:ext uri="{FF2B5EF4-FFF2-40B4-BE49-F238E27FC236}">
                    <a16:creationId xmlns:a16="http://schemas.microsoft.com/office/drawing/2014/main" id="{8609B87C-8CDB-72C4-A26A-1B986656C655}"/>
                  </a:ext>
                </a:extLst>
              </p:cNvPr>
              <p:cNvSpPr>
                <a:spLocks/>
              </p:cNvSpPr>
              <p:nvPr userDrawn="1"/>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0" name="Freeform 172">
                <a:extLst>
                  <a:ext uri="{FF2B5EF4-FFF2-40B4-BE49-F238E27FC236}">
                    <a16:creationId xmlns:a16="http://schemas.microsoft.com/office/drawing/2014/main" id="{7D98A6B5-1B09-CF7B-B022-2FDEF085A6FF}"/>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1" name="Freeform 173">
                <a:extLst>
                  <a:ext uri="{FF2B5EF4-FFF2-40B4-BE49-F238E27FC236}">
                    <a16:creationId xmlns:a16="http://schemas.microsoft.com/office/drawing/2014/main" id="{0B592BBE-4FD7-B384-3756-5987D448414F}"/>
                  </a:ext>
                </a:extLst>
              </p:cNvPr>
              <p:cNvSpPr>
                <a:spLocks/>
              </p:cNvSpPr>
              <p:nvPr userDrawn="1"/>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2" name="Freeform 174">
                <a:extLst>
                  <a:ext uri="{FF2B5EF4-FFF2-40B4-BE49-F238E27FC236}">
                    <a16:creationId xmlns:a16="http://schemas.microsoft.com/office/drawing/2014/main" id="{2AA9BBA1-B55D-DB1B-86E1-9965F7B56624}"/>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3" name="Freeform 175">
                <a:extLst>
                  <a:ext uri="{FF2B5EF4-FFF2-40B4-BE49-F238E27FC236}">
                    <a16:creationId xmlns:a16="http://schemas.microsoft.com/office/drawing/2014/main" id="{2BD95B40-A026-EE12-C538-DB14DAD32A65}"/>
                  </a:ext>
                </a:extLst>
              </p:cNvPr>
              <p:cNvSpPr>
                <a:spLocks/>
              </p:cNvSpPr>
              <p:nvPr userDrawn="1"/>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4" name="Freeform 176">
                <a:extLst>
                  <a:ext uri="{FF2B5EF4-FFF2-40B4-BE49-F238E27FC236}">
                    <a16:creationId xmlns:a16="http://schemas.microsoft.com/office/drawing/2014/main" id="{D4FB5F06-961F-AD08-531B-576B59A0A387}"/>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5" name="Freeform 177">
                <a:extLst>
                  <a:ext uri="{FF2B5EF4-FFF2-40B4-BE49-F238E27FC236}">
                    <a16:creationId xmlns:a16="http://schemas.microsoft.com/office/drawing/2014/main" id="{E26886E7-E0CA-CA5B-C2A3-AA62D28B476D}"/>
                  </a:ext>
                </a:extLst>
              </p:cNvPr>
              <p:cNvSpPr>
                <a:spLocks/>
              </p:cNvSpPr>
              <p:nvPr userDrawn="1"/>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6" name="Freeform 178">
                <a:extLst>
                  <a:ext uri="{FF2B5EF4-FFF2-40B4-BE49-F238E27FC236}">
                    <a16:creationId xmlns:a16="http://schemas.microsoft.com/office/drawing/2014/main" id="{8EEB22CA-9D5F-EA91-4080-397910763261}"/>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7" name="Freeform 179">
                <a:extLst>
                  <a:ext uri="{FF2B5EF4-FFF2-40B4-BE49-F238E27FC236}">
                    <a16:creationId xmlns:a16="http://schemas.microsoft.com/office/drawing/2014/main" id="{8E604CDE-7222-2313-CE33-10159801AC48}"/>
                  </a:ext>
                </a:extLst>
              </p:cNvPr>
              <p:cNvSpPr>
                <a:spLocks noEditPoints="1"/>
              </p:cNvSpPr>
              <p:nvPr userDrawn="1"/>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8" name="Freeform 180">
                <a:extLst>
                  <a:ext uri="{FF2B5EF4-FFF2-40B4-BE49-F238E27FC236}">
                    <a16:creationId xmlns:a16="http://schemas.microsoft.com/office/drawing/2014/main" id="{37E16BE4-EDE3-5C38-FEDB-BDC5E287C2EB}"/>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9" name="Freeform 181">
                <a:extLst>
                  <a:ext uri="{FF2B5EF4-FFF2-40B4-BE49-F238E27FC236}">
                    <a16:creationId xmlns:a16="http://schemas.microsoft.com/office/drawing/2014/main" id="{A750851E-E163-FB1F-C523-98137F55B100}"/>
                  </a:ext>
                </a:extLst>
              </p:cNvPr>
              <p:cNvSpPr>
                <a:spLocks/>
              </p:cNvSpPr>
              <p:nvPr userDrawn="1"/>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0" name="Freeform 182">
                <a:extLst>
                  <a:ext uri="{FF2B5EF4-FFF2-40B4-BE49-F238E27FC236}">
                    <a16:creationId xmlns:a16="http://schemas.microsoft.com/office/drawing/2014/main" id="{D8BBAA2E-FDC8-B262-2791-C7F2789DBE97}"/>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1" name="Freeform 183">
                <a:extLst>
                  <a:ext uri="{FF2B5EF4-FFF2-40B4-BE49-F238E27FC236}">
                    <a16:creationId xmlns:a16="http://schemas.microsoft.com/office/drawing/2014/main" id="{50B1494F-F1D2-C34F-F6BE-5CC2D7AF491C}"/>
                  </a:ext>
                </a:extLst>
              </p:cNvPr>
              <p:cNvSpPr>
                <a:spLocks noEditPoints="1"/>
              </p:cNvSpPr>
              <p:nvPr userDrawn="1"/>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2" name="Freeform 184">
                <a:extLst>
                  <a:ext uri="{FF2B5EF4-FFF2-40B4-BE49-F238E27FC236}">
                    <a16:creationId xmlns:a16="http://schemas.microsoft.com/office/drawing/2014/main" id="{8501EF9C-7CE7-2B6F-F9F8-158C549939CE}"/>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3" name="Freeform 185">
                <a:extLst>
                  <a:ext uri="{FF2B5EF4-FFF2-40B4-BE49-F238E27FC236}">
                    <a16:creationId xmlns:a16="http://schemas.microsoft.com/office/drawing/2014/main" id="{DD886E78-0377-A270-9E48-82A9CCAE21C7}"/>
                  </a:ext>
                </a:extLst>
              </p:cNvPr>
              <p:cNvSpPr>
                <a:spLocks noEditPoints="1"/>
              </p:cNvSpPr>
              <p:nvPr userDrawn="1"/>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4" name="Freeform 186">
                <a:extLst>
                  <a:ext uri="{FF2B5EF4-FFF2-40B4-BE49-F238E27FC236}">
                    <a16:creationId xmlns:a16="http://schemas.microsoft.com/office/drawing/2014/main" id="{6917B250-5160-E749-8ADA-26475168F1AE}"/>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5" name="Freeform 187">
                <a:extLst>
                  <a:ext uri="{FF2B5EF4-FFF2-40B4-BE49-F238E27FC236}">
                    <a16:creationId xmlns:a16="http://schemas.microsoft.com/office/drawing/2014/main" id="{3EED3AE4-FA21-DBF0-7011-6BCFC0562A85}"/>
                  </a:ext>
                </a:extLst>
              </p:cNvPr>
              <p:cNvSpPr>
                <a:spLocks/>
              </p:cNvSpPr>
              <p:nvPr userDrawn="1"/>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6" name="Freeform 188">
                <a:extLst>
                  <a:ext uri="{FF2B5EF4-FFF2-40B4-BE49-F238E27FC236}">
                    <a16:creationId xmlns:a16="http://schemas.microsoft.com/office/drawing/2014/main" id="{A22C574A-1604-4D85-6B6A-C75EEBDE5220}"/>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7" name="Freeform 189">
                <a:extLst>
                  <a:ext uri="{FF2B5EF4-FFF2-40B4-BE49-F238E27FC236}">
                    <a16:creationId xmlns:a16="http://schemas.microsoft.com/office/drawing/2014/main" id="{F71031F0-3CD9-977A-53BE-5638D79D5ADF}"/>
                  </a:ext>
                </a:extLst>
              </p:cNvPr>
              <p:cNvSpPr>
                <a:spLocks noEditPoints="1"/>
              </p:cNvSpPr>
              <p:nvPr userDrawn="1"/>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8" name="Freeform 190">
                <a:extLst>
                  <a:ext uri="{FF2B5EF4-FFF2-40B4-BE49-F238E27FC236}">
                    <a16:creationId xmlns:a16="http://schemas.microsoft.com/office/drawing/2014/main" id="{CADE7AC0-41E3-6887-B735-2B4B91630BC3}"/>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9" name="Freeform 191">
                <a:extLst>
                  <a:ext uri="{FF2B5EF4-FFF2-40B4-BE49-F238E27FC236}">
                    <a16:creationId xmlns:a16="http://schemas.microsoft.com/office/drawing/2014/main" id="{AC9C697E-B280-9078-4B45-B921D454A759}"/>
                  </a:ext>
                </a:extLst>
              </p:cNvPr>
              <p:cNvSpPr>
                <a:spLocks/>
              </p:cNvSpPr>
              <p:nvPr userDrawn="1"/>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0" name="Freeform 192">
                <a:extLst>
                  <a:ext uri="{FF2B5EF4-FFF2-40B4-BE49-F238E27FC236}">
                    <a16:creationId xmlns:a16="http://schemas.microsoft.com/office/drawing/2014/main" id="{77A225EF-DA2E-1299-6D9B-8CF7DD44547E}"/>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1" name="Freeform 193">
                <a:extLst>
                  <a:ext uri="{FF2B5EF4-FFF2-40B4-BE49-F238E27FC236}">
                    <a16:creationId xmlns:a16="http://schemas.microsoft.com/office/drawing/2014/main" id="{5C798DB4-E55D-D556-F691-3A3AE1956AEA}"/>
                  </a:ext>
                </a:extLst>
              </p:cNvPr>
              <p:cNvSpPr>
                <a:spLocks/>
              </p:cNvSpPr>
              <p:nvPr userDrawn="1"/>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2" name="Freeform 194">
                <a:extLst>
                  <a:ext uri="{FF2B5EF4-FFF2-40B4-BE49-F238E27FC236}">
                    <a16:creationId xmlns:a16="http://schemas.microsoft.com/office/drawing/2014/main" id="{E31DDBB0-5AF7-763A-6B11-D4B113225F9F}"/>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3" name="Freeform 195">
                <a:extLst>
                  <a:ext uri="{FF2B5EF4-FFF2-40B4-BE49-F238E27FC236}">
                    <a16:creationId xmlns:a16="http://schemas.microsoft.com/office/drawing/2014/main" id="{8D399CFF-BFED-C33D-8380-EDC3A26144CF}"/>
                  </a:ext>
                </a:extLst>
              </p:cNvPr>
              <p:cNvSpPr>
                <a:spLocks noEditPoints="1"/>
              </p:cNvSpPr>
              <p:nvPr userDrawn="1"/>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4" name="Freeform 196">
                <a:extLst>
                  <a:ext uri="{FF2B5EF4-FFF2-40B4-BE49-F238E27FC236}">
                    <a16:creationId xmlns:a16="http://schemas.microsoft.com/office/drawing/2014/main" id="{9497CFD0-EC8A-5523-DA78-F0BB8A6E5C86}"/>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5" name="Freeform 197">
                <a:extLst>
                  <a:ext uri="{FF2B5EF4-FFF2-40B4-BE49-F238E27FC236}">
                    <a16:creationId xmlns:a16="http://schemas.microsoft.com/office/drawing/2014/main" id="{B087D751-D75A-C136-F60E-7835C80B9905}"/>
                  </a:ext>
                </a:extLst>
              </p:cNvPr>
              <p:cNvSpPr>
                <a:spLocks noEditPoints="1"/>
              </p:cNvSpPr>
              <p:nvPr userDrawn="1"/>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6" name="Freeform 198">
                <a:extLst>
                  <a:ext uri="{FF2B5EF4-FFF2-40B4-BE49-F238E27FC236}">
                    <a16:creationId xmlns:a16="http://schemas.microsoft.com/office/drawing/2014/main" id="{B3E998A8-D399-598D-7D9E-337103C1100F}"/>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7" name="Freeform 199">
                <a:extLst>
                  <a:ext uri="{FF2B5EF4-FFF2-40B4-BE49-F238E27FC236}">
                    <a16:creationId xmlns:a16="http://schemas.microsoft.com/office/drawing/2014/main" id="{CA45F903-9E83-E098-40C4-ACDBF864B4BE}"/>
                  </a:ext>
                </a:extLst>
              </p:cNvPr>
              <p:cNvSpPr>
                <a:spLocks noEditPoints="1"/>
              </p:cNvSpPr>
              <p:nvPr userDrawn="1"/>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88" name="Freeform 200">
                <a:extLst>
                  <a:ext uri="{FF2B5EF4-FFF2-40B4-BE49-F238E27FC236}">
                    <a16:creationId xmlns:a16="http://schemas.microsoft.com/office/drawing/2014/main" id="{34E7256A-88DE-4A41-1C33-3747E117C5E0}"/>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9" name="Freeform 201">
                <a:extLst>
                  <a:ext uri="{FF2B5EF4-FFF2-40B4-BE49-F238E27FC236}">
                    <a16:creationId xmlns:a16="http://schemas.microsoft.com/office/drawing/2014/main" id="{9876B3CB-725F-DF84-A71D-3AEED89ADA0A}"/>
                  </a:ext>
                </a:extLst>
              </p:cNvPr>
              <p:cNvSpPr>
                <a:spLocks/>
              </p:cNvSpPr>
              <p:nvPr userDrawn="1"/>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0" name="Freeform 202">
                <a:extLst>
                  <a:ext uri="{FF2B5EF4-FFF2-40B4-BE49-F238E27FC236}">
                    <a16:creationId xmlns:a16="http://schemas.microsoft.com/office/drawing/2014/main" id="{955FED16-489B-18C8-EA86-AF8CE627B36C}"/>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1" name="Freeform 203">
                <a:extLst>
                  <a:ext uri="{FF2B5EF4-FFF2-40B4-BE49-F238E27FC236}">
                    <a16:creationId xmlns:a16="http://schemas.microsoft.com/office/drawing/2014/main" id="{77803422-3C13-3F9B-EFAD-EC9034BDAD25}"/>
                  </a:ext>
                </a:extLst>
              </p:cNvPr>
              <p:cNvSpPr>
                <a:spLocks noEditPoints="1"/>
              </p:cNvSpPr>
              <p:nvPr userDrawn="1"/>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92" name="Freeform 204">
                <a:extLst>
                  <a:ext uri="{FF2B5EF4-FFF2-40B4-BE49-F238E27FC236}">
                    <a16:creationId xmlns:a16="http://schemas.microsoft.com/office/drawing/2014/main" id="{EDB06C0C-C29C-DF36-0EF4-616D88DD0E13}"/>
                  </a:ext>
                </a:extLst>
              </p:cNvPr>
              <p:cNvSpPr>
                <a:spLocks noEditPoints="1"/>
              </p:cNvSpPr>
              <p:nvPr userDrawn="1"/>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37" name="Freeform 206">
              <a:extLst>
                <a:ext uri="{FF2B5EF4-FFF2-40B4-BE49-F238E27FC236}">
                  <a16:creationId xmlns:a16="http://schemas.microsoft.com/office/drawing/2014/main" id="{E86CD5DB-2BB1-A013-C2A8-F67CF8C5697E}"/>
                </a:ext>
              </a:extLst>
            </p:cNvPr>
            <p:cNvSpPr>
              <a:spLocks noEditPoints="1"/>
            </p:cNvSpPr>
            <p:nvPr userDrawn="1"/>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207">
              <a:extLst>
                <a:ext uri="{FF2B5EF4-FFF2-40B4-BE49-F238E27FC236}">
                  <a16:creationId xmlns:a16="http://schemas.microsoft.com/office/drawing/2014/main" id="{06C818A5-D59F-C762-1684-A7397B4537B5}"/>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Freeform 208">
              <a:extLst>
                <a:ext uri="{FF2B5EF4-FFF2-40B4-BE49-F238E27FC236}">
                  <a16:creationId xmlns:a16="http://schemas.microsoft.com/office/drawing/2014/main" id="{647AE9C4-A028-D4EB-4C62-1E6948C38D25}"/>
                </a:ext>
              </a:extLst>
            </p:cNvPr>
            <p:cNvSpPr>
              <a:spLocks noEditPoints="1"/>
            </p:cNvSpPr>
            <p:nvPr userDrawn="1"/>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0" name="Freeform 209">
              <a:extLst>
                <a:ext uri="{FF2B5EF4-FFF2-40B4-BE49-F238E27FC236}">
                  <a16:creationId xmlns:a16="http://schemas.microsoft.com/office/drawing/2014/main" id="{6A248C58-8212-89E0-94EC-EE009F235E9B}"/>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Freeform 210">
              <a:extLst>
                <a:ext uri="{FF2B5EF4-FFF2-40B4-BE49-F238E27FC236}">
                  <a16:creationId xmlns:a16="http://schemas.microsoft.com/office/drawing/2014/main" id="{D6802812-E65D-9BD8-6A78-41198180D5EB}"/>
                </a:ext>
              </a:extLst>
            </p:cNvPr>
            <p:cNvSpPr>
              <a:spLocks noEditPoints="1"/>
            </p:cNvSpPr>
            <p:nvPr userDrawn="1"/>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Freeform 211">
              <a:extLst>
                <a:ext uri="{FF2B5EF4-FFF2-40B4-BE49-F238E27FC236}">
                  <a16:creationId xmlns:a16="http://schemas.microsoft.com/office/drawing/2014/main" id="{87D6C4B5-1B36-7CCF-ADBA-51F47A713C36}"/>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Freeform 212">
              <a:extLst>
                <a:ext uri="{FF2B5EF4-FFF2-40B4-BE49-F238E27FC236}">
                  <a16:creationId xmlns:a16="http://schemas.microsoft.com/office/drawing/2014/main" id="{675ECD97-911C-B003-BC85-EE7989480FE1}"/>
                </a:ext>
              </a:extLst>
            </p:cNvPr>
            <p:cNvSpPr>
              <a:spLocks/>
            </p:cNvSpPr>
            <p:nvPr userDrawn="1"/>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4" name="Freeform 213">
              <a:extLst>
                <a:ext uri="{FF2B5EF4-FFF2-40B4-BE49-F238E27FC236}">
                  <a16:creationId xmlns:a16="http://schemas.microsoft.com/office/drawing/2014/main" id="{7C783FC3-ED75-2EDF-867C-9796A3FEB1B2}"/>
                </a:ext>
              </a:extLst>
            </p:cNvPr>
            <p:cNvSpPr>
              <a:spLocks/>
            </p:cNvSpPr>
            <p:nvPr userDrawn="1"/>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Freeform 214">
              <a:extLst>
                <a:ext uri="{FF2B5EF4-FFF2-40B4-BE49-F238E27FC236}">
                  <a16:creationId xmlns:a16="http://schemas.microsoft.com/office/drawing/2014/main" id="{2541ECF7-10AB-3F31-8505-9BD0E548A1EA}"/>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6" name="Freeform 215">
              <a:extLst>
                <a:ext uri="{FF2B5EF4-FFF2-40B4-BE49-F238E27FC236}">
                  <a16:creationId xmlns:a16="http://schemas.microsoft.com/office/drawing/2014/main" id="{6B16162D-5B19-6834-FE14-15368399F0C1}"/>
                </a:ext>
              </a:extLst>
            </p:cNvPr>
            <p:cNvSpPr>
              <a:spLocks/>
            </p:cNvSpPr>
            <p:nvPr userDrawn="1"/>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Freeform 216">
              <a:extLst>
                <a:ext uri="{FF2B5EF4-FFF2-40B4-BE49-F238E27FC236}">
                  <a16:creationId xmlns:a16="http://schemas.microsoft.com/office/drawing/2014/main" id="{8C6F3562-716A-4510-2081-64048F73772D}"/>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8" name="Freeform 217">
              <a:extLst>
                <a:ext uri="{FF2B5EF4-FFF2-40B4-BE49-F238E27FC236}">
                  <a16:creationId xmlns:a16="http://schemas.microsoft.com/office/drawing/2014/main" id="{7A6093EE-01B9-5B2A-7113-97E1EB0FC53C}"/>
                </a:ext>
              </a:extLst>
            </p:cNvPr>
            <p:cNvSpPr>
              <a:spLocks noEditPoints="1"/>
            </p:cNvSpPr>
            <p:nvPr userDrawn="1"/>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Freeform 218">
              <a:extLst>
                <a:ext uri="{FF2B5EF4-FFF2-40B4-BE49-F238E27FC236}">
                  <a16:creationId xmlns:a16="http://schemas.microsoft.com/office/drawing/2014/main" id="{291B0CBC-8C58-824C-AAC4-C5E77A837F17}"/>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0" name="Freeform 219">
              <a:extLst>
                <a:ext uri="{FF2B5EF4-FFF2-40B4-BE49-F238E27FC236}">
                  <a16:creationId xmlns:a16="http://schemas.microsoft.com/office/drawing/2014/main" id="{84C8CC48-E4A7-5FE4-CFE4-E481A54E7CC1}"/>
                </a:ext>
              </a:extLst>
            </p:cNvPr>
            <p:cNvSpPr>
              <a:spLocks/>
            </p:cNvSpPr>
            <p:nvPr userDrawn="1"/>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1" name="Freeform 220">
              <a:extLst>
                <a:ext uri="{FF2B5EF4-FFF2-40B4-BE49-F238E27FC236}">
                  <a16:creationId xmlns:a16="http://schemas.microsoft.com/office/drawing/2014/main" id="{C85A0CF6-68A9-570F-7A89-DF665A041230}"/>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Freeform 221">
              <a:extLst>
                <a:ext uri="{FF2B5EF4-FFF2-40B4-BE49-F238E27FC236}">
                  <a16:creationId xmlns:a16="http://schemas.microsoft.com/office/drawing/2014/main" id="{FC778C1A-3876-8DC2-38D3-9AE2EA81DBAD}"/>
                </a:ext>
              </a:extLst>
            </p:cNvPr>
            <p:cNvSpPr>
              <a:spLocks/>
            </p:cNvSpPr>
            <p:nvPr userDrawn="1"/>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3" name="Freeform 222">
              <a:extLst>
                <a:ext uri="{FF2B5EF4-FFF2-40B4-BE49-F238E27FC236}">
                  <a16:creationId xmlns:a16="http://schemas.microsoft.com/office/drawing/2014/main" id="{BFA35072-4C3E-0DC5-E10C-BF158603445D}"/>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Freeform 223">
              <a:extLst>
                <a:ext uri="{FF2B5EF4-FFF2-40B4-BE49-F238E27FC236}">
                  <a16:creationId xmlns:a16="http://schemas.microsoft.com/office/drawing/2014/main" id="{A89F19B8-CF3A-81E0-7E13-6B0B3953694A}"/>
                </a:ext>
              </a:extLst>
            </p:cNvPr>
            <p:cNvSpPr>
              <a:spLocks/>
            </p:cNvSpPr>
            <p:nvPr userDrawn="1"/>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5" name="Freeform 224">
              <a:extLst>
                <a:ext uri="{FF2B5EF4-FFF2-40B4-BE49-F238E27FC236}">
                  <a16:creationId xmlns:a16="http://schemas.microsoft.com/office/drawing/2014/main" id="{A36800E3-1EB5-991B-D5A5-78DE566FEAA0}"/>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Freeform 225">
              <a:extLst>
                <a:ext uri="{FF2B5EF4-FFF2-40B4-BE49-F238E27FC236}">
                  <a16:creationId xmlns:a16="http://schemas.microsoft.com/office/drawing/2014/main" id="{01396F0B-4AD1-D929-74F6-CED9D014250F}"/>
                </a:ext>
              </a:extLst>
            </p:cNvPr>
            <p:cNvSpPr>
              <a:spLocks/>
            </p:cNvSpPr>
            <p:nvPr userDrawn="1"/>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7" name="Freeform 226">
              <a:extLst>
                <a:ext uri="{FF2B5EF4-FFF2-40B4-BE49-F238E27FC236}">
                  <a16:creationId xmlns:a16="http://schemas.microsoft.com/office/drawing/2014/main" id="{E33C03D7-FB03-BE1C-7F3C-63A9CBB89DCF}"/>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Freeform 227">
              <a:extLst>
                <a:ext uri="{FF2B5EF4-FFF2-40B4-BE49-F238E27FC236}">
                  <a16:creationId xmlns:a16="http://schemas.microsoft.com/office/drawing/2014/main" id="{C8B0E765-2882-F64F-1CD3-48639E240DA8}"/>
                </a:ext>
              </a:extLst>
            </p:cNvPr>
            <p:cNvSpPr>
              <a:spLocks/>
            </p:cNvSpPr>
            <p:nvPr userDrawn="1"/>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9" name="Freeform 228">
              <a:extLst>
                <a:ext uri="{FF2B5EF4-FFF2-40B4-BE49-F238E27FC236}">
                  <a16:creationId xmlns:a16="http://schemas.microsoft.com/office/drawing/2014/main" id="{E2E3302F-60C7-DE72-2A31-E635CF80B7DC}"/>
                </a:ext>
              </a:extLst>
            </p:cNvPr>
            <p:cNvSpPr>
              <a:spLocks noEditPoints="1"/>
            </p:cNvSpPr>
            <p:nvPr userDrawn="1"/>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Freeform 229">
              <a:extLst>
                <a:ext uri="{FF2B5EF4-FFF2-40B4-BE49-F238E27FC236}">
                  <a16:creationId xmlns:a16="http://schemas.microsoft.com/office/drawing/2014/main" id="{E3B1F124-4D65-841B-1099-AE4EBA0A1F0D}"/>
                </a:ext>
              </a:extLst>
            </p:cNvPr>
            <p:cNvSpPr>
              <a:spLocks noEditPoints="1"/>
            </p:cNvSpPr>
            <p:nvPr userDrawn="1"/>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1" name="Freeform 230">
              <a:extLst>
                <a:ext uri="{FF2B5EF4-FFF2-40B4-BE49-F238E27FC236}">
                  <a16:creationId xmlns:a16="http://schemas.microsoft.com/office/drawing/2014/main" id="{AE77D6D2-4BBE-EB5F-DD6E-66772A61EDBF}"/>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Freeform 231">
              <a:extLst>
                <a:ext uri="{FF2B5EF4-FFF2-40B4-BE49-F238E27FC236}">
                  <a16:creationId xmlns:a16="http://schemas.microsoft.com/office/drawing/2014/main" id="{6402E524-FE6B-96A0-B449-87F4BB03F4B7}"/>
                </a:ext>
              </a:extLst>
            </p:cNvPr>
            <p:cNvSpPr>
              <a:spLocks noEditPoints="1"/>
            </p:cNvSpPr>
            <p:nvPr userDrawn="1"/>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3" name="Freeform 232">
              <a:extLst>
                <a:ext uri="{FF2B5EF4-FFF2-40B4-BE49-F238E27FC236}">
                  <a16:creationId xmlns:a16="http://schemas.microsoft.com/office/drawing/2014/main" id="{4DBB4B2D-5CD7-ADB1-9DB9-65403639024E}"/>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Freeform 233">
              <a:extLst>
                <a:ext uri="{FF2B5EF4-FFF2-40B4-BE49-F238E27FC236}">
                  <a16:creationId xmlns:a16="http://schemas.microsoft.com/office/drawing/2014/main" id="{948638F4-6165-6FC3-702A-D70C6683D3AF}"/>
                </a:ext>
              </a:extLst>
            </p:cNvPr>
            <p:cNvSpPr>
              <a:spLocks/>
            </p:cNvSpPr>
            <p:nvPr userDrawn="1"/>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5" name="Freeform 234">
              <a:extLst>
                <a:ext uri="{FF2B5EF4-FFF2-40B4-BE49-F238E27FC236}">
                  <a16:creationId xmlns:a16="http://schemas.microsoft.com/office/drawing/2014/main" id="{083F22CD-23E4-26F2-42AE-C80CD1DC3347}"/>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Freeform 235">
              <a:extLst>
                <a:ext uri="{FF2B5EF4-FFF2-40B4-BE49-F238E27FC236}">
                  <a16:creationId xmlns:a16="http://schemas.microsoft.com/office/drawing/2014/main" id="{903985A6-8F91-FD3C-4DD9-A73D27FF3525}"/>
                </a:ext>
              </a:extLst>
            </p:cNvPr>
            <p:cNvSpPr>
              <a:spLocks/>
            </p:cNvSpPr>
            <p:nvPr userDrawn="1"/>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7" name="Freeform 236">
              <a:extLst>
                <a:ext uri="{FF2B5EF4-FFF2-40B4-BE49-F238E27FC236}">
                  <a16:creationId xmlns:a16="http://schemas.microsoft.com/office/drawing/2014/main" id="{91AF5B62-8197-8D65-0DB4-D8F496FAE53C}"/>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Freeform 237">
              <a:extLst>
                <a:ext uri="{FF2B5EF4-FFF2-40B4-BE49-F238E27FC236}">
                  <a16:creationId xmlns:a16="http://schemas.microsoft.com/office/drawing/2014/main" id="{00ECFEF5-534C-7B14-1F96-DE17B5CADCA6}"/>
                </a:ext>
              </a:extLst>
            </p:cNvPr>
            <p:cNvSpPr>
              <a:spLocks/>
            </p:cNvSpPr>
            <p:nvPr userDrawn="1"/>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9" name="Freeform 238">
              <a:extLst>
                <a:ext uri="{FF2B5EF4-FFF2-40B4-BE49-F238E27FC236}">
                  <a16:creationId xmlns:a16="http://schemas.microsoft.com/office/drawing/2014/main" id="{1D52FF70-206F-3FBE-1D8F-131BC19D15C2}"/>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Freeform 239">
              <a:extLst>
                <a:ext uri="{FF2B5EF4-FFF2-40B4-BE49-F238E27FC236}">
                  <a16:creationId xmlns:a16="http://schemas.microsoft.com/office/drawing/2014/main" id="{D68AD23C-D43F-48B3-0467-5722F8255381}"/>
                </a:ext>
              </a:extLst>
            </p:cNvPr>
            <p:cNvSpPr>
              <a:spLocks/>
            </p:cNvSpPr>
            <p:nvPr userDrawn="1"/>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1" name="Freeform 240">
              <a:extLst>
                <a:ext uri="{FF2B5EF4-FFF2-40B4-BE49-F238E27FC236}">
                  <a16:creationId xmlns:a16="http://schemas.microsoft.com/office/drawing/2014/main" id="{57997F3A-2476-E51D-FF88-504088DD1EB0}"/>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Freeform 241">
              <a:extLst>
                <a:ext uri="{FF2B5EF4-FFF2-40B4-BE49-F238E27FC236}">
                  <a16:creationId xmlns:a16="http://schemas.microsoft.com/office/drawing/2014/main" id="{2B8CBED5-3D59-12C9-3D24-88A9193CE9D6}"/>
                </a:ext>
              </a:extLst>
            </p:cNvPr>
            <p:cNvSpPr>
              <a:spLocks/>
            </p:cNvSpPr>
            <p:nvPr userDrawn="1"/>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3" name="Freeform 242">
              <a:extLst>
                <a:ext uri="{FF2B5EF4-FFF2-40B4-BE49-F238E27FC236}">
                  <a16:creationId xmlns:a16="http://schemas.microsoft.com/office/drawing/2014/main" id="{C73A70E3-9A88-EA65-9411-134126351FB6}"/>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Freeform 243">
              <a:extLst>
                <a:ext uri="{FF2B5EF4-FFF2-40B4-BE49-F238E27FC236}">
                  <a16:creationId xmlns:a16="http://schemas.microsoft.com/office/drawing/2014/main" id="{4F7C3252-75A9-054D-08A4-C735E3EA6EAE}"/>
                </a:ext>
              </a:extLst>
            </p:cNvPr>
            <p:cNvSpPr>
              <a:spLocks/>
            </p:cNvSpPr>
            <p:nvPr userDrawn="1"/>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5" name="Freeform 244">
              <a:extLst>
                <a:ext uri="{FF2B5EF4-FFF2-40B4-BE49-F238E27FC236}">
                  <a16:creationId xmlns:a16="http://schemas.microsoft.com/office/drawing/2014/main" id="{49B923FD-202F-D375-A1CE-5E05B01CA301}"/>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Freeform 245">
              <a:extLst>
                <a:ext uri="{FF2B5EF4-FFF2-40B4-BE49-F238E27FC236}">
                  <a16:creationId xmlns:a16="http://schemas.microsoft.com/office/drawing/2014/main" id="{C1FC8AB7-7791-B39E-0043-159AC7A96564}"/>
                </a:ext>
              </a:extLst>
            </p:cNvPr>
            <p:cNvSpPr>
              <a:spLocks noEditPoints="1"/>
            </p:cNvSpPr>
            <p:nvPr userDrawn="1"/>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7" name="Freeform 246">
              <a:extLst>
                <a:ext uri="{FF2B5EF4-FFF2-40B4-BE49-F238E27FC236}">
                  <a16:creationId xmlns:a16="http://schemas.microsoft.com/office/drawing/2014/main" id="{AE82A15F-BFE7-444B-5517-3D76CE41D341}"/>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8" name="Freeform 247">
              <a:extLst>
                <a:ext uri="{FF2B5EF4-FFF2-40B4-BE49-F238E27FC236}">
                  <a16:creationId xmlns:a16="http://schemas.microsoft.com/office/drawing/2014/main" id="{9DC601F6-44EC-0EE9-5A72-85184D1EFA01}"/>
                </a:ext>
              </a:extLst>
            </p:cNvPr>
            <p:cNvSpPr>
              <a:spLocks noEditPoints="1"/>
            </p:cNvSpPr>
            <p:nvPr userDrawn="1"/>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9" name="Freeform 248">
              <a:extLst>
                <a:ext uri="{FF2B5EF4-FFF2-40B4-BE49-F238E27FC236}">
                  <a16:creationId xmlns:a16="http://schemas.microsoft.com/office/drawing/2014/main" id="{6520C660-D51C-82B9-2BEC-E87D5E667809}"/>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Freeform 249">
              <a:extLst>
                <a:ext uri="{FF2B5EF4-FFF2-40B4-BE49-F238E27FC236}">
                  <a16:creationId xmlns:a16="http://schemas.microsoft.com/office/drawing/2014/main" id="{3E0A3B81-FF51-9583-0F91-1CD406595E05}"/>
                </a:ext>
              </a:extLst>
            </p:cNvPr>
            <p:cNvSpPr>
              <a:spLocks noEditPoints="1"/>
            </p:cNvSpPr>
            <p:nvPr userDrawn="1"/>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1" name="Freeform 250">
              <a:extLst>
                <a:ext uri="{FF2B5EF4-FFF2-40B4-BE49-F238E27FC236}">
                  <a16:creationId xmlns:a16="http://schemas.microsoft.com/office/drawing/2014/main" id="{5DDABA3D-EB5B-FEE4-AE51-8B023BA6F2B2}"/>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Freeform 251">
              <a:extLst>
                <a:ext uri="{FF2B5EF4-FFF2-40B4-BE49-F238E27FC236}">
                  <a16:creationId xmlns:a16="http://schemas.microsoft.com/office/drawing/2014/main" id="{A7C249CA-B630-E83E-0F4C-5BC7CB2DA1FE}"/>
                </a:ext>
              </a:extLst>
            </p:cNvPr>
            <p:cNvSpPr>
              <a:spLocks noEditPoints="1"/>
            </p:cNvSpPr>
            <p:nvPr userDrawn="1"/>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3" name="Freeform 252">
              <a:extLst>
                <a:ext uri="{FF2B5EF4-FFF2-40B4-BE49-F238E27FC236}">
                  <a16:creationId xmlns:a16="http://schemas.microsoft.com/office/drawing/2014/main" id="{C5489ECA-7D98-4400-66AF-FE97060BB5C2}"/>
                </a:ext>
              </a:extLst>
            </p:cNvPr>
            <p:cNvSpPr>
              <a:spLocks/>
            </p:cNvSpPr>
            <p:nvPr userDrawn="1"/>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Freeform 253">
              <a:extLst>
                <a:ext uri="{FF2B5EF4-FFF2-40B4-BE49-F238E27FC236}">
                  <a16:creationId xmlns:a16="http://schemas.microsoft.com/office/drawing/2014/main" id="{937E3ADD-2217-AC98-1192-7CC0C09584BD}"/>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5" name="Freeform 254">
              <a:extLst>
                <a:ext uri="{FF2B5EF4-FFF2-40B4-BE49-F238E27FC236}">
                  <a16:creationId xmlns:a16="http://schemas.microsoft.com/office/drawing/2014/main" id="{B2C18DEE-A8E9-8EBE-B2B2-111E71B399ED}"/>
                </a:ext>
              </a:extLst>
            </p:cNvPr>
            <p:cNvSpPr>
              <a:spLocks/>
            </p:cNvSpPr>
            <p:nvPr userDrawn="1"/>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Freeform 255">
              <a:extLst>
                <a:ext uri="{FF2B5EF4-FFF2-40B4-BE49-F238E27FC236}">
                  <a16:creationId xmlns:a16="http://schemas.microsoft.com/office/drawing/2014/main" id="{E95756E5-AF81-CB0D-B501-94AD81062109}"/>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7" name="Freeform 256">
              <a:extLst>
                <a:ext uri="{FF2B5EF4-FFF2-40B4-BE49-F238E27FC236}">
                  <a16:creationId xmlns:a16="http://schemas.microsoft.com/office/drawing/2014/main" id="{BDDAF3D3-508F-2D19-756A-EC4C8E8C233B}"/>
                </a:ext>
              </a:extLst>
            </p:cNvPr>
            <p:cNvSpPr>
              <a:spLocks noEditPoints="1"/>
            </p:cNvSpPr>
            <p:nvPr userDrawn="1"/>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Freeform 257">
              <a:extLst>
                <a:ext uri="{FF2B5EF4-FFF2-40B4-BE49-F238E27FC236}">
                  <a16:creationId xmlns:a16="http://schemas.microsoft.com/office/drawing/2014/main" id="{6849C5FD-D671-0484-E026-3754592A9DEB}"/>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9" name="Freeform 258">
              <a:extLst>
                <a:ext uri="{FF2B5EF4-FFF2-40B4-BE49-F238E27FC236}">
                  <a16:creationId xmlns:a16="http://schemas.microsoft.com/office/drawing/2014/main" id="{02D7B431-779F-F219-86D9-4F1D61295327}"/>
                </a:ext>
              </a:extLst>
            </p:cNvPr>
            <p:cNvSpPr>
              <a:spLocks/>
            </p:cNvSpPr>
            <p:nvPr userDrawn="1"/>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Freeform 259">
              <a:extLst>
                <a:ext uri="{FF2B5EF4-FFF2-40B4-BE49-F238E27FC236}">
                  <a16:creationId xmlns:a16="http://schemas.microsoft.com/office/drawing/2014/main" id="{16ED02F3-2E6C-5AD2-3A6A-F0A0A48E1E9F}"/>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1" name="Freeform 260">
              <a:extLst>
                <a:ext uri="{FF2B5EF4-FFF2-40B4-BE49-F238E27FC236}">
                  <a16:creationId xmlns:a16="http://schemas.microsoft.com/office/drawing/2014/main" id="{4C8677E0-0275-85F0-8907-AE330183FC8A}"/>
                </a:ext>
              </a:extLst>
            </p:cNvPr>
            <p:cNvSpPr>
              <a:spLocks noEditPoints="1"/>
            </p:cNvSpPr>
            <p:nvPr userDrawn="1"/>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Freeform 261">
              <a:extLst>
                <a:ext uri="{FF2B5EF4-FFF2-40B4-BE49-F238E27FC236}">
                  <a16:creationId xmlns:a16="http://schemas.microsoft.com/office/drawing/2014/main" id="{F9664E23-0CC6-062D-7AC4-2D78B33275AC}"/>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3" name="Freeform 262">
              <a:extLst>
                <a:ext uri="{FF2B5EF4-FFF2-40B4-BE49-F238E27FC236}">
                  <a16:creationId xmlns:a16="http://schemas.microsoft.com/office/drawing/2014/main" id="{F6802AD1-0172-998F-44AF-722B2E1B2559}"/>
                </a:ext>
              </a:extLst>
            </p:cNvPr>
            <p:cNvSpPr>
              <a:spLocks/>
            </p:cNvSpPr>
            <p:nvPr userDrawn="1"/>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Freeform 263">
              <a:extLst>
                <a:ext uri="{FF2B5EF4-FFF2-40B4-BE49-F238E27FC236}">
                  <a16:creationId xmlns:a16="http://schemas.microsoft.com/office/drawing/2014/main" id="{EB1F468B-D81F-D9E4-23A7-2A2A966EFC4A}"/>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5" name="Freeform 264">
              <a:extLst>
                <a:ext uri="{FF2B5EF4-FFF2-40B4-BE49-F238E27FC236}">
                  <a16:creationId xmlns:a16="http://schemas.microsoft.com/office/drawing/2014/main" id="{116DFF6E-0474-D764-2927-A3F43D5D8E3C}"/>
                </a:ext>
              </a:extLst>
            </p:cNvPr>
            <p:cNvSpPr>
              <a:spLocks noEditPoints="1"/>
            </p:cNvSpPr>
            <p:nvPr userDrawn="1"/>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Freeform 265">
              <a:extLst>
                <a:ext uri="{FF2B5EF4-FFF2-40B4-BE49-F238E27FC236}">
                  <a16:creationId xmlns:a16="http://schemas.microsoft.com/office/drawing/2014/main" id="{99C3673C-E6DD-5FB4-0834-AFFC22C2C347}"/>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7" name="Freeform 266">
              <a:extLst>
                <a:ext uri="{FF2B5EF4-FFF2-40B4-BE49-F238E27FC236}">
                  <a16:creationId xmlns:a16="http://schemas.microsoft.com/office/drawing/2014/main" id="{897A1730-A436-344F-22A9-8A6500C4BC6D}"/>
                </a:ext>
              </a:extLst>
            </p:cNvPr>
            <p:cNvSpPr>
              <a:spLocks noEditPoints="1"/>
            </p:cNvSpPr>
            <p:nvPr userDrawn="1"/>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Freeform 267">
              <a:extLst>
                <a:ext uri="{FF2B5EF4-FFF2-40B4-BE49-F238E27FC236}">
                  <a16:creationId xmlns:a16="http://schemas.microsoft.com/office/drawing/2014/main" id="{6CEFFF42-A518-C997-19A3-C3D42F856544}"/>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9" name="Freeform 268">
              <a:extLst>
                <a:ext uri="{FF2B5EF4-FFF2-40B4-BE49-F238E27FC236}">
                  <a16:creationId xmlns:a16="http://schemas.microsoft.com/office/drawing/2014/main" id="{83EBB818-C6E0-1113-C5D5-4CEA6379486A}"/>
                </a:ext>
              </a:extLst>
            </p:cNvPr>
            <p:cNvSpPr>
              <a:spLocks/>
            </p:cNvSpPr>
            <p:nvPr userDrawn="1"/>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Freeform 269">
              <a:extLst>
                <a:ext uri="{FF2B5EF4-FFF2-40B4-BE49-F238E27FC236}">
                  <a16:creationId xmlns:a16="http://schemas.microsoft.com/office/drawing/2014/main" id="{DD3299E4-BB84-BA20-9072-7D8B6A541DB4}"/>
                </a:ext>
              </a:extLst>
            </p:cNvPr>
            <p:cNvSpPr>
              <a:spLocks/>
            </p:cNvSpPr>
            <p:nvPr userDrawn="1"/>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1" name="Freeform 270">
              <a:extLst>
                <a:ext uri="{FF2B5EF4-FFF2-40B4-BE49-F238E27FC236}">
                  <a16:creationId xmlns:a16="http://schemas.microsoft.com/office/drawing/2014/main" id="{35F06E25-193F-091C-5A6B-92FD1E5E3975}"/>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Freeform 271">
              <a:extLst>
                <a:ext uri="{FF2B5EF4-FFF2-40B4-BE49-F238E27FC236}">
                  <a16:creationId xmlns:a16="http://schemas.microsoft.com/office/drawing/2014/main" id="{7C316552-69B9-F4CC-DE34-38D7F315A6E8}"/>
                </a:ext>
              </a:extLst>
            </p:cNvPr>
            <p:cNvSpPr>
              <a:spLocks noEditPoints="1"/>
            </p:cNvSpPr>
            <p:nvPr userDrawn="1"/>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3" name="Freeform 272">
              <a:extLst>
                <a:ext uri="{FF2B5EF4-FFF2-40B4-BE49-F238E27FC236}">
                  <a16:creationId xmlns:a16="http://schemas.microsoft.com/office/drawing/2014/main" id="{10D5C900-4250-9188-D82E-AE5FD34C5EB2}"/>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Freeform 273">
              <a:extLst>
                <a:ext uri="{FF2B5EF4-FFF2-40B4-BE49-F238E27FC236}">
                  <a16:creationId xmlns:a16="http://schemas.microsoft.com/office/drawing/2014/main" id="{9C80424A-EAE4-B03A-07B0-4BDE8D35845B}"/>
                </a:ext>
              </a:extLst>
            </p:cNvPr>
            <p:cNvSpPr>
              <a:spLocks/>
            </p:cNvSpPr>
            <p:nvPr userDrawn="1"/>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5" name="Freeform 274">
              <a:extLst>
                <a:ext uri="{FF2B5EF4-FFF2-40B4-BE49-F238E27FC236}">
                  <a16:creationId xmlns:a16="http://schemas.microsoft.com/office/drawing/2014/main" id="{1CC563A2-2E4D-EA6B-3668-DDDCFF85FF65}"/>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Freeform 275">
              <a:extLst>
                <a:ext uri="{FF2B5EF4-FFF2-40B4-BE49-F238E27FC236}">
                  <a16:creationId xmlns:a16="http://schemas.microsoft.com/office/drawing/2014/main" id="{B7D8D2D5-1A9F-880B-3A46-5E1E99DF0ED1}"/>
                </a:ext>
              </a:extLst>
            </p:cNvPr>
            <p:cNvSpPr>
              <a:spLocks noEditPoints="1"/>
            </p:cNvSpPr>
            <p:nvPr userDrawn="1"/>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7" name="Freeform 276">
              <a:extLst>
                <a:ext uri="{FF2B5EF4-FFF2-40B4-BE49-F238E27FC236}">
                  <a16:creationId xmlns:a16="http://schemas.microsoft.com/office/drawing/2014/main" id="{D5AF94BA-8F7E-F881-9308-B3EEAEB75195}"/>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Freeform 277">
              <a:extLst>
                <a:ext uri="{FF2B5EF4-FFF2-40B4-BE49-F238E27FC236}">
                  <a16:creationId xmlns:a16="http://schemas.microsoft.com/office/drawing/2014/main" id="{CBAE95D0-E635-3213-7039-9416768654D9}"/>
                </a:ext>
              </a:extLst>
            </p:cNvPr>
            <p:cNvSpPr>
              <a:spLocks noEditPoints="1"/>
            </p:cNvSpPr>
            <p:nvPr userDrawn="1"/>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9" name="Freeform 278">
              <a:extLst>
                <a:ext uri="{FF2B5EF4-FFF2-40B4-BE49-F238E27FC236}">
                  <a16:creationId xmlns:a16="http://schemas.microsoft.com/office/drawing/2014/main" id="{E250297A-41CD-D09E-CD7A-75FD23DA0FFE}"/>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Freeform 279">
              <a:extLst>
                <a:ext uri="{FF2B5EF4-FFF2-40B4-BE49-F238E27FC236}">
                  <a16:creationId xmlns:a16="http://schemas.microsoft.com/office/drawing/2014/main" id="{534F4FDC-01B0-2073-B09E-4B6A173B834A}"/>
                </a:ext>
              </a:extLst>
            </p:cNvPr>
            <p:cNvSpPr>
              <a:spLocks/>
            </p:cNvSpPr>
            <p:nvPr userDrawn="1"/>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1" name="Freeform 280">
              <a:extLst>
                <a:ext uri="{FF2B5EF4-FFF2-40B4-BE49-F238E27FC236}">
                  <a16:creationId xmlns:a16="http://schemas.microsoft.com/office/drawing/2014/main" id="{32420DAE-B20A-4EF3-636F-2B8D159926A1}"/>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2" name="Freeform 281">
              <a:extLst>
                <a:ext uri="{FF2B5EF4-FFF2-40B4-BE49-F238E27FC236}">
                  <a16:creationId xmlns:a16="http://schemas.microsoft.com/office/drawing/2014/main" id="{C7CC0676-4FAB-E63E-5663-41F8F13D901C}"/>
                </a:ext>
              </a:extLst>
            </p:cNvPr>
            <p:cNvSpPr>
              <a:spLocks/>
            </p:cNvSpPr>
            <p:nvPr userDrawn="1"/>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3" name="Freeform 282">
              <a:extLst>
                <a:ext uri="{FF2B5EF4-FFF2-40B4-BE49-F238E27FC236}">
                  <a16:creationId xmlns:a16="http://schemas.microsoft.com/office/drawing/2014/main" id="{BC4FC14F-922B-50DC-A42C-B1E2B8C48F2A}"/>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Freeform 283">
              <a:extLst>
                <a:ext uri="{FF2B5EF4-FFF2-40B4-BE49-F238E27FC236}">
                  <a16:creationId xmlns:a16="http://schemas.microsoft.com/office/drawing/2014/main" id="{325052FA-7E38-FC49-35A7-FB1CD95677FD}"/>
                </a:ext>
              </a:extLst>
            </p:cNvPr>
            <p:cNvSpPr>
              <a:spLocks/>
            </p:cNvSpPr>
            <p:nvPr userDrawn="1"/>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5" name="Freeform 284">
              <a:extLst>
                <a:ext uri="{FF2B5EF4-FFF2-40B4-BE49-F238E27FC236}">
                  <a16:creationId xmlns:a16="http://schemas.microsoft.com/office/drawing/2014/main" id="{738C9398-DF87-4F0B-11C7-CB03DD7DCE3F}"/>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6" name="Freeform 285">
              <a:extLst>
                <a:ext uri="{FF2B5EF4-FFF2-40B4-BE49-F238E27FC236}">
                  <a16:creationId xmlns:a16="http://schemas.microsoft.com/office/drawing/2014/main" id="{D077E77E-BE59-9CE4-3831-047AA4683327}"/>
                </a:ext>
              </a:extLst>
            </p:cNvPr>
            <p:cNvSpPr>
              <a:spLocks/>
            </p:cNvSpPr>
            <p:nvPr userDrawn="1"/>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7" name="Freeform 286">
              <a:extLst>
                <a:ext uri="{FF2B5EF4-FFF2-40B4-BE49-F238E27FC236}">
                  <a16:creationId xmlns:a16="http://schemas.microsoft.com/office/drawing/2014/main" id="{ECCB297F-F594-EE1C-3452-BA70E38D0CB6}"/>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8" name="Freeform 287">
              <a:extLst>
                <a:ext uri="{FF2B5EF4-FFF2-40B4-BE49-F238E27FC236}">
                  <a16:creationId xmlns:a16="http://schemas.microsoft.com/office/drawing/2014/main" id="{F30AFD9E-30D8-0F98-B893-3EA0B72714DA}"/>
                </a:ext>
              </a:extLst>
            </p:cNvPr>
            <p:cNvSpPr>
              <a:spLocks noEditPoints="1"/>
            </p:cNvSpPr>
            <p:nvPr userDrawn="1"/>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9" name="Freeform 288">
              <a:extLst>
                <a:ext uri="{FF2B5EF4-FFF2-40B4-BE49-F238E27FC236}">
                  <a16:creationId xmlns:a16="http://schemas.microsoft.com/office/drawing/2014/main" id="{F5ADADB6-B42E-7446-E77D-F99BABB9CC98}"/>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0" name="Freeform 289">
              <a:extLst>
                <a:ext uri="{FF2B5EF4-FFF2-40B4-BE49-F238E27FC236}">
                  <a16:creationId xmlns:a16="http://schemas.microsoft.com/office/drawing/2014/main" id="{55460507-A5E6-71D6-E2D7-A5B3B4667BE0}"/>
                </a:ext>
              </a:extLst>
            </p:cNvPr>
            <p:cNvSpPr>
              <a:spLocks noEditPoints="1"/>
            </p:cNvSpPr>
            <p:nvPr userDrawn="1"/>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1" name="Freeform 290">
              <a:extLst>
                <a:ext uri="{FF2B5EF4-FFF2-40B4-BE49-F238E27FC236}">
                  <a16:creationId xmlns:a16="http://schemas.microsoft.com/office/drawing/2014/main" id="{E9AC108A-DF4D-CCD9-2E78-4810D8D5AF42}"/>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2" name="Freeform 291">
              <a:extLst>
                <a:ext uri="{FF2B5EF4-FFF2-40B4-BE49-F238E27FC236}">
                  <a16:creationId xmlns:a16="http://schemas.microsoft.com/office/drawing/2014/main" id="{27478F80-F9B8-9264-BFDB-FD9884034D09}"/>
                </a:ext>
              </a:extLst>
            </p:cNvPr>
            <p:cNvSpPr>
              <a:spLocks noEditPoints="1"/>
            </p:cNvSpPr>
            <p:nvPr userDrawn="1"/>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3" name="Freeform 292">
              <a:extLst>
                <a:ext uri="{FF2B5EF4-FFF2-40B4-BE49-F238E27FC236}">
                  <a16:creationId xmlns:a16="http://schemas.microsoft.com/office/drawing/2014/main" id="{9432AD6A-D8E2-B543-96E3-64246FCA5D15}"/>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4" name="Freeform 293">
              <a:extLst>
                <a:ext uri="{FF2B5EF4-FFF2-40B4-BE49-F238E27FC236}">
                  <a16:creationId xmlns:a16="http://schemas.microsoft.com/office/drawing/2014/main" id="{A10816A9-8545-42F6-7A5D-25B7BE53B4C0}"/>
                </a:ext>
              </a:extLst>
            </p:cNvPr>
            <p:cNvSpPr>
              <a:spLocks/>
            </p:cNvSpPr>
            <p:nvPr userDrawn="1"/>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5" name="Freeform 294">
              <a:extLst>
                <a:ext uri="{FF2B5EF4-FFF2-40B4-BE49-F238E27FC236}">
                  <a16:creationId xmlns:a16="http://schemas.microsoft.com/office/drawing/2014/main" id="{77C8E324-1DEF-4A9F-27DA-7B7E80DF9977}"/>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6" name="Freeform 295">
              <a:extLst>
                <a:ext uri="{FF2B5EF4-FFF2-40B4-BE49-F238E27FC236}">
                  <a16:creationId xmlns:a16="http://schemas.microsoft.com/office/drawing/2014/main" id="{0322C8E6-867F-4ABD-A4F7-DC0CB85C6E6C}"/>
                </a:ext>
              </a:extLst>
            </p:cNvPr>
            <p:cNvSpPr>
              <a:spLocks noEditPoints="1"/>
            </p:cNvSpPr>
            <p:nvPr userDrawn="1"/>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7" name="Freeform 296">
              <a:extLst>
                <a:ext uri="{FF2B5EF4-FFF2-40B4-BE49-F238E27FC236}">
                  <a16:creationId xmlns:a16="http://schemas.microsoft.com/office/drawing/2014/main" id="{030470F1-71D4-4BD3-84DA-C7173185038D}"/>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Freeform 297">
              <a:extLst>
                <a:ext uri="{FF2B5EF4-FFF2-40B4-BE49-F238E27FC236}">
                  <a16:creationId xmlns:a16="http://schemas.microsoft.com/office/drawing/2014/main" id="{B61C6F5D-04E9-0968-2471-9B1192D9F0AC}"/>
                </a:ext>
              </a:extLst>
            </p:cNvPr>
            <p:cNvSpPr>
              <a:spLocks/>
            </p:cNvSpPr>
            <p:nvPr userDrawn="1"/>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9" name="Freeform 298">
              <a:extLst>
                <a:ext uri="{FF2B5EF4-FFF2-40B4-BE49-F238E27FC236}">
                  <a16:creationId xmlns:a16="http://schemas.microsoft.com/office/drawing/2014/main" id="{D17879AB-CF43-10E7-7E0C-E194B3F06A26}"/>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0" name="Freeform 299">
              <a:extLst>
                <a:ext uri="{FF2B5EF4-FFF2-40B4-BE49-F238E27FC236}">
                  <a16:creationId xmlns:a16="http://schemas.microsoft.com/office/drawing/2014/main" id="{9FF12916-BDD8-5536-C535-6493DC93646E}"/>
                </a:ext>
              </a:extLst>
            </p:cNvPr>
            <p:cNvSpPr>
              <a:spLocks/>
            </p:cNvSpPr>
            <p:nvPr userDrawn="1"/>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1" name="Freeform 300">
              <a:extLst>
                <a:ext uri="{FF2B5EF4-FFF2-40B4-BE49-F238E27FC236}">
                  <a16:creationId xmlns:a16="http://schemas.microsoft.com/office/drawing/2014/main" id="{A861480D-98D3-DAA5-F0B8-2271EBE0C7F7}"/>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2" name="Freeform 301">
              <a:extLst>
                <a:ext uri="{FF2B5EF4-FFF2-40B4-BE49-F238E27FC236}">
                  <a16:creationId xmlns:a16="http://schemas.microsoft.com/office/drawing/2014/main" id="{2B7EC2D3-7F5B-7D69-DBC6-12CA0EB4C3BA}"/>
                </a:ext>
              </a:extLst>
            </p:cNvPr>
            <p:cNvSpPr>
              <a:spLocks/>
            </p:cNvSpPr>
            <p:nvPr userDrawn="1"/>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3" name="Freeform 302">
              <a:extLst>
                <a:ext uri="{FF2B5EF4-FFF2-40B4-BE49-F238E27FC236}">
                  <a16:creationId xmlns:a16="http://schemas.microsoft.com/office/drawing/2014/main" id="{F9AABE54-E2E8-779E-6FBE-A0ECAE36A7A6}"/>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4" name="Freeform 303">
              <a:extLst>
                <a:ext uri="{FF2B5EF4-FFF2-40B4-BE49-F238E27FC236}">
                  <a16:creationId xmlns:a16="http://schemas.microsoft.com/office/drawing/2014/main" id="{E2744B78-BF5B-C647-ECC3-060ADAEB7EE9}"/>
                </a:ext>
              </a:extLst>
            </p:cNvPr>
            <p:cNvSpPr>
              <a:spLocks/>
            </p:cNvSpPr>
            <p:nvPr userDrawn="1"/>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5" name="Freeform 304">
              <a:extLst>
                <a:ext uri="{FF2B5EF4-FFF2-40B4-BE49-F238E27FC236}">
                  <a16:creationId xmlns:a16="http://schemas.microsoft.com/office/drawing/2014/main" id="{7FC5F61D-218A-A199-E568-F66F763D9E73}"/>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6" name="Freeform 305">
              <a:extLst>
                <a:ext uri="{FF2B5EF4-FFF2-40B4-BE49-F238E27FC236}">
                  <a16:creationId xmlns:a16="http://schemas.microsoft.com/office/drawing/2014/main" id="{98E16D71-ED39-BC89-FABA-900656AF147C}"/>
                </a:ext>
              </a:extLst>
            </p:cNvPr>
            <p:cNvSpPr>
              <a:spLocks/>
            </p:cNvSpPr>
            <p:nvPr userDrawn="1"/>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7" name="Freeform 306">
              <a:extLst>
                <a:ext uri="{FF2B5EF4-FFF2-40B4-BE49-F238E27FC236}">
                  <a16:creationId xmlns:a16="http://schemas.microsoft.com/office/drawing/2014/main" id="{CC12051D-E920-EFC2-D4A2-92F8E8A660FE}"/>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8" name="Freeform 307">
              <a:extLst>
                <a:ext uri="{FF2B5EF4-FFF2-40B4-BE49-F238E27FC236}">
                  <a16:creationId xmlns:a16="http://schemas.microsoft.com/office/drawing/2014/main" id="{09802429-6A88-7C9A-64D5-1C22EB50D3CF}"/>
                </a:ext>
              </a:extLst>
            </p:cNvPr>
            <p:cNvSpPr>
              <a:spLocks/>
            </p:cNvSpPr>
            <p:nvPr userDrawn="1"/>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9" name="Freeform 308">
              <a:extLst>
                <a:ext uri="{FF2B5EF4-FFF2-40B4-BE49-F238E27FC236}">
                  <a16:creationId xmlns:a16="http://schemas.microsoft.com/office/drawing/2014/main" id="{07683547-B6A3-C7BB-E29F-3D42DC93823A}"/>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0" name="Freeform 309">
              <a:extLst>
                <a:ext uri="{FF2B5EF4-FFF2-40B4-BE49-F238E27FC236}">
                  <a16:creationId xmlns:a16="http://schemas.microsoft.com/office/drawing/2014/main" id="{7B619F44-2264-8568-2448-5DA762CA5548}"/>
                </a:ext>
              </a:extLst>
            </p:cNvPr>
            <p:cNvSpPr>
              <a:spLocks/>
            </p:cNvSpPr>
            <p:nvPr userDrawn="1"/>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1" name="Freeform 310">
              <a:extLst>
                <a:ext uri="{FF2B5EF4-FFF2-40B4-BE49-F238E27FC236}">
                  <a16:creationId xmlns:a16="http://schemas.microsoft.com/office/drawing/2014/main" id="{0E5BD4C0-2976-2901-8585-4D82F7E16991}"/>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Freeform 311">
              <a:extLst>
                <a:ext uri="{FF2B5EF4-FFF2-40B4-BE49-F238E27FC236}">
                  <a16:creationId xmlns:a16="http://schemas.microsoft.com/office/drawing/2014/main" id="{85490EDC-1DA5-CCF3-4479-CEBB3ED88AEA}"/>
                </a:ext>
              </a:extLst>
            </p:cNvPr>
            <p:cNvSpPr>
              <a:spLocks noEditPoints="1"/>
            </p:cNvSpPr>
            <p:nvPr userDrawn="1"/>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3" name="Freeform 312">
              <a:extLst>
                <a:ext uri="{FF2B5EF4-FFF2-40B4-BE49-F238E27FC236}">
                  <a16:creationId xmlns:a16="http://schemas.microsoft.com/office/drawing/2014/main" id="{54AD0BB2-62C2-8E79-BB5D-C5970D5D48BB}"/>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4" name="Freeform 313">
              <a:extLst>
                <a:ext uri="{FF2B5EF4-FFF2-40B4-BE49-F238E27FC236}">
                  <a16:creationId xmlns:a16="http://schemas.microsoft.com/office/drawing/2014/main" id="{39310E98-2438-4BA3-8234-833F9AF08253}"/>
                </a:ext>
              </a:extLst>
            </p:cNvPr>
            <p:cNvSpPr>
              <a:spLocks/>
            </p:cNvSpPr>
            <p:nvPr userDrawn="1"/>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5" name="Freeform 314">
              <a:extLst>
                <a:ext uri="{FF2B5EF4-FFF2-40B4-BE49-F238E27FC236}">
                  <a16:creationId xmlns:a16="http://schemas.microsoft.com/office/drawing/2014/main" id="{116923DB-E7E0-23CA-07DA-B593F1120B6D}"/>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6" name="Freeform 315">
              <a:extLst>
                <a:ext uri="{FF2B5EF4-FFF2-40B4-BE49-F238E27FC236}">
                  <a16:creationId xmlns:a16="http://schemas.microsoft.com/office/drawing/2014/main" id="{4A062237-A361-6B17-399A-3F0F04D3753F}"/>
                </a:ext>
              </a:extLst>
            </p:cNvPr>
            <p:cNvSpPr>
              <a:spLocks/>
            </p:cNvSpPr>
            <p:nvPr userDrawn="1"/>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7" name="Freeform 316">
              <a:extLst>
                <a:ext uri="{FF2B5EF4-FFF2-40B4-BE49-F238E27FC236}">
                  <a16:creationId xmlns:a16="http://schemas.microsoft.com/office/drawing/2014/main" id="{4A33F271-564E-4369-020A-535BC35D4B8F}"/>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8" name="Freeform 317">
              <a:extLst>
                <a:ext uri="{FF2B5EF4-FFF2-40B4-BE49-F238E27FC236}">
                  <a16:creationId xmlns:a16="http://schemas.microsoft.com/office/drawing/2014/main" id="{D89EE74D-C2E4-AA48-6D90-323089D3B6B8}"/>
                </a:ext>
              </a:extLst>
            </p:cNvPr>
            <p:cNvSpPr>
              <a:spLocks noEditPoints="1"/>
            </p:cNvSpPr>
            <p:nvPr userDrawn="1"/>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9" name="Freeform 318">
              <a:extLst>
                <a:ext uri="{FF2B5EF4-FFF2-40B4-BE49-F238E27FC236}">
                  <a16:creationId xmlns:a16="http://schemas.microsoft.com/office/drawing/2014/main" id="{C15A2A49-3AF9-726C-7EAD-5B7FAA396043}"/>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0" name="Freeform 319">
              <a:extLst>
                <a:ext uri="{FF2B5EF4-FFF2-40B4-BE49-F238E27FC236}">
                  <a16:creationId xmlns:a16="http://schemas.microsoft.com/office/drawing/2014/main" id="{0F6F3468-4B28-A43F-057F-DCA2DF34D9E3}"/>
                </a:ext>
              </a:extLst>
            </p:cNvPr>
            <p:cNvSpPr>
              <a:spLocks/>
            </p:cNvSpPr>
            <p:nvPr userDrawn="1"/>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rgbClr val="C4C5C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1" name="Freeform 320">
              <a:extLst>
                <a:ext uri="{FF2B5EF4-FFF2-40B4-BE49-F238E27FC236}">
                  <a16:creationId xmlns:a16="http://schemas.microsoft.com/office/drawing/2014/main" id="{46BC78A4-1BF0-3632-4BD9-9BE40F2AB9C9}"/>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2" name="Freeform 321">
              <a:extLst>
                <a:ext uri="{FF2B5EF4-FFF2-40B4-BE49-F238E27FC236}">
                  <a16:creationId xmlns:a16="http://schemas.microsoft.com/office/drawing/2014/main" id="{C1480146-5F41-543C-EBDE-978B85CB1B56}"/>
                </a:ext>
              </a:extLst>
            </p:cNvPr>
            <p:cNvSpPr>
              <a:spLocks/>
            </p:cNvSpPr>
            <p:nvPr userDrawn="1"/>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3" name="Freeform 322">
              <a:extLst>
                <a:ext uri="{FF2B5EF4-FFF2-40B4-BE49-F238E27FC236}">
                  <a16:creationId xmlns:a16="http://schemas.microsoft.com/office/drawing/2014/main" id="{AAD9AB32-7721-420E-45E5-E59553CB103F}"/>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Freeform 323">
              <a:extLst>
                <a:ext uri="{FF2B5EF4-FFF2-40B4-BE49-F238E27FC236}">
                  <a16:creationId xmlns:a16="http://schemas.microsoft.com/office/drawing/2014/main" id="{DBC1E935-066A-AD70-1BD1-611882E29AE6}"/>
                </a:ext>
              </a:extLst>
            </p:cNvPr>
            <p:cNvSpPr>
              <a:spLocks/>
            </p:cNvSpPr>
            <p:nvPr userDrawn="1"/>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324">
              <a:extLst>
                <a:ext uri="{FF2B5EF4-FFF2-40B4-BE49-F238E27FC236}">
                  <a16:creationId xmlns:a16="http://schemas.microsoft.com/office/drawing/2014/main" id="{71B399CB-71FC-6549-94F2-04D36277F26B}"/>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325">
              <a:extLst>
                <a:ext uri="{FF2B5EF4-FFF2-40B4-BE49-F238E27FC236}">
                  <a16:creationId xmlns:a16="http://schemas.microsoft.com/office/drawing/2014/main" id="{7C9003DD-146D-850A-12D6-C74880E6B66E}"/>
                </a:ext>
              </a:extLst>
            </p:cNvPr>
            <p:cNvSpPr>
              <a:spLocks/>
            </p:cNvSpPr>
            <p:nvPr userDrawn="1"/>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326">
              <a:extLst>
                <a:ext uri="{FF2B5EF4-FFF2-40B4-BE49-F238E27FC236}">
                  <a16:creationId xmlns:a16="http://schemas.microsoft.com/office/drawing/2014/main" id="{539805A9-4064-8799-D681-89F932432832}"/>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327">
              <a:extLst>
                <a:ext uri="{FF2B5EF4-FFF2-40B4-BE49-F238E27FC236}">
                  <a16:creationId xmlns:a16="http://schemas.microsoft.com/office/drawing/2014/main" id="{8F0A6B9C-1DD1-AD96-E794-7312F3F9D634}"/>
                </a:ext>
              </a:extLst>
            </p:cNvPr>
            <p:cNvSpPr>
              <a:spLocks/>
            </p:cNvSpPr>
            <p:nvPr userDrawn="1"/>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328">
              <a:extLst>
                <a:ext uri="{FF2B5EF4-FFF2-40B4-BE49-F238E27FC236}">
                  <a16:creationId xmlns:a16="http://schemas.microsoft.com/office/drawing/2014/main" id="{51D265B5-6100-E569-860B-AA91B2C05930}"/>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0" name="Freeform 329">
              <a:extLst>
                <a:ext uri="{FF2B5EF4-FFF2-40B4-BE49-F238E27FC236}">
                  <a16:creationId xmlns:a16="http://schemas.microsoft.com/office/drawing/2014/main" id="{86655AD4-A886-371E-DF8B-0D3A178E4917}"/>
                </a:ext>
              </a:extLst>
            </p:cNvPr>
            <p:cNvSpPr>
              <a:spLocks/>
            </p:cNvSpPr>
            <p:nvPr userDrawn="1"/>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Freeform 330">
              <a:extLst>
                <a:ext uri="{FF2B5EF4-FFF2-40B4-BE49-F238E27FC236}">
                  <a16:creationId xmlns:a16="http://schemas.microsoft.com/office/drawing/2014/main" id="{2EC20356-587B-8603-C37A-485F0F219D6D}"/>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Freeform 331">
              <a:extLst>
                <a:ext uri="{FF2B5EF4-FFF2-40B4-BE49-F238E27FC236}">
                  <a16:creationId xmlns:a16="http://schemas.microsoft.com/office/drawing/2014/main" id="{96E1F2BD-6687-F16B-8F21-6053DBC04244}"/>
                </a:ext>
              </a:extLst>
            </p:cNvPr>
            <p:cNvSpPr>
              <a:spLocks/>
            </p:cNvSpPr>
            <p:nvPr userDrawn="1"/>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Freeform 332">
              <a:extLst>
                <a:ext uri="{FF2B5EF4-FFF2-40B4-BE49-F238E27FC236}">
                  <a16:creationId xmlns:a16="http://schemas.microsoft.com/office/drawing/2014/main" id="{C4A9207C-8CCD-6A36-6DE3-AE15AEC42D7C}"/>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4" name="Freeform 333">
              <a:extLst>
                <a:ext uri="{FF2B5EF4-FFF2-40B4-BE49-F238E27FC236}">
                  <a16:creationId xmlns:a16="http://schemas.microsoft.com/office/drawing/2014/main" id="{0C800325-89FA-22EA-061C-891DC4086AE1}"/>
                </a:ext>
              </a:extLst>
            </p:cNvPr>
            <p:cNvSpPr>
              <a:spLocks noEditPoints="1"/>
            </p:cNvSpPr>
            <p:nvPr userDrawn="1"/>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Freeform 334">
              <a:extLst>
                <a:ext uri="{FF2B5EF4-FFF2-40B4-BE49-F238E27FC236}">
                  <a16:creationId xmlns:a16="http://schemas.microsoft.com/office/drawing/2014/main" id="{37DB067A-9913-CFE8-408C-287A44AA1FAE}"/>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Freeform 335">
              <a:extLst>
                <a:ext uri="{FF2B5EF4-FFF2-40B4-BE49-F238E27FC236}">
                  <a16:creationId xmlns:a16="http://schemas.microsoft.com/office/drawing/2014/main" id="{34CCC416-B891-C1D4-8EE5-2F30BEA5C37D}"/>
                </a:ext>
              </a:extLst>
            </p:cNvPr>
            <p:cNvSpPr>
              <a:spLocks/>
            </p:cNvSpPr>
            <p:nvPr userDrawn="1"/>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Freeform 336">
              <a:extLst>
                <a:ext uri="{FF2B5EF4-FFF2-40B4-BE49-F238E27FC236}">
                  <a16:creationId xmlns:a16="http://schemas.microsoft.com/office/drawing/2014/main" id="{EEE1278A-A98A-26B9-2289-8BDE8997401A}"/>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8" name="Freeform 337">
              <a:extLst>
                <a:ext uri="{FF2B5EF4-FFF2-40B4-BE49-F238E27FC236}">
                  <a16:creationId xmlns:a16="http://schemas.microsoft.com/office/drawing/2014/main" id="{4D709036-9E3C-07E2-6C82-EA6AEE2609C1}"/>
                </a:ext>
              </a:extLst>
            </p:cNvPr>
            <p:cNvSpPr>
              <a:spLocks noEditPoints="1"/>
            </p:cNvSpPr>
            <p:nvPr userDrawn="1"/>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9" name="Freeform 338">
              <a:extLst>
                <a:ext uri="{FF2B5EF4-FFF2-40B4-BE49-F238E27FC236}">
                  <a16:creationId xmlns:a16="http://schemas.microsoft.com/office/drawing/2014/main" id="{39743C86-4651-6F27-48EA-989133E80C88}"/>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0" name="Freeform 339">
              <a:extLst>
                <a:ext uri="{FF2B5EF4-FFF2-40B4-BE49-F238E27FC236}">
                  <a16:creationId xmlns:a16="http://schemas.microsoft.com/office/drawing/2014/main" id="{ABBD55EE-EC3A-0D88-AB3C-1725619BBBD1}"/>
                </a:ext>
              </a:extLst>
            </p:cNvPr>
            <p:cNvSpPr>
              <a:spLocks noEditPoints="1"/>
            </p:cNvSpPr>
            <p:nvPr userDrawn="1"/>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1" name="Freeform 340">
              <a:extLst>
                <a:ext uri="{FF2B5EF4-FFF2-40B4-BE49-F238E27FC236}">
                  <a16:creationId xmlns:a16="http://schemas.microsoft.com/office/drawing/2014/main" id="{DB9C5A20-67AC-435D-CACA-1178210C0C37}"/>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2" name="Freeform 341">
              <a:extLst>
                <a:ext uri="{FF2B5EF4-FFF2-40B4-BE49-F238E27FC236}">
                  <a16:creationId xmlns:a16="http://schemas.microsoft.com/office/drawing/2014/main" id="{96ADEA68-48EF-6133-55D7-0BB02BD5CA3D}"/>
                </a:ext>
              </a:extLst>
            </p:cNvPr>
            <p:cNvSpPr>
              <a:spLocks noEditPoints="1"/>
            </p:cNvSpPr>
            <p:nvPr userDrawn="1"/>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3" name="Freeform 342">
              <a:extLst>
                <a:ext uri="{FF2B5EF4-FFF2-40B4-BE49-F238E27FC236}">
                  <a16:creationId xmlns:a16="http://schemas.microsoft.com/office/drawing/2014/main" id="{7A1EA292-9DD0-B186-F883-79E8AD9DA6D3}"/>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4" name="Freeform 343">
              <a:extLst>
                <a:ext uri="{FF2B5EF4-FFF2-40B4-BE49-F238E27FC236}">
                  <a16:creationId xmlns:a16="http://schemas.microsoft.com/office/drawing/2014/main" id="{D9424C6D-87ED-6D8F-EE3C-2B29CDF2F1F7}"/>
                </a:ext>
              </a:extLst>
            </p:cNvPr>
            <p:cNvSpPr>
              <a:spLocks noEditPoints="1"/>
            </p:cNvSpPr>
            <p:nvPr userDrawn="1"/>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Freeform 344">
              <a:extLst>
                <a:ext uri="{FF2B5EF4-FFF2-40B4-BE49-F238E27FC236}">
                  <a16:creationId xmlns:a16="http://schemas.microsoft.com/office/drawing/2014/main" id="{E94CA5AA-C3A8-9715-6C63-13CAB293473F}"/>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6" name="Freeform 345">
              <a:extLst>
                <a:ext uri="{FF2B5EF4-FFF2-40B4-BE49-F238E27FC236}">
                  <a16:creationId xmlns:a16="http://schemas.microsoft.com/office/drawing/2014/main" id="{96118D5F-26C2-84D7-3CC3-08F8CF580475}"/>
                </a:ext>
              </a:extLst>
            </p:cNvPr>
            <p:cNvSpPr>
              <a:spLocks/>
            </p:cNvSpPr>
            <p:nvPr userDrawn="1"/>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Freeform 346">
              <a:extLst>
                <a:ext uri="{FF2B5EF4-FFF2-40B4-BE49-F238E27FC236}">
                  <a16:creationId xmlns:a16="http://schemas.microsoft.com/office/drawing/2014/main" id="{5910280B-5872-51B5-AC60-24D658614216}"/>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8" name="Freeform 347">
              <a:extLst>
                <a:ext uri="{FF2B5EF4-FFF2-40B4-BE49-F238E27FC236}">
                  <a16:creationId xmlns:a16="http://schemas.microsoft.com/office/drawing/2014/main" id="{123D34D8-6D1B-344E-B441-A05024F6EAC5}"/>
                </a:ext>
              </a:extLst>
            </p:cNvPr>
            <p:cNvSpPr>
              <a:spLocks/>
            </p:cNvSpPr>
            <p:nvPr userDrawn="1"/>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Freeform 348">
              <a:extLst>
                <a:ext uri="{FF2B5EF4-FFF2-40B4-BE49-F238E27FC236}">
                  <a16:creationId xmlns:a16="http://schemas.microsoft.com/office/drawing/2014/main" id="{17EAEB71-55AB-16FC-1EC7-105A58089CC9}"/>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Freeform 349">
              <a:extLst>
                <a:ext uri="{FF2B5EF4-FFF2-40B4-BE49-F238E27FC236}">
                  <a16:creationId xmlns:a16="http://schemas.microsoft.com/office/drawing/2014/main" id="{71741C67-A85F-95E9-645A-56B433397530}"/>
                </a:ext>
              </a:extLst>
            </p:cNvPr>
            <p:cNvSpPr>
              <a:spLocks/>
            </p:cNvSpPr>
            <p:nvPr userDrawn="1"/>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Freeform 350">
              <a:extLst>
                <a:ext uri="{FF2B5EF4-FFF2-40B4-BE49-F238E27FC236}">
                  <a16:creationId xmlns:a16="http://schemas.microsoft.com/office/drawing/2014/main" id="{B92ACC1E-96F3-9FD2-C41E-EA135EF80A66}"/>
                </a:ext>
              </a:extLst>
            </p:cNvPr>
            <p:cNvSpPr>
              <a:spLocks noEditPoints="1"/>
            </p:cNvSpPr>
            <p:nvPr userDrawn="1"/>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Freeform 351">
              <a:extLst>
                <a:ext uri="{FF2B5EF4-FFF2-40B4-BE49-F238E27FC236}">
                  <a16:creationId xmlns:a16="http://schemas.microsoft.com/office/drawing/2014/main" id="{432AC6DB-D1BE-CF12-0A47-4BDC405E7E5A}"/>
                </a:ext>
              </a:extLst>
            </p:cNvPr>
            <p:cNvSpPr>
              <a:spLocks noEditPoints="1"/>
            </p:cNvSpPr>
            <p:nvPr userDrawn="1"/>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Freeform 352">
              <a:extLst>
                <a:ext uri="{FF2B5EF4-FFF2-40B4-BE49-F238E27FC236}">
                  <a16:creationId xmlns:a16="http://schemas.microsoft.com/office/drawing/2014/main" id="{CD758024-33EA-4807-83CF-876E356DE337}"/>
                </a:ext>
              </a:extLst>
            </p:cNvPr>
            <p:cNvSpPr>
              <a:spLocks/>
            </p:cNvSpPr>
            <p:nvPr userDrawn="1"/>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Freeform 353">
              <a:extLst>
                <a:ext uri="{FF2B5EF4-FFF2-40B4-BE49-F238E27FC236}">
                  <a16:creationId xmlns:a16="http://schemas.microsoft.com/office/drawing/2014/main" id="{F474D750-F0D8-2C0E-1429-A3D58A38663A}"/>
                </a:ext>
              </a:extLst>
            </p:cNvPr>
            <p:cNvSpPr>
              <a:spLocks/>
            </p:cNvSpPr>
            <p:nvPr userDrawn="1"/>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354">
              <a:extLst>
                <a:ext uri="{FF2B5EF4-FFF2-40B4-BE49-F238E27FC236}">
                  <a16:creationId xmlns:a16="http://schemas.microsoft.com/office/drawing/2014/main" id="{6CCB00B4-506F-A048-2FBD-4A0F1CE9448D}"/>
                </a:ext>
              </a:extLst>
            </p:cNvPr>
            <p:cNvSpPr>
              <a:spLocks/>
            </p:cNvSpPr>
            <p:nvPr userDrawn="1"/>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355">
              <a:extLst>
                <a:ext uri="{FF2B5EF4-FFF2-40B4-BE49-F238E27FC236}">
                  <a16:creationId xmlns:a16="http://schemas.microsoft.com/office/drawing/2014/main" id="{473525E5-3FD5-B3E6-1195-A4E49BEBEE2B}"/>
                </a:ext>
              </a:extLst>
            </p:cNvPr>
            <p:cNvSpPr>
              <a:spLocks/>
            </p:cNvSpPr>
            <p:nvPr userDrawn="1"/>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356">
              <a:extLst>
                <a:ext uri="{FF2B5EF4-FFF2-40B4-BE49-F238E27FC236}">
                  <a16:creationId xmlns:a16="http://schemas.microsoft.com/office/drawing/2014/main" id="{7CFCABF3-FE88-2490-3D0C-48F803A0D474}"/>
                </a:ext>
              </a:extLst>
            </p:cNvPr>
            <p:cNvSpPr>
              <a:spLocks/>
            </p:cNvSpPr>
            <p:nvPr userDrawn="1"/>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357">
              <a:extLst>
                <a:ext uri="{FF2B5EF4-FFF2-40B4-BE49-F238E27FC236}">
                  <a16:creationId xmlns:a16="http://schemas.microsoft.com/office/drawing/2014/main" id="{6F7B90AE-DDE9-FF42-73D9-E839D3D09311}"/>
                </a:ext>
              </a:extLst>
            </p:cNvPr>
            <p:cNvSpPr>
              <a:spLocks/>
            </p:cNvSpPr>
            <p:nvPr userDrawn="1"/>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Freeform 358">
              <a:extLst>
                <a:ext uri="{FF2B5EF4-FFF2-40B4-BE49-F238E27FC236}">
                  <a16:creationId xmlns:a16="http://schemas.microsoft.com/office/drawing/2014/main" id="{CEF54290-A6EC-D54D-1F56-DFB11579ED74}"/>
                </a:ext>
              </a:extLst>
            </p:cNvPr>
            <p:cNvSpPr>
              <a:spLocks/>
            </p:cNvSpPr>
            <p:nvPr userDrawn="1"/>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0" name="Freeform 359">
              <a:extLst>
                <a:ext uri="{FF2B5EF4-FFF2-40B4-BE49-F238E27FC236}">
                  <a16:creationId xmlns:a16="http://schemas.microsoft.com/office/drawing/2014/main" id="{D0F2E42D-F4FB-9871-784C-BB230B89D691}"/>
                </a:ext>
              </a:extLst>
            </p:cNvPr>
            <p:cNvSpPr>
              <a:spLocks/>
            </p:cNvSpPr>
            <p:nvPr userDrawn="1"/>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Freeform 360">
              <a:extLst>
                <a:ext uri="{FF2B5EF4-FFF2-40B4-BE49-F238E27FC236}">
                  <a16:creationId xmlns:a16="http://schemas.microsoft.com/office/drawing/2014/main" id="{6DF168CC-0105-D3A0-CF20-B6C8B8409BE4}"/>
                </a:ext>
              </a:extLst>
            </p:cNvPr>
            <p:cNvSpPr>
              <a:spLocks/>
            </p:cNvSpPr>
            <p:nvPr userDrawn="1"/>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rgbClr val="C4C5C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2" name="Freeform 361">
              <a:extLst>
                <a:ext uri="{FF2B5EF4-FFF2-40B4-BE49-F238E27FC236}">
                  <a16:creationId xmlns:a16="http://schemas.microsoft.com/office/drawing/2014/main" id="{5F780612-A7D6-3949-CF48-54869E5968DD}"/>
                </a:ext>
              </a:extLst>
            </p:cNvPr>
            <p:cNvSpPr>
              <a:spLocks/>
            </p:cNvSpPr>
            <p:nvPr userDrawn="1"/>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rgbClr val="C4C5C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Source">
            <a:extLst>
              <a:ext uri="{FF2B5EF4-FFF2-40B4-BE49-F238E27FC236}">
                <a16:creationId xmlns:a16="http://schemas.microsoft.com/office/drawing/2014/main" id="{EAFDD950-B3C7-2BE6-E0EC-5FAAC4F6BA46}"/>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864D38C3-B2FD-AE80-8B47-68DB386F2BDF}"/>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095606292"/>
      </p:ext>
    </p:extLst>
  </p:cSld>
  <p:clrMapOvr>
    <a:masterClrMapping/>
  </p:clrMapOvr>
  <p:transition>
    <p:wip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1 - Headline, copy, 3 boxes, 2 photos - newspri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576027" y="1727201"/>
            <a:ext cx="3167298" cy="1282774"/>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3" name="Rectangle 2">
            <a:extLst>
              <a:ext uri="{FF2B5EF4-FFF2-40B4-BE49-F238E27FC236}">
                <a16:creationId xmlns:a16="http://schemas.microsoft.com/office/drawing/2014/main" id="{796B6840-8ACC-9DC2-06B5-1953605282F0}"/>
              </a:ext>
            </a:extLst>
          </p:cNvPr>
          <p:cNvSpPr/>
          <p:nvPr userDrawn="1"/>
        </p:nvSpPr>
        <p:spPr>
          <a:xfrm>
            <a:off x="4032171" y="0"/>
            <a:ext cx="7488317"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4" name="AutoShape 3">
            <a:extLst>
              <a:ext uri="{FF2B5EF4-FFF2-40B4-BE49-F238E27FC236}">
                <a16:creationId xmlns:a16="http://schemas.microsoft.com/office/drawing/2014/main" id="{85277FFF-F67C-FA1F-EB83-5263F6FA4C31}"/>
              </a:ext>
            </a:extLst>
          </p:cNvPr>
          <p:cNvSpPr>
            <a:spLocks/>
          </p:cNvSpPr>
          <p:nvPr userDrawn="1"/>
        </p:nvSpPr>
        <p:spPr bwMode="auto">
          <a:xfrm>
            <a:off x="4319999" y="863600"/>
            <a:ext cx="4465225" cy="194421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1"/>
          </a:solidFill>
          <a:ln w="25400" cap="flat" cmpd="sng">
            <a:noFill/>
            <a:prstDash val="solid"/>
            <a:miter lim="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5" name="AutoShape 4">
            <a:extLst>
              <a:ext uri="{FF2B5EF4-FFF2-40B4-BE49-F238E27FC236}">
                <a16:creationId xmlns:a16="http://schemas.microsoft.com/office/drawing/2014/main" id="{A957B494-0CC8-B8E6-A9AC-054F79D7DFAB}"/>
              </a:ext>
            </a:extLst>
          </p:cNvPr>
          <p:cNvSpPr>
            <a:spLocks/>
          </p:cNvSpPr>
          <p:nvPr userDrawn="1"/>
        </p:nvSpPr>
        <p:spPr bwMode="auto">
          <a:xfrm>
            <a:off x="4320000" y="3095625"/>
            <a:ext cx="4464000" cy="28082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chemeClr val="bg1"/>
          </a:solidFill>
          <a:ln w="25400" cap="flat" cmpd="sng">
            <a:noFill/>
            <a:prstDash val="solid"/>
            <a:miter lim="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8" name="AutoShape 5">
            <a:extLst>
              <a:ext uri="{FF2B5EF4-FFF2-40B4-BE49-F238E27FC236}">
                <a16:creationId xmlns:a16="http://schemas.microsoft.com/office/drawing/2014/main" id="{C7054EF2-7DC0-6E04-8242-76D430BE9E78}"/>
              </a:ext>
            </a:extLst>
          </p:cNvPr>
          <p:cNvSpPr>
            <a:spLocks/>
          </p:cNvSpPr>
          <p:nvPr userDrawn="1"/>
        </p:nvSpPr>
        <p:spPr bwMode="auto">
          <a:xfrm>
            <a:off x="9072000" y="863599"/>
            <a:ext cx="2160000" cy="5040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bg1"/>
          </a:solidFill>
          <a:ln w="25400" cap="flat" cmpd="sng">
            <a:noFill/>
            <a:prstDash val="solid"/>
            <a:miter lim="0"/>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defTabSz="552011"/>
            <a:endParaRPr lang="en-US" sz="2268">
              <a:solidFill>
                <a:srgbClr val="FFFFFF"/>
              </a:solidFill>
              <a:effectLst>
                <a:outerShdw blurRad="38100" dist="38100" dir="2700000" algn="tl">
                  <a:srgbClr val="DDDDDD"/>
                </a:outerShdw>
              </a:effectLst>
              <a:latin typeface="Avenir Next LT Pro" panose="020B0504020202020204" pitchFamily="34" charset="77"/>
            </a:endParaRPr>
          </a:p>
        </p:txBody>
      </p:sp>
      <p:sp>
        <p:nvSpPr>
          <p:cNvPr id="10" name="AutoShape 12">
            <a:extLst>
              <a:ext uri="{FF2B5EF4-FFF2-40B4-BE49-F238E27FC236}">
                <a16:creationId xmlns:a16="http://schemas.microsoft.com/office/drawing/2014/main" id="{4709E113-4223-68F2-1A92-D5D8D50DBD36}"/>
              </a:ext>
            </a:extLst>
          </p:cNvPr>
          <p:cNvSpPr>
            <a:spLocks/>
          </p:cNvSpPr>
          <p:nvPr userDrawn="1"/>
        </p:nvSpPr>
        <p:spPr bwMode="auto">
          <a:xfrm>
            <a:off x="4428000" y="2360872"/>
            <a:ext cx="991529" cy="318836"/>
          </a:xfrm>
          <a:prstGeom prst="roundRect">
            <a:avLst>
              <a:gd name="adj" fmla="val 9116"/>
            </a:avLst>
          </a:prstGeom>
          <a:solidFill>
            <a:schemeClr val="accent5"/>
          </a:solidFill>
          <a:ln w="25400" cap="flat" cmpd="sng">
            <a:no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1" name="AutoShape 15">
            <a:extLst>
              <a:ext uri="{FF2B5EF4-FFF2-40B4-BE49-F238E27FC236}">
                <a16:creationId xmlns:a16="http://schemas.microsoft.com/office/drawing/2014/main" id="{866DAF30-CC58-9453-F3EA-43BDEECBE7EA}"/>
              </a:ext>
            </a:extLst>
          </p:cNvPr>
          <p:cNvSpPr>
            <a:spLocks/>
          </p:cNvSpPr>
          <p:nvPr userDrawn="1"/>
        </p:nvSpPr>
        <p:spPr bwMode="auto">
          <a:xfrm>
            <a:off x="7685746" y="5456847"/>
            <a:ext cx="991529" cy="318836"/>
          </a:xfrm>
          <a:prstGeom prst="roundRect">
            <a:avLst>
              <a:gd name="adj" fmla="val 9116"/>
            </a:avLst>
          </a:prstGeom>
          <a:solidFill>
            <a:schemeClr val="accent4"/>
          </a:solidFill>
          <a:ln w="25400" cap="flat" cmpd="sng">
            <a:no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3" name="AutoShape 18">
            <a:extLst>
              <a:ext uri="{FF2B5EF4-FFF2-40B4-BE49-F238E27FC236}">
                <a16:creationId xmlns:a16="http://schemas.microsoft.com/office/drawing/2014/main" id="{3827F205-D9FB-907E-F87A-1B30326B2352}"/>
              </a:ext>
            </a:extLst>
          </p:cNvPr>
          <p:cNvSpPr>
            <a:spLocks/>
          </p:cNvSpPr>
          <p:nvPr userDrawn="1"/>
        </p:nvSpPr>
        <p:spPr bwMode="auto">
          <a:xfrm>
            <a:off x="10133670" y="2951575"/>
            <a:ext cx="991529" cy="318836"/>
          </a:xfrm>
          <a:prstGeom prst="roundRect">
            <a:avLst>
              <a:gd name="adj" fmla="val 9116"/>
            </a:avLst>
          </a:prstGeom>
          <a:solidFill>
            <a:schemeClr val="accent2"/>
          </a:solidFill>
          <a:ln w="25400" cap="flat" cmpd="sng">
            <a:noFill/>
            <a:prstDash val="solid"/>
            <a:miter lim="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algn="ctr" defTabSz="552011"/>
            <a:endParaRPr lang="en-US" sz="1039" dirty="0">
              <a:solidFill>
                <a:schemeClr val="bg1"/>
              </a:solidFill>
              <a:latin typeface="Avenir Next LT Pro" panose="020B0504020202020204" pitchFamily="34" charset="77"/>
            </a:endParaRPr>
          </a:p>
        </p:txBody>
      </p:sp>
      <p:sp>
        <p:nvSpPr>
          <p:cNvPr id="18" name="Text Placeholder 17">
            <a:extLst>
              <a:ext uri="{FF2B5EF4-FFF2-40B4-BE49-F238E27FC236}">
                <a16:creationId xmlns:a16="http://schemas.microsoft.com/office/drawing/2014/main" id="{D54F8347-0E48-9FE8-9812-9DB588351BE8}"/>
              </a:ext>
            </a:extLst>
          </p:cNvPr>
          <p:cNvSpPr>
            <a:spLocks noGrp="1"/>
          </p:cNvSpPr>
          <p:nvPr>
            <p:ph type="body" sz="quarter" idx="22" hasCustomPrompt="1"/>
          </p:nvPr>
        </p:nvSpPr>
        <p:spPr>
          <a:xfrm>
            <a:off x="4428000" y="2405102"/>
            <a:ext cx="991542" cy="244806"/>
          </a:xfrm>
          <a:prstGeom prst="rect">
            <a:avLst/>
          </a:prstGeom>
        </p:spPr>
        <p:txBody>
          <a:bodyPr anchor="ctr" anchorCtr="0"/>
          <a:lstStyle>
            <a:lvl1pPr marL="0" indent="0" algn="ctr">
              <a:buNone/>
              <a:defRPr sz="1039" b="0">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1</a:t>
            </a:r>
          </a:p>
        </p:txBody>
      </p:sp>
      <p:sp>
        <p:nvSpPr>
          <p:cNvPr id="19" name="Text Placeholder 17">
            <a:extLst>
              <a:ext uri="{FF2B5EF4-FFF2-40B4-BE49-F238E27FC236}">
                <a16:creationId xmlns:a16="http://schemas.microsoft.com/office/drawing/2014/main" id="{284241C3-9607-4641-D0A0-BC67FED4C301}"/>
              </a:ext>
            </a:extLst>
          </p:cNvPr>
          <p:cNvSpPr>
            <a:spLocks noGrp="1"/>
          </p:cNvSpPr>
          <p:nvPr>
            <p:ph type="body" sz="quarter" idx="23" hasCustomPrompt="1"/>
          </p:nvPr>
        </p:nvSpPr>
        <p:spPr>
          <a:xfrm>
            <a:off x="7679176" y="5517647"/>
            <a:ext cx="991542" cy="191590"/>
          </a:xfrm>
          <a:prstGeom prst="rect">
            <a:avLst/>
          </a:prstGeom>
        </p:spPr>
        <p:txBody>
          <a:bodyPr anchor="ctr" anchorCtr="0"/>
          <a:lstStyle>
            <a:lvl1pPr marL="0" indent="0" algn="ctr">
              <a:buNone/>
              <a:defRPr sz="1039" b="0">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2</a:t>
            </a:r>
          </a:p>
        </p:txBody>
      </p:sp>
      <p:sp>
        <p:nvSpPr>
          <p:cNvPr id="20" name="Text Placeholder 17">
            <a:extLst>
              <a:ext uri="{FF2B5EF4-FFF2-40B4-BE49-F238E27FC236}">
                <a16:creationId xmlns:a16="http://schemas.microsoft.com/office/drawing/2014/main" id="{551F5560-4FE7-FED4-DDEB-CC40E5FFFCA6}"/>
              </a:ext>
            </a:extLst>
          </p:cNvPr>
          <p:cNvSpPr>
            <a:spLocks noGrp="1"/>
          </p:cNvSpPr>
          <p:nvPr>
            <p:ph type="body" sz="quarter" idx="24" hasCustomPrompt="1"/>
          </p:nvPr>
        </p:nvSpPr>
        <p:spPr>
          <a:xfrm>
            <a:off x="10133658" y="3019261"/>
            <a:ext cx="991542" cy="189697"/>
          </a:xfrm>
          <a:prstGeom prst="rect">
            <a:avLst/>
          </a:prstGeom>
        </p:spPr>
        <p:txBody>
          <a:bodyPr anchor="ctr" anchorCtr="0"/>
          <a:lstStyle>
            <a:lvl1pPr marL="0" indent="0" algn="ctr">
              <a:buNone/>
              <a:defRPr sz="1039" b="0">
                <a:solidFill>
                  <a:schemeClr val="bg1"/>
                </a:solidFill>
                <a:latin typeface="Avenir Next LT Pro" panose="020B0504020202020204" pitchFamily="34" charset="77"/>
              </a:defRPr>
            </a:lvl1pPr>
            <a:lvl2pPr marL="160504" indent="0">
              <a:buNone/>
              <a:defRPr>
                <a:solidFill>
                  <a:schemeClr val="bg1"/>
                </a:solidFill>
              </a:defRPr>
            </a:lvl2pPr>
            <a:lvl3pPr marL="325506" indent="0">
              <a:buNone/>
              <a:defRPr>
                <a:solidFill>
                  <a:schemeClr val="bg1"/>
                </a:solidFill>
              </a:defRPr>
            </a:lvl3pPr>
            <a:lvl4pPr marL="486009" indent="0">
              <a:buNone/>
              <a:defRPr>
                <a:solidFill>
                  <a:schemeClr val="bg1"/>
                </a:solidFill>
              </a:defRPr>
            </a:lvl4pPr>
            <a:lvl5pPr marL="651012" indent="0">
              <a:buNone/>
              <a:defRPr>
                <a:solidFill>
                  <a:schemeClr val="bg1"/>
                </a:solidFill>
              </a:defRPr>
            </a:lvl5pPr>
          </a:lstStyle>
          <a:p>
            <a:pPr lvl="0"/>
            <a:r>
              <a:rPr lang="en-US" dirty="0"/>
              <a:t>BUTTON 3</a:t>
            </a:r>
          </a:p>
        </p:txBody>
      </p:sp>
      <p:sp>
        <p:nvSpPr>
          <p:cNvPr id="22" name="Picture Placeholder 21">
            <a:extLst>
              <a:ext uri="{FF2B5EF4-FFF2-40B4-BE49-F238E27FC236}">
                <a16:creationId xmlns:a16="http://schemas.microsoft.com/office/drawing/2014/main" id="{C13DBA41-7D9B-74DB-29FA-E89D10563CB5}"/>
              </a:ext>
            </a:extLst>
          </p:cNvPr>
          <p:cNvSpPr>
            <a:spLocks noGrp="1"/>
          </p:cNvSpPr>
          <p:nvPr>
            <p:ph type="pic" sz="quarter" idx="25"/>
          </p:nvPr>
        </p:nvSpPr>
        <p:spPr>
          <a:xfrm>
            <a:off x="9072000" y="3383913"/>
            <a:ext cx="2160000" cy="252000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23" name="Picture Placeholder 21">
            <a:extLst>
              <a:ext uri="{FF2B5EF4-FFF2-40B4-BE49-F238E27FC236}">
                <a16:creationId xmlns:a16="http://schemas.microsoft.com/office/drawing/2014/main" id="{FEBDAD93-9454-7D60-FE03-968DD43BFA1E}"/>
              </a:ext>
            </a:extLst>
          </p:cNvPr>
          <p:cNvSpPr>
            <a:spLocks noGrp="1"/>
          </p:cNvSpPr>
          <p:nvPr>
            <p:ph type="pic" sz="quarter" idx="26"/>
          </p:nvPr>
        </p:nvSpPr>
        <p:spPr>
          <a:xfrm>
            <a:off x="6552000" y="863600"/>
            <a:ext cx="2232000" cy="194421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12" name="Slide Number Placeholder 11">
            <a:extLst>
              <a:ext uri="{FF2B5EF4-FFF2-40B4-BE49-F238E27FC236}">
                <a16:creationId xmlns:a16="http://schemas.microsoft.com/office/drawing/2014/main" id="{4DC3B892-9A54-DB89-654B-80E17DE197FC}"/>
              </a:ext>
            </a:extLst>
          </p:cNvPr>
          <p:cNvSpPr>
            <a:spLocks noGrp="1"/>
          </p:cNvSpPr>
          <p:nvPr>
            <p:ph type="sldNum" sz="quarter" idx="32"/>
          </p:nvPr>
        </p:nvSpPr>
        <p:spPr/>
        <p:txBody>
          <a:bodyPr/>
          <a:lstStyle/>
          <a:p>
            <a:fld id="{0F961903-03AF-4EAC-BF2C-945F8C5557D1}" type="slidenum">
              <a:rPr lang="en-GB" smtClean="0"/>
              <a:pPr/>
              <a:t>‹#›</a:t>
            </a:fld>
            <a:endParaRPr lang="en-GB" dirty="0"/>
          </a:p>
        </p:txBody>
      </p:sp>
      <p:sp>
        <p:nvSpPr>
          <p:cNvPr id="7" name="Text Placeholder 29">
            <a:extLst>
              <a:ext uri="{FF2B5EF4-FFF2-40B4-BE49-F238E27FC236}">
                <a16:creationId xmlns:a16="http://schemas.microsoft.com/office/drawing/2014/main" id="{B3C182D1-4281-75BF-FB51-3C8F95821301}"/>
              </a:ext>
            </a:extLst>
          </p:cNvPr>
          <p:cNvSpPr>
            <a:spLocks noGrp="1"/>
          </p:cNvSpPr>
          <p:nvPr>
            <p:ph type="body" sz="quarter" idx="33"/>
          </p:nvPr>
        </p:nvSpPr>
        <p:spPr>
          <a:xfrm>
            <a:off x="576264" y="3200399"/>
            <a:ext cx="3167062" cy="1990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7">
            <a:extLst>
              <a:ext uri="{FF2B5EF4-FFF2-40B4-BE49-F238E27FC236}">
                <a16:creationId xmlns:a16="http://schemas.microsoft.com/office/drawing/2014/main" id="{48E8A3D3-0892-CDC7-0658-52ED40D0DD4C}"/>
              </a:ext>
            </a:extLst>
          </p:cNvPr>
          <p:cNvSpPr>
            <a:spLocks noGrp="1"/>
          </p:cNvSpPr>
          <p:nvPr>
            <p:ph type="body" sz="quarter" idx="34" hasCustomPrompt="1"/>
          </p:nvPr>
        </p:nvSpPr>
        <p:spPr>
          <a:xfrm>
            <a:off x="4428000" y="1044575"/>
            <a:ext cx="2016000" cy="1225138"/>
          </a:xfrm>
        </p:spPr>
        <p:txBody>
          <a:bodyPr/>
          <a:lstStyle>
            <a:lvl1pPr>
              <a:defRPr sz="1200" cap="all" baseline="0">
                <a:solidFill>
                  <a:srgbClr val="00485E"/>
                </a:solidFill>
              </a:defRPr>
            </a:lvl1pPr>
            <a:lvl2pPr>
              <a:spcAft>
                <a:spcPts val="300"/>
              </a:spcAft>
              <a:defRPr sz="1100">
                <a:solidFill>
                  <a:schemeClr val="tx2"/>
                </a:solidFill>
              </a:defRPr>
            </a:lvl2pPr>
            <a:lvl3pPr>
              <a:spcAft>
                <a:spcPts val="300"/>
              </a:spcAft>
              <a:buClrTx/>
              <a:defRPr sz="1100">
                <a:solidFill>
                  <a:schemeClr val="tx2"/>
                </a:solidFill>
              </a:defRPr>
            </a:lvl3pPr>
            <a:lvl4pPr>
              <a:spcAft>
                <a:spcPts val="300"/>
              </a:spcAft>
              <a:buClr>
                <a:schemeClr val="tx2"/>
              </a:buClr>
              <a:defRPr sz="1100">
                <a:solidFill>
                  <a:schemeClr val="tx2"/>
                </a:solidFill>
              </a:defRPr>
            </a:lvl4pPr>
            <a:lvl5pPr>
              <a:spcAft>
                <a:spcPts val="300"/>
              </a:spcAft>
              <a:buClr>
                <a:schemeClr val="tx2"/>
              </a:buClr>
              <a:defRPr sz="1100">
                <a:solidFill>
                  <a:schemeClr val="tx2"/>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7">
            <a:extLst>
              <a:ext uri="{FF2B5EF4-FFF2-40B4-BE49-F238E27FC236}">
                <a16:creationId xmlns:a16="http://schemas.microsoft.com/office/drawing/2014/main" id="{F16CBB79-E2A1-3F6F-83C8-D475C11D6A1A}"/>
              </a:ext>
            </a:extLst>
          </p:cNvPr>
          <p:cNvSpPr>
            <a:spLocks noGrp="1"/>
          </p:cNvSpPr>
          <p:nvPr>
            <p:ph type="body" sz="quarter" idx="35" hasCustomPrompt="1"/>
          </p:nvPr>
        </p:nvSpPr>
        <p:spPr>
          <a:xfrm>
            <a:off x="9180513" y="1044575"/>
            <a:ext cx="1944687" cy="1225138"/>
          </a:xfrm>
        </p:spPr>
        <p:txBody>
          <a:bodyPr/>
          <a:lstStyle>
            <a:lvl1pPr>
              <a:defRPr sz="1200" cap="all" baseline="0">
                <a:solidFill>
                  <a:srgbClr val="00485E"/>
                </a:solidFill>
              </a:defRPr>
            </a:lvl1pPr>
            <a:lvl2pPr>
              <a:spcAft>
                <a:spcPts val="300"/>
              </a:spcAft>
              <a:defRPr sz="1100">
                <a:solidFill>
                  <a:schemeClr val="tx2"/>
                </a:solidFill>
              </a:defRPr>
            </a:lvl2pPr>
            <a:lvl3pPr>
              <a:spcAft>
                <a:spcPts val="300"/>
              </a:spcAft>
              <a:buClrTx/>
              <a:defRPr sz="1100">
                <a:solidFill>
                  <a:schemeClr val="tx2"/>
                </a:solidFill>
              </a:defRPr>
            </a:lvl3pPr>
            <a:lvl4pPr>
              <a:spcAft>
                <a:spcPts val="300"/>
              </a:spcAft>
              <a:buClr>
                <a:schemeClr val="tx2"/>
              </a:buClr>
              <a:defRPr sz="1100">
                <a:solidFill>
                  <a:schemeClr val="tx2"/>
                </a:solidFill>
              </a:defRPr>
            </a:lvl4pPr>
            <a:lvl5pPr>
              <a:spcAft>
                <a:spcPts val="300"/>
              </a:spcAft>
              <a:buClr>
                <a:schemeClr val="tx2"/>
              </a:buClr>
              <a:defRPr sz="1100">
                <a:solidFill>
                  <a:schemeClr val="tx2"/>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7">
            <a:extLst>
              <a:ext uri="{FF2B5EF4-FFF2-40B4-BE49-F238E27FC236}">
                <a16:creationId xmlns:a16="http://schemas.microsoft.com/office/drawing/2014/main" id="{EAA03745-6297-982A-A270-E225360FC552}"/>
              </a:ext>
            </a:extLst>
          </p:cNvPr>
          <p:cNvSpPr>
            <a:spLocks noGrp="1"/>
          </p:cNvSpPr>
          <p:nvPr>
            <p:ph type="body" sz="quarter" idx="36" hasCustomPrompt="1"/>
          </p:nvPr>
        </p:nvSpPr>
        <p:spPr>
          <a:xfrm>
            <a:off x="4427999" y="3275999"/>
            <a:ext cx="4249275" cy="1956827"/>
          </a:xfrm>
        </p:spPr>
        <p:txBody>
          <a:bodyPr/>
          <a:lstStyle>
            <a:lvl1pPr>
              <a:defRPr sz="1200" cap="all" baseline="0">
                <a:solidFill>
                  <a:srgbClr val="00485E"/>
                </a:solidFill>
              </a:defRPr>
            </a:lvl1pPr>
            <a:lvl2pPr>
              <a:spcAft>
                <a:spcPts val="300"/>
              </a:spcAft>
              <a:defRPr sz="1100">
                <a:solidFill>
                  <a:schemeClr val="tx2"/>
                </a:solidFill>
              </a:defRPr>
            </a:lvl2pPr>
            <a:lvl3pPr>
              <a:spcAft>
                <a:spcPts val="300"/>
              </a:spcAft>
              <a:buClrTx/>
              <a:defRPr sz="1100">
                <a:solidFill>
                  <a:schemeClr val="tx2"/>
                </a:solidFill>
              </a:defRPr>
            </a:lvl3pPr>
            <a:lvl4pPr>
              <a:spcAft>
                <a:spcPts val="300"/>
              </a:spcAft>
              <a:buClr>
                <a:schemeClr val="tx2"/>
              </a:buClr>
              <a:defRPr sz="1100">
                <a:solidFill>
                  <a:schemeClr val="tx2"/>
                </a:solidFill>
              </a:defRPr>
            </a:lvl4pPr>
            <a:lvl5pPr>
              <a:spcAft>
                <a:spcPts val="300"/>
              </a:spcAft>
              <a:buClr>
                <a:schemeClr val="tx2"/>
              </a:buClr>
              <a:defRPr sz="1100">
                <a:solidFill>
                  <a:schemeClr val="tx2"/>
                </a:solidFill>
              </a:defRPr>
            </a:lvl5pPr>
          </a:lstStyle>
          <a:p>
            <a:pPr lvl="0"/>
            <a:r>
              <a:rPr lang="en-US" dirty="0"/>
              <a:t>Sub head</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7">
            <a:extLst>
              <a:ext uri="{FF2B5EF4-FFF2-40B4-BE49-F238E27FC236}">
                <a16:creationId xmlns:a16="http://schemas.microsoft.com/office/drawing/2014/main" id="{CBF442D4-5B80-D752-9910-A505ED87E0F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15" name="Source">
            <a:extLst>
              <a:ext uri="{FF2B5EF4-FFF2-40B4-BE49-F238E27FC236}">
                <a16:creationId xmlns:a16="http://schemas.microsoft.com/office/drawing/2014/main" id="{CF9BEF38-A419-2EDF-9A00-5A22CA0B2D6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24" name="Footer Placeholder 23">
            <a:extLst>
              <a:ext uri="{FF2B5EF4-FFF2-40B4-BE49-F238E27FC236}">
                <a16:creationId xmlns:a16="http://schemas.microsoft.com/office/drawing/2014/main" id="{337D3557-EF50-EB0B-D196-D2EE2B734374}"/>
              </a:ext>
            </a:extLst>
          </p:cNvPr>
          <p:cNvSpPr>
            <a:spLocks noGrp="1"/>
          </p:cNvSpPr>
          <p:nvPr>
            <p:ph type="ftr" sz="quarter" idx="37"/>
          </p:nvPr>
        </p:nvSpPr>
        <p:spPr/>
        <p:txBody>
          <a:bodyPr/>
          <a:lstStyle/>
          <a:p>
            <a:r>
              <a:rPr lang="en-GB"/>
              <a:t>Information Classification: PUBLIC</a:t>
            </a:r>
            <a:endParaRPr lang="en-GB" dirty="0"/>
          </a:p>
        </p:txBody>
      </p:sp>
      <p:pic>
        <p:nvPicPr>
          <p:cNvPr id="9" name="Picture 8">
            <a:extLst>
              <a:ext uri="{FF2B5EF4-FFF2-40B4-BE49-F238E27FC236}">
                <a16:creationId xmlns:a16="http://schemas.microsoft.com/office/drawing/2014/main" id="{D98B27C7-4485-F7B0-2F42-34598510B933}"/>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3653888419"/>
      </p:ext>
    </p:extLst>
  </p:cSld>
  <p:clrMapOvr>
    <a:masterClrMapping/>
  </p:clrMapOvr>
  <p:transition>
    <p:wipe/>
  </p:transition>
  <p:extLst>
    <p:ext uri="{DCECCB84-F9BA-43D5-87BE-67443E8EF086}">
      <p15:sldGuideLst xmlns:p15="http://schemas.microsoft.com/office/powerpoint/2012/main">
        <p15:guide id="1" pos="2721">
          <p15:clr>
            <a:srgbClr val="FBAE40"/>
          </p15:clr>
        </p15:guide>
        <p15:guide id="2" pos="5715">
          <p15:clr>
            <a:srgbClr val="FBAE40"/>
          </p15:clr>
        </p15:guide>
        <p15:guide id="3" pos="5534">
          <p15:clr>
            <a:srgbClr val="FBAE40"/>
          </p15:clr>
        </p15:guide>
        <p15:guide id="4" pos="2540">
          <p15:clr>
            <a:srgbClr val="FBAE40"/>
          </p15:clr>
        </p15:guide>
        <p15:guide id="5" pos="2358">
          <p15:clr>
            <a:srgbClr val="FBAE40"/>
          </p15:clr>
        </p15:guide>
        <p15:guide id="6" orient="horz" pos="1950">
          <p15:clr>
            <a:srgbClr val="FBAE40"/>
          </p15:clr>
        </p15:guide>
        <p15:guide id="7" orient="horz" pos="1769">
          <p15:clr>
            <a:srgbClr val="FBAE40"/>
          </p15:clr>
        </p15:guide>
        <p15:guide id="8" pos="5466">
          <p15:clr>
            <a:srgbClr val="FBAE40"/>
          </p15:clr>
        </p15:guide>
        <p15:guide id="9" pos="7008">
          <p15:clr>
            <a:srgbClr val="FBAE40"/>
          </p15:clr>
        </p15:guide>
        <p15:guide id="10" pos="578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de column / Narrow column / chart / table single head">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7704000"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3" hasCustomPrompt="1"/>
          </p:nvPr>
        </p:nvSpPr>
        <p:spPr>
          <a:xfrm>
            <a:off x="576262" y="1439388"/>
            <a:ext cx="6804025"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33"/>
          </p:nvPr>
        </p:nvSpPr>
        <p:spPr>
          <a:xfrm>
            <a:off x="576262" y="1727201"/>
            <a:ext cx="6804025" cy="38179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1D94EDC-41F0-5DD8-430C-6A77FDF0BB0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7AAFA77F-8AED-40B2-0853-40C7D745290C}"/>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0BF8D98-7901-6EA2-EF60-45E4F2998D1C}"/>
              </a:ext>
            </a:extLst>
          </p:cNvPr>
          <p:cNvSpPr>
            <a:spLocks noGrp="1"/>
          </p:cNvSpPr>
          <p:nvPr>
            <p:ph type="ftr" sz="quarter" idx="35"/>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7B56F1B6-EF3E-AAE0-58A6-238019885089}"/>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881EB602-6B25-F693-5DF1-8D06A531D9E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43383140"/>
      </p:ext>
    </p:extLst>
  </p:cSld>
  <p:clrMapOvr>
    <a:masterClrMapping/>
  </p:clrMapOvr>
  <p:extLst>
    <p:ext uri="{DCECCB84-F9BA-43D5-87BE-67443E8EF086}">
      <p15:sldGuideLst xmlns:p15="http://schemas.microsoft.com/office/powerpoint/2012/main">
        <p15:guide id="1" pos="4853" userDrawn="1">
          <p15:clr>
            <a:srgbClr val="FBAE40"/>
          </p15:clr>
        </p15:guide>
        <p15:guide id="3" pos="4649"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2 - Headline, copy, callout number - whit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FA7697-649A-BE2A-5E8E-B73517A6EDD6}"/>
              </a:ext>
            </a:extLst>
          </p:cNvPr>
          <p:cNvSpPr/>
          <p:nvPr userDrawn="1"/>
        </p:nvSpPr>
        <p:spPr>
          <a:xfrm>
            <a:off x="4716463" y="0"/>
            <a:ext cx="6804025" cy="6480175"/>
          </a:xfrm>
          <a:prstGeom prst="rect">
            <a:avLst/>
          </a:prstGeom>
          <a:solidFill>
            <a:srgbClr val="00243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p>
        </p:txBody>
      </p:sp>
      <p:sp>
        <p:nvSpPr>
          <p:cNvPr id="15" name="Text Placeholder 14">
            <a:extLst>
              <a:ext uri="{FF2B5EF4-FFF2-40B4-BE49-F238E27FC236}">
                <a16:creationId xmlns:a16="http://schemas.microsoft.com/office/drawing/2014/main" id="{9024D958-C518-AE0F-B6B6-F65E81E79327}"/>
              </a:ext>
            </a:extLst>
          </p:cNvPr>
          <p:cNvSpPr>
            <a:spLocks noGrp="1"/>
          </p:cNvSpPr>
          <p:nvPr>
            <p:ph type="body" sz="quarter" idx="22" hasCustomPrompt="1"/>
          </p:nvPr>
        </p:nvSpPr>
        <p:spPr>
          <a:xfrm>
            <a:off x="5003800" y="2962068"/>
            <a:ext cx="4204858" cy="2583070"/>
          </a:xfrm>
          <a:prstGeom prst="rect">
            <a:avLst/>
          </a:prstGeom>
        </p:spPr>
        <p:txBody>
          <a:bodyPr lIns="0"/>
          <a:lstStyle>
            <a:lvl1pPr marL="0" indent="0">
              <a:buNone/>
              <a:defRPr sz="18804">
                <a:solidFill>
                  <a:srgbClr val="FF6120"/>
                </a:solidFill>
                <a:latin typeface="Impact" panose="020B0806030902050204" pitchFamily="34" charset="0"/>
              </a:defRPr>
            </a:lvl1pPr>
          </a:lstStyle>
          <a:p>
            <a:pPr lvl="0"/>
            <a:r>
              <a:rPr lang="en-US" dirty="0"/>
              <a:t>XX%</a:t>
            </a:r>
          </a:p>
        </p:txBody>
      </p:sp>
      <p:sp>
        <p:nvSpPr>
          <p:cNvPr id="16" name="Text Placeholder 5">
            <a:extLst>
              <a:ext uri="{FF2B5EF4-FFF2-40B4-BE49-F238E27FC236}">
                <a16:creationId xmlns:a16="http://schemas.microsoft.com/office/drawing/2014/main" id="{74EE9D69-0A09-18D7-5EED-6D47A6628449}"/>
              </a:ext>
            </a:extLst>
          </p:cNvPr>
          <p:cNvSpPr>
            <a:spLocks noGrp="1"/>
          </p:cNvSpPr>
          <p:nvPr>
            <p:ph type="body" sz="quarter" idx="23"/>
          </p:nvPr>
        </p:nvSpPr>
        <p:spPr>
          <a:xfrm>
            <a:off x="7902816" y="576263"/>
            <a:ext cx="3041409" cy="1870876"/>
          </a:xfrm>
          <a:prstGeom prst="rect">
            <a:avLst/>
          </a:prstGeom>
        </p:spPr>
        <p:txBody>
          <a:bodyPr lIns="0"/>
          <a:lstStyle>
            <a:lvl1pPr marL="0" indent="0">
              <a:buNone/>
              <a:defRPr sz="1134" b="0">
                <a:solidFill>
                  <a:schemeClr val="bg1"/>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4" name="Slide Number Placeholder 3">
            <a:extLst>
              <a:ext uri="{FF2B5EF4-FFF2-40B4-BE49-F238E27FC236}">
                <a16:creationId xmlns:a16="http://schemas.microsoft.com/office/drawing/2014/main" id="{5B491B26-C84A-C5B8-EF01-55A40384D4DB}"/>
              </a:ext>
            </a:extLst>
          </p:cNvPr>
          <p:cNvSpPr>
            <a:spLocks noGrp="1"/>
          </p:cNvSpPr>
          <p:nvPr>
            <p:ph type="sldNum" sz="quarter" idx="25"/>
          </p:nvPr>
        </p:nvSpPr>
        <p:spPr/>
        <p:txBody>
          <a:body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68E94DE4-CF8D-9922-B4C0-59199D55C229}"/>
              </a:ext>
            </a:extLst>
          </p:cNvPr>
          <p:cNvSpPr>
            <a:spLocks noGrp="1"/>
          </p:cNvSpPr>
          <p:nvPr>
            <p:ph type="title" hasCustomPrompt="1"/>
          </p:nvPr>
        </p:nvSpPr>
        <p:spPr>
          <a:xfrm>
            <a:off x="576026" y="576263"/>
            <a:ext cx="3851561" cy="1282774"/>
          </a:xfrm>
        </p:spPr>
        <p:txBody>
          <a:bodyPr rIns="0" anchor="b" anchorCtr="0"/>
          <a:lstStyle>
            <a:lvl1pPr>
              <a:lnSpc>
                <a:spcPts val="4158"/>
              </a:lnSpc>
              <a:defRPr sz="4158">
                <a:solidFill>
                  <a:schemeClr val="accent1"/>
                </a:solidFill>
                <a:latin typeface="Avenir Next LT Pro" panose="020B0504020202020204" pitchFamily="34" charset="77"/>
              </a:defRPr>
            </a:lvl1pPr>
          </a:lstStyle>
          <a:p>
            <a:r>
              <a:rPr lang="en-US" dirty="0"/>
              <a:t>SHORT </a:t>
            </a:r>
            <a:br>
              <a:rPr lang="en-US" dirty="0"/>
            </a:br>
            <a:r>
              <a:rPr lang="en-US" dirty="0"/>
              <a:t>HEADLINE</a:t>
            </a:r>
          </a:p>
        </p:txBody>
      </p:sp>
      <p:sp>
        <p:nvSpPr>
          <p:cNvPr id="10" name="Text Placeholder 29">
            <a:extLst>
              <a:ext uri="{FF2B5EF4-FFF2-40B4-BE49-F238E27FC236}">
                <a16:creationId xmlns:a16="http://schemas.microsoft.com/office/drawing/2014/main" id="{C932FC26-81F9-0CE3-3FDB-D93027BB4967}"/>
              </a:ext>
            </a:extLst>
          </p:cNvPr>
          <p:cNvSpPr>
            <a:spLocks noGrp="1"/>
          </p:cNvSpPr>
          <p:nvPr>
            <p:ph type="body" sz="quarter" idx="33"/>
          </p:nvPr>
        </p:nvSpPr>
        <p:spPr>
          <a:xfrm>
            <a:off x="576264" y="2016125"/>
            <a:ext cx="3851274" cy="1990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8">
            <a:extLst>
              <a:ext uri="{FF2B5EF4-FFF2-40B4-BE49-F238E27FC236}">
                <a16:creationId xmlns:a16="http://schemas.microsoft.com/office/drawing/2014/main" id="{BAA43713-E930-22FB-183B-442EDD0CE923}"/>
              </a:ext>
            </a:extLst>
          </p:cNvPr>
          <p:cNvSpPr/>
          <p:nvPr userDrawn="1"/>
        </p:nvSpPr>
        <p:spPr>
          <a:xfrm>
            <a:off x="4716464" y="5285789"/>
            <a:ext cx="6804024" cy="1194386"/>
          </a:xfrm>
          <a:prstGeom prst="rect">
            <a:avLst/>
          </a:prstGeom>
          <a:pattFill prst="wdUpDiag">
            <a:fgClr>
              <a:srgbClr val="00485E"/>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 name="Text Placeholder 7">
            <a:extLst>
              <a:ext uri="{FF2B5EF4-FFF2-40B4-BE49-F238E27FC236}">
                <a16:creationId xmlns:a16="http://schemas.microsoft.com/office/drawing/2014/main" id="{26253E12-B92C-A16B-0F5E-9C484908BFB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5" name="Source">
            <a:extLst>
              <a:ext uri="{FF2B5EF4-FFF2-40B4-BE49-F238E27FC236}">
                <a16:creationId xmlns:a16="http://schemas.microsoft.com/office/drawing/2014/main" id="{617D142A-FF30-DC53-4A61-33D8A24F990D}"/>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11" name="Footer Placeholder 10">
            <a:extLst>
              <a:ext uri="{FF2B5EF4-FFF2-40B4-BE49-F238E27FC236}">
                <a16:creationId xmlns:a16="http://schemas.microsoft.com/office/drawing/2014/main" id="{104D21C4-2730-B4A1-BEDF-7806B7971979}"/>
              </a:ext>
            </a:extLst>
          </p:cNvPr>
          <p:cNvSpPr>
            <a:spLocks noGrp="1"/>
          </p:cNvSpPr>
          <p:nvPr>
            <p:ph type="ftr" sz="quarter" idx="34"/>
          </p:nvPr>
        </p:nvSpPr>
        <p:spPr/>
        <p:txBody>
          <a:bodyPr/>
          <a:lstStyle/>
          <a:p>
            <a:r>
              <a:rPr lang="en-GB"/>
              <a:t>Information Classification: PUBLIC</a:t>
            </a:r>
            <a:endParaRPr lang="en-GB" dirty="0"/>
          </a:p>
        </p:txBody>
      </p:sp>
      <p:pic>
        <p:nvPicPr>
          <p:cNvPr id="3" name="Picture 2">
            <a:extLst>
              <a:ext uri="{FF2B5EF4-FFF2-40B4-BE49-F238E27FC236}">
                <a16:creationId xmlns:a16="http://schemas.microsoft.com/office/drawing/2014/main" id="{EDCCB3BE-86A8-61EC-B75A-974D6A582C13}"/>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182907956"/>
      </p:ext>
    </p:extLst>
  </p:cSld>
  <p:clrMapOvr>
    <a:masterClrMapping/>
  </p:clrMapOvr>
  <p:transition>
    <p:wipe/>
  </p:transition>
  <p:extLst>
    <p:ext uri="{DCECCB84-F9BA-43D5-87BE-67443E8EF086}">
      <p15:sldGuideLst xmlns:p15="http://schemas.microsoft.com/office/powerpoint/2012/main">
        <p15:guide id="1" pos="2971">
          <p15:clr>
            <a:srgbClr val="FBAE40"/>
          </p15:clr>
        </p15:guide>
        <p15:guide id="2" pos="2789">
          <p15:clr>
            <a:srgbClr val="FBAE40"/>
          </p15:clr>
        </p15:guide>
        <p15:guide id="3" pos="3152">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5 - Agenda">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74EF2A0-C0B1-E140-94E2-BB81208F425A}"/>
              </a:ext>
            </a:extLst>
          </p:cNvPr>
          <p:cNvSpPr>
            <a:spLocks noGrp="1"/>
          </p:cNvSpPr>
          <p:nvPr>
            <p:ph type="body" sz="quarter" idx="10" hasCustomPrompt="1"/>
          </p:nvPr>
        </p:nvSpPr>
        <p:spPr>
          <a:xfrm>
            <a:off x="9144000" y="1439863"/>
            <a:ext cx="1800462" cy="281170"/>
          </a:xfrm>
          <a:prstGeom prst="rect">
            <a:avLst/>
          </a:prstGeom>
        </p:spPr>
        <p:txBody>
          <a:bodyPr lIns="0"/>
          <a:lstStyle>
            <a:lvl1pPr marL="0" indent="0">
              <a:buNone/>
              <a:defRPr sz="1200" b="1" i="0" spc="0">
                <a:solidFill>
                  <a:srgbClr val="00485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NOTE</a:t>
            </a:r>
          </a:p>
        </p:txBody>
      </p:sp>
      <p:sp>
        <p:nvSpPr>
          <p:cNvPr id="11" name="Table Placeholder 10">
            <a:extLst>
              <a:ext uri="{FF2B5EF4-FFF2-40B4-BE49-F238E27FC236}">
                <a16:creationId xmlns:a16="http://schemas.microsoft.com/office/drawing/2014/main" id="{43467FB2-7488-B44C-8665-15184934DD99}"/>
              </a:ext>
            </a:extLst>
          </p:cNvPr>
          <p:cNvSpPr>
            <a:spLocks noGrp="1"/>
          </p:cNvSpPr>
          <p:nvPr>
            <p:ph type="tbl" sz="quarter" idx="15" hasCustomPrompt="1"/>
          </p:nvPr>
        </p:nvSpPr>
        <p:spPr>
          <a:xfrm>
            <a:off x="576025" y="1439863"/>
            <a:ext cx="8280000" cy="4464050"/>
          </a:xfrm>
          <a:prstGeom prst="rect">
            <a:avLst/>
          </a:prstGeom>
          <a:solidFill>
            <a:schemeClr val="bg1">
              <a:lumMod val="95000"/>
            </a:schemeClr>
          </a:solidFill>
        </p:spPr>
        <p:txBody>
          <a:bodyPr/>
          <a:lstStyle>
            <a:lvl1pPr marL="0" indent="0">
              <a:buNone/>
              <a:defRPr sz="1134">
                <a:solidFill>
                  <a:schemeClr val="tx1"/>
                </a:solidFill>
                <a:latin typeface="Avenir Next LT Pro" panose="020B0504020202020204" pitchFamily="34" charset="77"/>
              </a:defRPr>
            </a:lvl1pPr>
          </a:lstStyle>
          <a:p>
            <a:r>
              <a:rPr lang="en-US" dirty="0"/>
              <a:t>Insert Agenda Table</a:t>
            </a:r>
          </a:p>
        </p:txBody>
      </p:sp>
      <p:sp>
        <p:nvSpPr>
          <p:cNvPr id="10" name="Slide Number Placeholder 9">
            <a:extLst>
              <a:ext uri="{FF2B5EF4-FFF2-40B4-BE49-F238E27FC236}">
                <a16:creationId xmlns:a16="http://schemas.microsoft.com/office/drawing/2014/main" id="{4258A207-E269-F3D6-601B-021659AD4FFA}"/>
              </a:ext>
            </a:extLst>
          </p:cNvPr>
          <p:cNvSpPr>
            <a:spLocks noGrp="1"/>
          </p:cNvSpPr>
          <p:nvPr>
            <p:ph type="sldNum" sz="quarter" idx="20"/>
          </p:nvPr>
        </p:nvSpPr>
        <p:spPr/>
        <p:txBody>
          <a:bodyPr/>
          <a:lstStyle/>
          <a:p>
            <a:fld id="{0F961903-03AF-4EAC-BF2C-945F8C5557D1}" type="slidenum">
              <a:rPr lang="en-GB" smtClean="0"/>
              <a:pPr/>
              <a:t>‹#›</a:t>
            </a:fld>
            <a:endParaRPr lang="en-GB" dirty="0"/>
          </a:p>
        </p:txBody>
      </p:sp>
      <p:sp>
        <p:nvSpPr>
          <p:cNvPr id="13" name="Title 12">
            <a:extLst>
              <a:ext uri="{FF2B5EF4-FFF2-40B4-BE49-F238E27FC236}">
                <a16:creationId xmlns:a16="http://schemas.microsoft.com/office/drawing/2014/main" id="{C589737E-1759-00E3-5CE2-B9B3D4703C26}"/>
              </a:ext>
            </a:extLst>
          </p:cNvPr>
          <p:cNvSpPr>
            <a:spLocks noGrp="1"/>
          </p:cNvSpPr>
          <p:nvPr>
            <p:ph type="title" hasCustomPrompt="1"/>
          </p:nvPr>
        </p:nvSpPr>
        <p:spPr/>
        <p:txBody>
          <a:bodyPr/>
          <a:lstStyle>
            <a:lvl1pPr>
              <a:defRPr/>
            </a:lvl1pPr>
          </a:lstStyle>
          <a:p>
            <a:r>
              <a:rPr lang="en-US" dirty="0"/>
              <a:t>Agenda Title</a:t>
            </a:r>
            <a:endParaRPr lang="en-GB" dirty="0"/>
          </a:p>
        </p:txBody>
      </p:sp>
      <p:sp>
        <p:nvSpPr>
          <p:cNvPr id="14" name="Text Placeholder 29">
            <a:extLst>
              <a:ext uri="{FF2B5EF4-FFF2-40B4-BE49-F238E27FC236}">
                <a16:creationId xmlns:a16="http://schemas.microsoft.com/office/drawing/2014/main" id="{14F243B5-1C54-5D07-A987-C3330B2D9624}"/>
              </a:ext>
            </a:extLst>
          </p:cNvPr>
          <p:cNvSpPr>
            <a:spLocks noGrp="1"/>
          </p:cNvSpPr>
          <p:nvPr>
            <p:ph type="body" sz="quarter" idx="33"/>
          </p:nvPr>
        </p:nvSpPr>
        <p:spPr>
          <a:xfrm>
            <a:off x="9144000" y="1727200"/>
            <a:ext cx="1800225" cy="1990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5">
            <a:extLst>
              <a:ext uri="{FF2B5EF4-FFF2-40B4-BE49-F238E27FC236}">
                <a16:creationId xmlns:a16="http://schemas.microsoft.com/office/drawing/2014/main" id="{9300001C-A2A3-A559-636F-0F7406385431}"/>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E2B11598-52E7-0F9F-63AC-6D7A4436531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3" name="Footer Placeholder 2">
            <a:extLst>
              <a:ext uri="{FF2B5EF4-FFF2-40B4-BE49-F238E27FC236}">
                <a16:creationId xmlns:a16="http://schemas.microsoft.com/office/drawing/2014/main" id="{B9A13292-35C9-5EB8-5E35-09ADE7BF7752}"/>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962805995"/>
      </p:ext>
    </p:extLst>
  </p:cSld>
  <p:clrMapOvr>
    <a:masterClrMapping/>
  </p:clrMapOvr>
  <p:transition>
    <p:wipe/>
  </p:transition>
  <p:extLst>
    <p:ext uri="{DCECCB84-F9BA-43D5-87BE-67443E8EF086}">
      <p15:sldGuideLst xmlns:p15="http://schemas.microsoft.com/office/powerpoint/2012/main">
        <p15:guide id="1" pos="5579">
          <p15:clr>
            <a:srgbClr val="FBAE40"/>
          </p15:clr>
        </p15:guide>
        <p15:guide id="2" pos="576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4 - Photo, 4 rows">
    <p:spTree>
      <p:nvGrpSpPr>
        <p:cNvPr id="1" name=""/>
        <p:cNvGrpSpPr/>
        <p:nvPr/>
      </p:nvGrpSpPr>
      <p:grpSpPr>
        <a:xfrm>
          <a:off x="0" y="0"/>
          <a:ext cx="0" cy="0"/>
          <a:chOff x="0" y="0"/>
          <a:chExt cx="0" cy="0"/>
        </a:xfrm>
      </p:grpSpPr>
      <p:sp>
        <p:nvSpPr>
          <p:cNvPr id="6" name="Pentagon 5">
            <a:extLst>
              <a:ext uri="{FF2B5EF4-FFF2-40B4-BE49-F238E27FC236}">
                <a16:creationId xmlns:a16="http://schemas.microsoft.com/office/drawing/2014/main" id="{281516EF-421D-F144-98AE-D7B78824480F}"/>
              </a:ext>
            </a:extLst>
          </p:cNvPr>
          <p:cNvSpPr/>
          <p:nvPr userDrawn="1"/>
        </p:nvSpPr>
        <p:spPr>
          <a:xfrm>
            <a:off x="5328000" y="1439863"/>
            <a:ext cx="5616000" cy="79200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5" name="Pentagon 24">
            <a:extLst>
              <a:ext uri="{FF2B5EF4-FFF2-40B4-BE49-F238E27FC236}">
                <a16:creationId xmlns:a16="http://schemas.microsoft.com/office/drawing/2014/main" id="{55DC1F1D-501D-C74A-9495-AD1C35BC4C0E}"/>
              </a:ext>
            </a:extLst>
          </p:cNvPr>
          <p:cNvSpPr/>
          <p:nvPr userDrawn="1"/>
        </p:nvSpPr>
        <p:spPr>
          <a:xfrm>
            <a:off x="5328000" y="2544288"/>
            <a:ext cx="5616000" cy="79200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27" name="Pentagon 26">
            <a:extLst>
              <a:ext uri="{FF2B5EF4-FFF2-40B4-BE49-F238E27FC236}">
                <a16:creationId xmlns:a16="http://schemas.microsoft.com/office/drawing/2014/main" id="{422CAEF5-AD0D-B947-A2C0-35CDBC19A33A}"/>
              </a:ext>
            </a:extLst>
          </p:cNvPr>
          <p:cNvSpPr/>
          <p:nvPr userDrawn="1"/>
        </p:nvSpPr>
        <p:spPr>
          <a:xfrm>
            <a:off x="5328000" y="3648713"/>
            <a:ext cx="5616000" cy="79200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30" name="Pentagon 29">
            <a:extLst>
              <a:ext uri="{FF2B5EF4-FFF2-40B4-BE49-F238E27FC236}">
                <a16:creationId xmlns:a16="http://schemas.microsoft.com/office/drawing/2014/main" id="{167AC00A-2CBB-EB41-8105-2D5B11934C0A}"/>
              </a:ext>
            </a:extLst>
          </p:cNvPr>
          <p:cNvSpPr/>
          <p:nvPr userDrawn="1"/>
        </p:nvSpPr>
        <p:spPr>
          <a:xfrm>
            <a:off x="5328000" y="4753138"/>
            <a:ext cx="5616000" cy="79200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sp>
        <p:nvSpPr>
          <p:cNvPr id="16" name="Picture Placeholder 7">
            <a:extLst>
              <a:ext uri="{FF2B5EF4-FFF2-40B4-BE49-F238E27FC236}">
                <a16:creationId xmlns:a16="http://schemas.microsoft.com/office/drawing/2014/main" id="{46DA7B60-9C8A-3443-BFAB-926A6229CEC3}"/>
              </a:ext>
            </a:extLst>
          </p:cNvPr>
          <p:cNvSpPr>
            <a:spLocks noGrp="1"/>
          </p:cNvSpPr>
          <p:nvPr>
            <p:ph type="pic" sz="quarter" idx="17"/>
          </p:nvPr>
        </p:nvSpPr>
        <p:spPr>
          <a:xfrm>
            <a:off x="576025" y="1439862"/>
            <a:ext cx="4464287" cy="4105275"/>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4" name="TextBox 3">
            <a:extLst>
              <a:ext uri="{FF2B5EF4-FFF2-40B4-BE49-F238E27FC236}">
                <a16:creationId xmlns:a16="http://schemas.microsoft.com/office/drawing/2014/main" id="{F7219A1F-B147-6D46-9B25-D18EDD48AF1A}"/>
              </a:ext>
            </a:extLst>
          </p:cNvPr>
          <p:cNvSpPr txBox="1"/>
          <p:nvPr userDrawn="1"/>
        </p:nvSpPr>
        <p:spPr>
          <a:xfrm>
            <a:off x="5327650" y="1475863"/>
            <a:ext cx="756000" cy="790345"/>
          </a:xfrm>
          <a:prstGeom prst="rect">
            <a:avLst/>
          </a:prstGeom>
          <a:noFill/>
          <a:ln>
            <a:noFill/>
          </a:ln>
        </p:spPr>
        <p:txBody>
          <a:bodyPr wrap="square" rtlCol="0">
            <a:spAutoFit/>
          </a:bodyPr>
          <a:lstStyle/>
          <a:p>
            <a:pPr marL="0" indent="0">
              <a:spcBef>
                <a:spcPts val="1134"/>
              </a:spcBef>
              <a:buFont typeface="Arial" pitchFamily="34" charset="0"/>
              <a:buNone/>
            </a:pPr>
            <a:r>
              <a:rPr lang="en-US" sz="4536" b="1" i="0" dirty="0">
                <a:solidFill>
                  <a:srgbClr val="FF6120"/>
                </a:solidFill>
                <a:latin typeface="+mn-lt"/>
              </a:rPr>
              <a:t>1</a:t>
            </a:r>
          </a:p>
        </p:txBody>
      </p:sp>
      <p:sp>
        <p:nvSpPr>
          <p:cNvPr id="15" name="TextBox 14">
            <a:extLst>
              <a:ext uri="{FF2B5EF4-FFF2-40B4-BE49-F238E27FC236}">
                <a16:creationId xmlns:a16="http://schemas.microsoft.com/office/drawing/2014/main" id="{43726947-4E42-5A4E-B65D-2C691C1A9A9D}"/>
              </a:ext>
            </a:extLst>
          </p:cNvPr>
          <p:cNvSpPr txBox="1"/>
          <p:nvPr userDrawn="1"/>
        </p:nvSpPr>
        <p:spPr>
          <a:xfrm>
            <a:off x="5327650" y="2580288"/>
            <a:ext cx="756000" cy="790345"/>
          </a:xfrm>
          <a:prstGeom prst="rect">
            <a:avLst/>
          </a:prstGeom>
          <a:noFill/>
          <a:ln>
            <a:noFill/>
          </a:ln>
        </p:spPr>
        <p:txBody>
          <a:bodyPr wrap="square" rtlCol="0">
            <a:spAutoFit/>
          </a:bodyPr>
          <a:lstStyle/>
          <a:p>
            <a:pPr marL="0" indent="0">
              <a:spcBef>
                <a:spcPts val="1134"/>
              </a:spcBef>
              <a:buFont typeface="Arial" pitchFamily="34" charset="0"/>
              <a:buNone/>
            </a:pPr>
            <a:r>
              <a:rPr lang="en-US" sz="4536" b="1" i="0" dirty="0">
                <a:solidFill>
                  <a:srgbClr val="FF6120"/>
                </a:solidFill>
                <a:latin typeface="+mn-lt"/>
              </a:rPr>
              <a:t>2</a:t>
            </a:r>
          </a:p>
        </p:txBody>
      </p:sp>
      <p:sp>
        <p:nvSpPr>
          <p:cNvPr id="20" name="TextBox 19">
            <a:extLst>
              <a:ext uri="{FF2B5EF4-FFF2-40B4-BE49-F238E27FC236}">
                <a16:creationId xmlns:a16="http://schemas.microsoft.com/office/drawing/2014/main" id="{7E669A21-471E-354A-8D38-3D5E2837EEEE}"/>
              </a:ext>
            </a:extLst>
          </p:cNvPr>
          <p:cNvSpPr txBox="1"/>
          <p:nvPr userDrawn="1"/>
        </p:nvSpPr>
        <p:spPr>
          <a:xfrm>
            <a:off x="5327650" y="3684713"/>
            <a:ext cx="756000" cy="790345"/>
          </a:xfrm>
          <a:prstGeom prst="rect">
            <a:avLst/>
          </a:prstGeom>
          <a:noFill/>
          <a:ln>
            <a:noFill/>
          </a:ln>
        </p:spPr>
        <p:txBody>
          <a:bodyPr wrap="square" rtlCol="0">
            <a:spAutoFit/>
          </a:bodyPr>
          <a:lstStyle/>
          <a:p>
            <a:pPr marL="0" indent="0">
              <a:spcBef>
                <a:spcPts val="1134"/>
              </a:spcBef>
              <a:buFont typeface="Arial" pitchFamily="34" charset="0"/>
              <a:buNone/>
            </a:pPr>
            <a:r>
              <a:rPr lang="en-US" sz="4536" b="1" i="0" dirty="0">
                <a:solidFill>
                  <a:srgbClr val="FF6120"/>
                </a:solidFill>
                <a:latin typeface="+mn-lt"/>
              </a:rPr>
              <a:t>3</a:t>
            </a:r>
          </a:p>
        </p:txBody>
      </p:sp>
      <p:sp>
        <p:nvSpPr>
          <p:cNvPr id="21" name="TextBox 20">
            <a:extLst>
              <a:ext uri="{FF2B5EF4-FFF2-40B4-BE49-F238E27FC236}">
                <a16:creationId xmlns:a16="http://schemas.microsoft.com/office/drawing/2014/main" id="{E8B2738C-AAAB-C54E-BD9D-7CD9C87FD65E}"/>
              </a:ext>
            </a:extLst>
          </p:cNvPr>
          <p:cNvSpPr txBox="1"/>
          <p:nvPr userDrawn="1"/>
        </p:nvSpPr>
        <p:spPr>
          <a:xfrm>
            <a:off x="5327650" y="4789138"/>
            <a:ext cx="756000" cy="790345"/>
          </a:xfrm>
          <a:prstGeom prst="rect">
            <a:avLst/>
          </a:prstGeom>
          <a:noFill/>
          <a:ln>
            <a:noFill/>
          </a:ln>
        </p:spPr>
        <p:txBody>
          <a:bodyPr wrap="square" rtlCol="0">
            <a:spAutoFit/>
          </a:bodyPr>
          <a:lstStyle/>
          <a:p>
            <a:pPr marL="0" indent="0">
              <a:spcBef>
                <a:spcPts val="1134"/>
              </a:spcBef>
              <a:buFont typeface="Arial" pitchFamily="34" charset="0"/>
              <a:buNone/>
            </a:pPr>
            <a:r>
              <a:rPr lang="en-US" sz="4536" b="1" i="0" dirty="0">
                <a:solidFill>
                  <a:srgbClr val="FF6120"/>
                </a:solidFill>
                <a:latin typeface="+mn-lt"/>
              </a:rPr>
              <a:t>4</a:t>
            </a:r>
          </a:p>
        </p:txBody>
      </p:sp>
      <p:sp>
        <p:nvSpPr>
          <p:cNvPr id="8" name="Text Placeholder 7">
            <a:extLst>
              <a:ext uri="{FF2B5EF4-FFF2-40B4-BE49-F238E27FC236}">
                <a16:creationId xmlns:a16="http://schemas.microsoft.com/office/drawing/2014/main" id="{BE071823-C49C-3940-A639-1262FBCE66BE}"/>
              </a:ext>
            </a:extLst>
          </p:cNvPr>
          <p:cNvSpPr>
            <a:spLocks noGrp="1"/>
          </p:cNvSpPr>
          <p:nvPr>
            <p:ph type="body" sz="quarter" idx="18" hasCustomPrompt="1"/>
          </p:nvPr>
        </p:nvSpPr>
        <p:spPr>
          <a:xfrm>
            <a:off x="6093258" y="1475863"/>
            <a:ext cx="4441689" cy="720000"/>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1" name="Text Placeholder 7">
            <a:extLst>
              <a:ext uri="{FF2B5EF4-FFF2-40B4-BE49-F238E27FC236}">
                <a16:creationId xmlns:a16="http://schemas.microsoft.com/office/drawing/2014/main" id="{AD1C7BC5-C958-CC4F-A934-FC6BF65366A4}"/>
              </a:ext>
            </a:extLst>
          </p:cNvPr>
          <p:cNvSpPr>
            <a:spLocks noGrp="1"/>
          </p:cNvSpPr>
          <p:nvPr>
            <p:ph type="body" sz="quarter" idx="19" hasCustomPrompt="1"/>
          </p:nvPr>
        </p:nvSpPr>
        <p:spPr>
          <a:xfrm>
            <a:off x="6093258" y="2580288"/>
            <a:ext cx="4441689" cy="720000"/>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2" name="Text Placeholder 7">
            <a:extLst>
              <a:ext uri="{FF2B5EF4-FFF2-40B4-BE49-F238E27FC236}">
                <a16:creationId xmlns:a16="http://schemas.microsoft.com/office/drawing/2014/main" id="{7A4E2A65-1656-F942-9593-CE1D61BBD7FF}"/>
              </a:ext>
            </a:extLst>
          </p:cNvPr>
          <p:cNvSpPr>
            <a:spLocks noGrp="1"/>
          </p:cNvSpPr>
          <p:nvPr>
            <p:ph type="body" sz="quarter" idx="20" hasCustomPrompt="1"/>
          </p:nvPr>
        </p:nvSpPr>
        <p:spPr>
          <a:xfrm>
            <a:off x="6093258" y="3684713"/>
            <a:ext cx="4441689" cy="720000"/>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33" name="Text Placeholder 7">
            <a:extLst>
              <a:ext uri="{FF2B5EF4-FFF2-40B4-BE49-F238E27FC236}">
                <a16:creationId xmlns:a16="http://schemas.microsoft.com/office/drawing/2014/main" id="{F5C8D701-2672-994E-B011-FA30D530143E}"/>
              </a:ext>
            </a:extLst>
          </p:cNvPr>
          <p:cNvSpPr>
            <a:spLocks noGrp="1"/>
          </p:cNvSpPr>
          <p:nvPr>
            <p:ph type="body" sz="quarter" idx="21" hasCustomPrompt="1"/>
          </p:nvPr>
        </p:nvSpPr>
        <p:spPr>
          <a:xfrm>
            <a:off x="6093258" y="4789138"/>
            <a:ext cx="4441689" cy="720000"/>
          </a:xfrm>
          <a:prstGeom prst="rect">
            <a:avLst/>
          </a:prstGeom>
        </p:spPr>
        <p:txBody>
          <a:bodyPr anchor="ctr" anchorCtr="0"/>
          <a:lstStyle>
            <a:lvl1pPr marL="0" marR="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sz="1134"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marL="0" marR="0" lvl="0" indent="0" algn="l" defTabSz="864017" rtl="0" eaLnBrk="1" fontAlgn="auto" latinLnBrk="0" hangingPunct="1">
              <a:lnSpc>
                <a:spcPct val="100000"/>
              </a:lnSpc>
              <a:spcBef>
                <a:spcPts val="567"/>
              </a:spcBef>
              <a:spcAft>
                <a:spcPts val="0"/>
              </a:spcAft>
              <a:buClrTx/>
              <a:buSzTx/>
              <a:buFont typeface="Arial" panose="020B0604020202020204" pitchFamily="34" charset="0"/>
              <a:buNone/>
              <a:tabLst/>
              <a:defRPr/>
            </a:pPr>
            <a:r>
              <a:rPr lang="en-US" dirty="0"/>
              <a:t>Click to edit Master text styles Click to edit Master text styles </a:t>
            </a:r>
            <a:br>
              <a:rPr lang="en-US" dirty="0"/>
            </a:br>
            <a:r>
              <a:rPr lang="en-US" dirty="0"/>
              <a:t>Click to edit Master text styles Click to edit Master</a:t>
            </a:r>
          </a:p>
        </p:txBody>
      </p:sp>
      <p:sp>
        <p:nvSpPr>
          <p:cNvPr id="11" name="Slide Number Placeholder 10">
            <a:extLst>
              <a:ext uri="{FF2B5EF4-FFF2-40B4-BE49-F238E27FC236}">
                <a16:creationId xmlns:a16="http://schemas.microsoft.com/office/drawing/2014/main" id="{57D6B408-C91F-A4F9-B9D9-B8EEA2C5461F}"/>
              </a:ext>
            </a:extLst>
          </p:cNvPr>
          <p:cNvSpPr>
            <a:spLocks noGrp="1"/>
          </p:cNvSpPr>
          <p:nvPr>
            <p:ph type="sldNum" sz="quarter" idx="24"/>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CD5B9C06-AEF7-2506-417E-ADCDA89E72EC}"/>
              </a:ext>
            </a:extLst>
          </p:cNvPr>
          <p:cNvSpPr>
            <a:spLocks noGrp="1"/>
          </p:cNvSpPr>
          <p:nvPr>
            <p:ph type="title"/>
          </p:nvPr>
        </p:nvSpPr>
        <p:spPr/>
        <p:txBody>
          <a:bodyPr/>
          <a:lstStyle/>
          <a:p>
            <a:r>
              <a:rPr lang="en-US"/>
              <a:t>Click to edit Master title style</a:t>
            </a:r>
            <a:endParaRPr lang="en-GB"/>
          </a:p>
        </p:txBody>
      </p:sp>
      <p:sp>
        <p:nvSpPr>
          <p:cNvPr id="13" name="Text Placeholder 5">
            <a:extLst>
              <a:ext uri="{FF2B5EF4-FFF2-40B4-BE49-F238E27FC236}">
                <a16:creationId xmlns:a16="http://schemas.microsoft.com/office/drawing/2014/main" id="{80DD97F9-4930-84A2-F725-0C9E02C64A49}"/>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8A80A1CB-BD4D-4795-1FDC-67252DAC4C98}"/>
              </a:ext>
            </a:extLst>
          </p:cNvPr>
          <p:cNvSpPr>
            <a:spLocks noGrp="1"/>
          </p:cNvSpPr>
          <p:nvPr>
            <p:ph type="body" sz="quarter" idx="39"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7" name="Source">
            <a:extLst>
              <a:ext uri="{FF2B5EF4-FFF2-40B4-BE49-F238E27FC236}">
                <a16:creationId xmlns:a16="http://schemas.microsoft.com/office/drawing/2014/main" id="{A64C60AE-4354-233C-5036-C64DABB2BED0}"/>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1A9FEF53-FDF9-F317-8AD5-4F4D533F4AC0}"/>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995914602"/>
      </p:ext>
    </p:extLst>
  </p:cSld>
  <p:clrMapOvr>
    <a:masterClrMapping/>
  </p:clrMapOvr>
  <p:transition>
    <p:wipe/>
  </p:transition>
  <p:extLst>
    <p:ext uri="{DCECCB84-F9BA-43D5-87BE-67443E8EF086}">
      <p15:sldGuideLst xmlns:p15="http://schemas.microsoft.com/office/powerpoint/2012/main">
        <p15:guide id="1" pos="3356">
          <p15:clr>
            <a:srgbClr val="FBAE40"/>
          </p15:clr>
        </p15:guide>
        <p15:guide id="2" pos="3175">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5 - 2 col, 2 rows, with photos">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09854543-5654-F545-944C-ED554F59D2D8}"/>
              </a:ext>
            </a:extLst>
          </p:cNvPr>
          <p:cNvSpPr>
            <a:spLocks noGrp="1"/>
          </p:cNvSpPr>
          <p:nvPr>
            <p:ph type="pic" sz="quarter" idx="17"/>
          </p:nvPr>
        </p:nvSpPr>
        <p:spPr>
          <a:xfrm>
            <a:off x="576025" y="1439862"/>
            <a:ext cx="1620000" cy="194400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dirty="0"/>
          </a:p>
        </p:txBody>
      </p:sp>
      <p:sp>
        <p:nvSpPr>
          <p:cNvPr id="17" name="Picture Placeholder 9">
            <a:extLst>
              <a:ext uri="{FF2B5EF4-FFF2-40B4-BE49-F238E27FC236}">
                <a16:creationId xmlns:a16="http://schemas.microsoft.com/office/drawing/2014/main" id="{FFB42B3A-23C0-A442-9B00-645F85486BC6}"/>
              </a:ext>
            </a:extLst>
          </p:cNvPr>
          <p:cNvSpPr>
            <a:spLocks noGrp="1"/>
          </p:cNvSpPr>
          <p:nvPr>
            <p:ph type="pic" sz="quarter" idx="18"/>
          </p:nvPr>
        </p:nvSpPr>
        <p:spPr>
          <a:xfrm>
            <a:off x="576025" y="3601138"/>
            <a:ext cx="1620000" cy="194400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dirty="0"/>
          </a:p>
        </p:txBody>
      </p:sp>
      <p:sp>
        <p:nvSpPr>
          <p:cNvPr id="14" name="Text Placeholder 13">
            <a:extLst>
              <a:ext uri="{FF2B5EF4-FFF2-40B4-BE49-F238E27FC236}">
                <a16:creationId xmlns:a16="http://schemas.microsoft.com/office/drawing/2014/main" id="{E8059490-5EA9-7B44-AAE6-5BBED26CC54F}"/>
              </a:ext>
            </a:extLst>
          </p:cNvPr>
          <p:cNvSpPr>
            <a:spLocks noGrp="1"/>
          </p:cNvSpPr>
          <p:nvPr>
            <p:ph type="body" sz="quarter" idx="19"/>
          </p:nvPr>
        </p:nvSpPr>
        <p:spPr>
          <a:xfrm>
            <a:off x="2196000" y="1439863"/>
            <a:ext cx="3420000" cy="1944000"/>
          </a:xfrm>
          <a:prstGeom prst="rect">
            <a:avLst/>
          </a:prstGeom>
          <a:noFill/>
          <a:ln>
            <a:noFill/>
          </a:ln>
        </p:spPr>
        <p:txBody>
          <a:bodyPr lIns="182880" tIns="91440" rIns="274320" bIns="91440" anchor="ctr" anchorCtr="0"/>
          <a:lstStyle>
            <a:lvl1pPr>
              <a:defRPr sz="1134">
                <a:solidFill>
                  <a:srgbClr val="00485E"/>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3">
            <a:extLst>
              <a:ext uri="{FF2B5EF4-FFF2-40B4-BE49-F238E27FC236}">
                <a16:creationId xmlns:a16="http://schemas.microsoft.com/office/drawing/2014/main" id="{5542ACAA-9F38-0245-8DAF-B48EF3577A95}"/>
              </a:ext>
            </a:extLst>
          </p:cNvPr>
          <p:cNvSpPr>
            <a:spLocks noGrp="1"/>
          </p:cNvSpPr>
          <p:nvPr>
            <p:ph type="body" sz="quarter" idx="20"/>
          </p:nvPr>
        </p:nvSpPr>
        <p:spPr>
          <a:xfrm>
            <a:off x="2196000" y="3601138"/>
            <a:ext cx="3420000" cy="1944000"/>
          </a:xfrm>
          <a:prstGeom prst="rect">
            <a:avLst/>
          </a:prstGeom>
          <a:noFill/>
          <a:ln>
            <a:noFill/>
          </a:ln>
        </p:spPr>
        <p:txBody>
          <a:bodyPr lIns="182880" tIns="91440" rIns="274320" bIns="91440" anchor="ctr" anchorCtr="0"/>
          <a:lstStyle>
            <a:lvl1pPr>
              <a:defRPr sz="1134">
                <a:solidFill>
                  <a:srgbClr val="00485E"/>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Picture Placeholder 9">
            <a:extLst>
              <a:ext uri="{FF2B5EF4-FFF2-40B4-BE49-F238E27FC236}">
                <a16:creationId xmlns:a16="http://schemas.microsoft.com/office/drawing/2014/main" id="{2690E5F8-2F92-6343-B1AC-BF179381486A}"/>
              </a:ext>
            </a:extLst>
          </p:cNvPr>
          <p:cNvSpPr>
            <a:spLocks noGrp="1"/>
          </p:cNvSpPr>
          <p:nvPr>
            <p:ph type="pic" sz="quarter" idx="21"/>
          </p:nvPr>
        </p:nvSpPr>
        <p:spPr>
          <a:xfrm>
            <a:off x="5904000" y="1439862"/>
            <a:ext cx="1620000" cy="194400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a:p>
        </p:txBody>
      </p:sp>
      <p:sp>
        <p:nvSpPr>
          <p:cNvPr id="20" name="Picture Placeholder 9">
            <a:extLst>
              <a:ext uri="{FF2B5EF4-FFF2-40B4-BE49-F238E27FC236}">
                <a16:creationId xmlns:a16="http://schemas.microsoft.com/office/drawing/2014/main" id="{7AE42FCB-928D-7E40-AF33-401414349FF2}"/>
              </a:ext>
            </a:extLst>
          </p:cNvPr>
          <p:cNvSpPr>
            <a:spLocks noGrp="1"/>
          </p:cNvSpPr>
          <p:nvPr>
            <p:ph type="pic" sz="quarter" idx="22"/>
          </p:nvPr>
        </p:nvSpPr>
        <p:spPr>
          <a:xfrm>
            <a:off x="5904000" y="3601138"/>
            <a:ext cx="1620000" cy="1944000"/>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dirty="0"/>
          </a:p>
        </p:txBody>
      </p:sp>
      <p:sp>
        <p:nvSpPr>
          <p:cNvPr id="21" name="Text Placeholder 13">
            <a:extLst>
              <a:ext uri="{FF2B5EF4-FFF2-40B4-BE49-F238E27FC236}">
                <a16:creationId xmlns:a16="http://schemas.microsoft.com/office/drawing/2014/main" id="{6EA8275B-3E51-F940-A360-39E382AFF65E}"/>
              </a:ext>
            </a:extLst>
          </p:cNvPr>
          <p:cNvSpPr>
            <a:spLocks noGrp="1"/>
          </p:cNvSpPr>
          <p:nvPr>
            <p:ph type="body" sz="quarter" idx="23"/>
          </p:nvPr>
        </p:nvSpPr>
        <p:spPr>
          <a:xfrm>
            <a:off x="7524000" y="1439863"/>
            <a:ext cx="3420000" cy="1944000"/>
          </a:xfrm>
          <a:prstGeom prst="rect">
            <a:avLst/>
          </a:prstGeom>
          <a:noFill/>
          <a:ln>
            <a:noFill/>
          </a:ln>
        </p:spPr>
        <p:txBody>
          <a:bodyPr lIns="182880" tIns="91440" rIns="274320" bIns="91440" anchor="ctr" anchorCtr="0"/>
          <a:lstStyle>
            <a:lvl1pPr>
              <a:defRPr sz="1134">
                <a:solidFill>
                  <a:srgbClr val="00485E"/>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3">
            <a:extLst>
              <a:ext uri="{FF2B5EF4-FFF2-40B4-BE49-F238E27FC236}">
                <a16:creationId xmlns:a16="http://schemas.microsoft.com/office/drawing/2014/main" id="{BD4945C9-85C3-7645-92DB-4CD5478BAB8D}"/>
              </a:ext>
            </a:extLst>
          </p:cNvPr>
          <p:cNvSpPr>
            <a:spLocks noGrp="1"/>
          </p:cNvSpPr>
          <p:nvPr>
            <p:ph type="body" sz="quarter" idx="24"/>
          </p:nvPr>
        </p:nvSpPr>
        <p:spPr>
          <a:xfrm>
            <a:off x="7524000" y="3601138"/>
            <a:ext cx="3420000" cy="1944000"/>
          </a:xfrm>
          <a:prstGeom prst="rect">
            <a:avLst/>
          </a:prstGeom>
          <a:noFill/>
          <a:ln>
            <a:noFill/>
          </a:ln>
        </p:spPr>
        <p:txBody>
          <a:bodyPr lIns="182880" tIns="91440" rIns="274320" bIns="91440" anchor="ctr" anchorCtr="0"/>
          <a:lstStyle>
            <a:lvl1pPr>
              <a:defRPr sz="1134">
                <a:solidFill>
                  <a:srgbClr val="00485E"/>
                </a:solidFill>
                <a:latin typeface="Avenir Next LT Pro" panose="020B0504020202020204" pitchFamily="34" charset="77"/>
              </a:defRPr>
            </a:lvl1pPr>
            <a:lvl2pPr>
              <a:defRPr sz="1134">
                <a:solidFill>
                  <a:schemeClr val="tx2"/>
                </a:solidFill>
                <a:latin typeface="Avenir Next LT Pro" panose="020B0504020202020204" pitchFamily="34" charset="77"/>
              </a:defRPr>
            </a:lvl2pPr>
            <a:lvl3pPr>
              <a:defRPr sz="1134">
                <a:solidFill>
                  <a:schemeClr val="tx2"/>
                </a:solidFill>
                <a:latin typeface="Avenir Next LT Pro" panose="020B0504020202020204" pitchFamily="34" charset="77"/>
              </a:defRPr>
            </a:lvl3pPr>
            <a:lvl4pPr>
              <a:defRPr sz="1134">
                <a:solidFill>
                  <a:schemeClr val="tx2"/>
                </a:solidFill>
                <a:latin typeface="Avenir Next LT Pro" panose="020B0504020202020204" pitchFamily="34" charset="77"/>
              </a:defRPr>
            </a:lvl4pPr>
            <a:lvl5pPr>
              <a:defRPr sz="1134">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E0357823-F48D-89F4-5C30-42248DF73A0D}"/>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F6B45AAC-B2E1-85F8-4423-8F53A61172F4}"/>
              </a:ext>
            </a:extLst>
          </p:cNvPr>
          <p:cNvSpPr>
            <a:spLocks noGrp="1"/>
          </p:cNvSpPr>
          <p:nvPr>
            <p:ph type="title"/>
          </p:nvPr>
        </p:nvSpPr>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3FD28BF2-E870-BB52-9D1C-E36BB018CBFD}"/>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B3F67152-0610-6466-4BFF-F967B01D4E22}"/>
              </a:ext>
            </a:extLst>
          </p:cNvPr>
          <p:cNvSpPr>
            <a:spLocks noGrp="1"/>
          </p:cNvSpPr>
          <p:nvPr>
            <p:ph type="body" sz="quarter" idx="39"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9E77C941-99B8-0D16-1C6A-C101A2E163D3}"/>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A2D99C47-81BE-034D-54C3-01E5BEC03667}"/>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79191880"/>
      </p:ext>
    </p:extLst>
  </p:cSld>
  <p:clrMapOvr>
    <a:masterClrMapping/>
  </p:clrMapOvr>
  <p:transition>
    <p:wipe/>
  </p:transition>
  <p:extLst>
    <p:ext uri="{DCECCB84-F9BA-43D5-87BE-67443E8EF086}">
      <p15:sldGuideLst xmlns:p15="http://schemas.microsoft.com/office/powerpoint/2012/main">
        <p15:guide id="1" pos="3538">
          <p15:clr>
            <a:srgbClr val="FBAE40"/>
          </p15:clr>
        </p15:guide>
        <p15:guide id="2" pos="3719">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1 - 3 col, title and copy">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6024" y="1727200"/>
            <a:ext cx="3240000" cy="3073196"/>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7704225" y="1727200"/>
            <a:ext cx="3240000" cy="3073196"/>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103688" y="1727200"/>
            <a:ext cx="3312000" cy="3073196"/>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6024" y="143986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103688" y="1439863"/>
            <a:ext cx="3312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7698244" y="143986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4" name="Slide Number Placeholder 13">
            <a:extLst>
              <a:ext uri="{FF2B5EF4-FFF2-40B4-BE49-F238E27FC236}">
                <a16:creationId xmlns:a16="http://schemas.microsoft.com/office/drawing/2014/main" id="{8775158E-EE5C-1DD1-3D9F-812A2858A730}"/>
              </a:ext>
            </a:extLst>
          </p:cNvPr>
          <p:cNvSpPr>
            <a:spLocks noGrp="1"/>
          </p:cNvSpPr>
          <p:nvPr>
            <p:ph type="sldNum" sz="quarter" idx="33"/>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4C604807-E95F-E593-786F-E671A0267CC6}"/>
              </a:ext>
            </a:extLst>
          </p:cNvPr>
          <p:cNvSpPr>
            <a:spLocks noGrp="1"/>
          </p:cNvSpPr>
          <p:nvPr>
            <p:ph type="title"/>
          </p:nvPr>
        </p:nvSpPr>
        <p:spPr/>
        <p:txBody>
          <a:bodyPr/>
          <a:lstStyle/>
          <a:p>
            <a:r>
              <a:rPr lang="en-US"/>
              <a:t>Click to edit Master title style</a:t>
            </a:r>
            <a:endParaRPr lang="en-GB"/>
          </a:p>
        </p:txBody>
      </p:sp>
      <p:sp>
        <p:nvSpPr>
          <p:cNvPr id="16" name="Text Placeholder 5">
            <a:extLst>
              <a:ext uri="{FF2B5EF4-FFF2-40B4-BE49-F238E27FC236}">
                <a16:creationId xmlns:a16="http://schemas.microsoft.com/office/drawing/2014/main" id="{DF9EA2C4-86CD-EDD0-3A64-170B94309F9E}"/>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94DAA1C1-9CD4-7E3F-C5BE-A02C784FACF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A11A5792-C6AB-B61E-A7DC-6644F21B8974}"/>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F3B1C721-B884-BA81-FC58-9EE0C8303405}"/>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485500298"/>
      </p:ext>
    </p:extLst>
  </p:cSld>
  <p:clrMapOvr>
    <a:masterClrMapping/>
  </p:clrMapOvr>
  <p:transition>
    <p:wipe/>
  </p:transition>
  <p:extLst>
    <p:ext uri="{DCECCB84-F9BA-43D5-87BE-67443E8EF086}">
      <p15:sldGuideLst xmlns:p15="http://schemas.microsoft.com/office/powerpoint/2012/main">
        <p15:guide id="1" pos="4853">
          <p15:clr>
            <a:srgbClr val="FBAE40"/>
          </p15:clr>
        </p15:guide>
        <p15:guide id="2" pos="4672">
          <p15:clr>
            <a:srgbClr val="FBAE40"/>
          </p15:clr>
        </p15:guide>
        <p15:guide id="3" pos="2404">
          <p15:clr>
            <a:srgbClr val="FBAE40"/>
          </p15:clr>
        </p15:guide>
        <p15:guide id="4" pos="2585">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2 - 3 col, title, subtitle, copy">
    <p:spTree>
      <p:nvGrpSpPr>
        <p:cNvPr id="1" name=""/>
        <p:cNvGrpSpPr/>
        <p:nvPr/>
      </p:nvGrpSpPr>
      <p:grpSpPr>
        <a:xfrm>
          <a:off x="0" y="0"/>
          <a:ext cx="0" cy="0"/>
          <a:chOff x="0" y="0"/>
          <a:chExt cx="0" cy="0"/>
        </a:xfrm>
      </p:grpSpPr>
      <p:sp>
        <p:nvSpPr>
          <p:cNvPr id="17" name="Slide Number Placeholder 16">
            <a:extLst>
              <a:ext uri="{FF2B5EF4-FFF2-40B4-BE49-F238E27FC236}">
                <a16:creationId xmlns:a16="http://schemas.microsoft.com/office/drawing/2014/main" id="{55F4B86D-DC5F-09F5-6505-C7618EA4BA77}"/>
              </a:ext>
            </a:extLst>
          </p:cNvPr>
          <p:cNvSpPr>
            <a:spLocks noGrp="1"/>
          </p:cNvSpPr>
          <p:nvPr>
            <p:ph type="sldNum" sz="quarter" idx="34"/>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D4276CB7-3A0D-32D2-75B9-9570ED3566B5}"/>
              </a:ext>
            </a:extLst>
          </p:cNvPr>
          <p:cNvSpPr>
            <a:spLocks noGrp="1"/>
          </p:cNvSpPr>
          <p:nvPr>
            <p:ph type="title"/>
          </p:nvPr>
        </p:nvSpPr>
        <p:spPr/>
        <p:txBody>
          <a:bodyPr/>
          <a:lstStyle/>
          <a:p>
            <a:r>
              <a:rPr lang="en-US"/>
              <a:t>Click to edit Master title style</a:t>
            </a:r>
            <a:endParaRPr lang="en-GB"/>
          </a:p>
        </p:txBody>
      </p:sp>
      <p:sp>
        <p:nvSpPr>
          <p:cNvPr id="19" name="Text Placeholder 5">
            <a:extLst>
              <a:ext uri="{FF2B5EF4-FFF2-40B4-BE49-F238E27FC236}">
                <a16:creationId xmlns:a16="http://schemas.microsoft.com/office/drawing/2014/main" id="{BDAC3F5C-3B91-1DA9-9BDE-79DE06E3DA3A}"/>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DBA7E185-ADD4-D1BA-7CF6-5EAACFEC7173}"/>
              </a:ext>
            </a:extLst>
          </p:cNvPr>
          <p:cNvSpPr>
            <a:spLocks noGrp="1"/>
          </p:cNvSpPr>
          <p:nvPr>
            <p:ph sz="quarter" idx="17"/>
          </p:nvPr>
        </p:nvSpPr>
        <p:spPr>
          <a:xfrm>
            <a:off x="576024" y="2016000"/>
            <a:ext cx="3240000" cy="3529138"/>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a:extLst>
              <a:ext uri="{FF2B5EF4-FFF2-40B4-BE49-F238E27FC236}">
                <a16:creationId xmlns:a16="http://schemas.microsoft.com/office/drawing/2014/main" id="{54786EEC-35C2-C6DC-6E7B-EF171C26887F}"/>
              </a:ext>
            </a:extLst>
          </p:cNvPr>
          <p:cNvSpPr>
            <a:spLocks noGrp="1"/>
          </p:cNvSpPr>
          <p:nvPr>
            <p:ph sz="quarter" idx="25"/>
          </p:nvPr>
        </p:nvSpPr>
        <p:spPr>
          <a:xfrm>
            <a:off x="7701344" y="2016000"/>
            <a:ext cx="3240000" cy="3529138"/>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
            <a:extLst>
              <a:ext uri="{FF2B5EF4-FFF2-40B4-BE49-F238E27FC236}">
                <a16:creationId xmlns:a16="http://schemas.microsoft.com/office/drawing/2014/main" id="{3F6E6D3B-7018-9C6C-7132-43905B8AB212}"/>
              </a:ext>
            </a:extLst>
          </p:cNvPr>
          <p:cNvSpPr>
            <a:spLocks noGrp="1"/>
          </p:cNvSpPr>
          <p:nvPr>
            <p:ph sz="quarter" idx="28"/>
          </p:nvPr>
        </p:nvSpPr>
        <p:spPr>
          <a:xfrm>
            <a:off x="4103688" y="2016000"/>
            <a:ext cx="3312000" cy="3529138"/>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E5406949-31EB-C0AF-FE9F-674A3AA253F1}"/>
              </a:ext>
            </a:extLst>
          </p:cNvPr>
          <p:cNvSpPr>
            <a:spLocks noGrp="1"/>
          </p:cNvSpPr>
          <p:nvPr>
            <p:ph type="body" sz="quarter" idx="29" hasCustomPrompt="1"/>
          </p:nvPr>
        </p:nvSpPr>
        <p:spPr>
          <a:xfrm>
            <a:off x="576024" y="143986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4" name="Text Placeholder 11">
            <a:extLst>
              <a:ext uri="{FF2B5EF4-FFF2-40B4-BE49-F238E27FC236}">
                <a16:creationId xmlns:a16="http://schemas.microsoft.com/office/drawing/2014/main" id="{1172D104-D642-8C44-7AEF-F2E8E3D7B344}"/>
              </a:ext>
            </a:extLst>
          </p:cNvPr>
          <p:cNvSpPr>
            <a:spLocks noGrp="1"/>
          </p:cNvSpPr>
          <p:nvPr>
            <p:ph type="body" sz="quarter" idx="18" hasCustomPrompt="1"/>
          </p:nvPr>
        </p:nvSpPr>
        <p:spPr>
          <a:xfrm>
            <a:off x="576024" y="1728000"/>
            <a:ext cx="3240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5" name="Text Placeholder 11">
            <a:extLst>
              <a:ext uri="{FF2B5EF4-FFF2-40B4-BE49-F238E27FC236}">
                <a16:creationId xmlns:a16="http://schemas.microsoft.com/office/drawing/2014/main" id="{EB34D7E7-FD98-AB7D-603E-3EC1A42C433A}"/>
              </a:ext>
            </a:extLst>
          </p:cNvPr>
          <p:cNvSpPr>
            <a:spLocks noGrp="1"/>
          </p:cNvSpPr>
          <p:nvPr>
            <p:ph type="body" sz="quarter" idx="19" hasCustomPrompt="1"/>
          </p:nvPr>
        </p:nvSpPr>
        <p:spPr>
          <a:xfrm>
            <a:off x="4103688" y="1439863"/>
            <a:ext cx="3312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6" name="Text Placeholder 11">
            <a:extLst>
              <a:ext uri="{FF2B5EF4-FFF2-40B4-BE49-F238E27FC236}">
                <a16:creationId xmlns:a16="http://schemas.microsoft.com/office/drawing/2014/main" id="{B3AC9B99-0626-52D9-DA81-AC582D52C2B3}"/>
              </a:ext>
            </a:extLst>
          </p:cNvPr>
          <p:cNvSpPr>
            <a:spLocks noGrp="1"/>
          </p:cNvSpPr>
          <p:nvPr>
            <p:ph type="body" sz="quarter" idx="21" hasCustomPrompt="1"/>
          </p:nvPr>
        </p:nvSpPr>
        <p:spPr>
          <a:xfrm>
            <a:off x="4103688" y="1728000"/>
            <a:ext cx="3312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7" name="Text Placeholder 11">
            <a:extLst>
              <a:ext uri="{FF2B5EF4-FFF2-40B4-BE49-F238E27FC236}">
                <a16:creationId xmlns:a16="http://schemas.microsoft.com/office/drawing/2014/main" id="{56E57DFB-3BF9-F8D5-2FD5-1FCB71A91EE0}"/>
              </a:ext>
            </a:extLst>
          </p:cNvPr>
          <p:cNvSpPr>
            <a:spLocks noGrp="1"/>
          </p:cNvSpPr>
          <p:nvPr>
            <p:ph type="body" sz="quarter" idx="30" hasCustomPrompt="1"/>
          </p:nvPr>
        </p:nvSpPr>
        <p:spPr>
          <a:xfrm>
            <a:off x="7701344" y="143986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8" name="Text Placeholder 11">
            <a:extLst>
              <a:ext uri="{FF2B5EF4-FFF2-40B4-BE49-F238E27FC236}">
                <a16:creationId xmlns:a16="http://schemas.microsoft.com/office/drawing/2014/main" id="{DB56C57E-972A-51DE-FB05-A244C8BB1659}"/>
              </a:ext>
            </a:extLst>
          </p:cNvPr>
          <p:cNvSpPr>
            <a:spLocks noGrp="1"/>
          </p:cNvSpPr>
          <p:nvPr>
            <p:ph type="body" sz="quarter" idx="39" hasCustomPrompt="1"/>
          </p:nvPr>
        </p:nvSpPr>
        <p:spPr>
          <a:xfrm>
            <a:off x="7701344" y="1728000"/>
            <a:ext cx="3240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 name="Text Placeholder 7">
            <a:extLst>
              <a:ext uri="{FF2B5EF4-FFF2-40B4-BE49-F238E27FC236}">
                <a16:creationId xmlns:a16="http://schemas.microsoft.com/office/drawing/2014/main" id="{D0492BE5-CE44-4557-340E-D6A86BA89843}"/>
              </a:ext>
            </a:extLst>
          </p:cNvPr>
          <p:cNvSpPr>
            <a:spLocks noGrp="1"/>
          </p:cNvSpPr>
          <p:nvPr>
            <p:ph type="body" sz="quarter" idx="40"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C78C13F1-FDE2-4233-8432-7B1B6206BA09}"/>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999BA313-DB91-F48D-E719-5B15CC4DF99E}"/>
              </a:ext>
            </a:extLst>
          </p:cNvPr>
          <p:cNvSpPr>
            <a:spLocks noGrp="1"/>
          </p:cNvSpPr>
          <p:nvPr>
            <p:ph type="ftr" sz="quarter" idx="41"/>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777339936"/>
      </p:ext>
    </p:extLst>
  </p:cSld>
  <p:clrMapOvr>
    <a:masterClrMapping/>
  </p:clrMapOvr>
  <p:transition>
    <p:wipe/>
  </p:transition>
  <p:extLst>
    <p:ext uri="{DCECCB84-F9BA-43D5-87BE-67443E8EF086}">
      <p15:sldGuideLst xmlns:p15="http://schemas.microsoft.com/office/powerpoint/2012/main">
        <p15:guide id="1" pos="2585">
          <p15:clr>
            <a:srgbClr val="FBAE40"/>
          </p15:clr>
        </p15:guide>
        <p15:guide id="2" pos="2404">
          <p15:clr>
            <a:srgbClr val="FBAE40"/>
          </p15:clr>
        </p15:guide>
        <p15:guide id="3" pos="4672">
          <p15:clr>
            <a:srgbClr val="FBAE40"/>
          </p15:clr>
        </p15:guide>
        <p15:guide id="4" pos="4853">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3 - 3 col, icon, title, copy">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576024" y="2540960"/>
            <a:ext cx="3240000" cy="2716841"/>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7701234" y="2540960"/>
            <a:ext cx="3240000" cy="2716841"/>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103688" y="2540960"/>
            <a:ext cx="3312000" cy="2716841"/>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576024" y="2161002"/>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105038" y="2161002"/>
            <a:ext cx="3312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7701234" y="2161002"/>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12" name="Picture Placeholder 11">
            <a:extLst>
              <a:ext uri="{FF2B5EF4-FFF2-40B4-BE49-F238E27FC236}">
                <a16:creationId xmlns:a16="http://schemas.microsoft.com/office/drawing/2014/main" id="{386714ED-43BB-0D40-B96C-475B5753D3A4}"/>
              </a:ext>
            </a:extLst>
          </p:cNvPr>
          <p:cNvSpPr>
            <a:spLocks noGrp="1"/>
          </p:cNvSpPr>
          <p:nvPr userDrawn="1">
            <p:ph type="pic" sz="quarter" idx="31" hasCustomPrompt="1"/>
          </p:nvPr>
        </p:nvSpPr>
        <p:spPr>
          <a:xfrm>
            <a:off x="1898858"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7" name="Picture Placeholder 11">
            <a:extLst>
              <a:ext uri="{FF2B5EF4-FFF2-40B4-BE49-F238E27FC236}">
                <a16:creationId xmlns:a16="http://schemas.microsoft.com/office/drawing/2014/main" id="{7E5A99AF-B30B-3647-8C74-33D7AABF7EFE}"/>
              </a:ext>
            </a:extLst>
          </p:cNvPr>
          <p:cNvSpPr>
            <a:spLocks noGrp="1"/>
          </p:cNvSpPr>
          <p:nvPr userDrawn="1">
            <p:ph type="pic" sz="quarter" idx="32" hasCustomPrompt="1"/>
          </p:nvPr>
        </p:nvSpPr>
        <p:spPr>
          <a:xfrm>
            <a:off x="5463872"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8" name="Picture Placeholder 11">
            <a:extLst>
              <a:ext uri="{FF2B5EF4-FFF2-40B4-BE49-F238E27FC236}">
                <a16:creationId xmlns:a16="http://schemas.microsoft.com/office/drawing/2014/main" id="{AEF74D7E-DBD4-9F4D-8D6E-4B797CE4D329}"/>
              </a:ext>
            </a:extLst>
          </p:cNvPr>
          <p:cNvSpPr>
            <a:spLocks noGrp="1"/>
          </p:cNvSpPr>
          <p:nvPr userDrawn="1">
            <p:ph type="pic" sz="quarter" idx="33" hasCustomPrompt="1"/>
          </p:nvPr>
        </p:nvSpPr>
        <p:spPr>
          <a:xfrm>
            <a:off x="9024068"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5" name="Slide Number Placeholder 14">
            <a:extLst>
              <a:ext uri="{FF2B5EF4-FFF2-40B4-BE49-F238E27FC236}">
                <a16:creationId xmlns:a16="http://schemas.microsoft.com/office/drawing/2014/main" id="{B376E958-07CA-9A5C-E377-2AB0ED1EAB95}"/>
              </a:ext>
            </a:extLst>
          </p:cNvPr>
          <p:cNvSpPr>
            <a:spLocks noGrp="1"/>
          </p:cNvSpPr>
          <p:nvPr>
            <p:ph type="sldNum" sz="quarter" idx="36"/>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49980318-FC10-9B36-7FBF-CF9F3D018874}"/>
              </a:ext>
            </a:extLst>
          </p:cNvPr>
          <p:cNvSpPr>
            <a:spLocks noGrp="1"/>
          </p:cNvSpPr>
          <p:nvPr>
            <p:ph type="title"/>
          </p:nvPr>
        </p:nvSpPr>
        <p:spPr/>
        <p:txBody>
          <a:bodyPr/>
          <a:lstStyle/>
          <a:p>
            <a:r>
              <a:rPr lang="en-US"/>
              <a:t>Click to edit Master title style</a:t>
            </a:r>
            <a:endParaRPr lang="en-GB"/>
          </a:p>
        </p:txBody>
      </p:sp>
      <p:sp>
        <p:nvSpPr>
          <p:cNvPr id="19" name="Text Placeholder 5">
            <a:extLst>
              <a:ext uri="{FF2B5EF4-FFF2-40B4-BE49-F238E27FC236}">
                <a16:creationId xmlns:a16="http://schemas.microsoft.com/office/drawing/2014/main" id="{220DC836-51D9-66B8-6522-4454F17B5174}"/>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C0AF17BE-32EF-D3BF-614A-78171DF5757E}"/>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0E7D97BD-5617-D23D-14A9-B661C5D4E81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354E817E-0D24-767B-A25D-C6BCF1A4C610}"/>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80278865"/>
      </p:ext>
    </p:extLst>
  </p:cSld>
  <p:clrMapOvr>
    <a:masterClrMapping/>
  </p:clrMapOvr>
  <p:transition>
    <p:wipe/>
  </p:transition>
  <p:extLst>
    <p:ext uri="{DCECCB84-F9BA-43D5-87BE-67443E8EF086}">
      <p15:sldGuideLst xmlns:p15="http://schemas.microsoft.com/office/powerpoint/2012/main">
        <p15:guide id="1" pos="2404">
          <p15:clr>
            <a:srgbClr val="FBAE40"/>
          </p15:clr>
        </p15:guide>
        <p15:guide id="2" pos="2585">
          <p15:clr>
            <a:srgbClr val="FBAE40"/>
          </p15:clr>
        </p15:guide>
        <p15:guide id="3" pos="4853">
          <p15:clr>
            <a:srgbClr val="FBAE40"/>
          </p15:clr>
        </p15:guide>
        <p15:guide id="4" pos="4672">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4 - 3 col, icon, title, subtitle, copy">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86714ED-43BB-0D40-B96C-475B5753D3A4}"/>
              </a:ext>
            </a:extLst>
          </p:cNvPr>
          <p:cNvSpPr>
            <a:spLocks noGrp="1"/>
          </p:cNvSpPr>
          <p:nvPr userDrawn="1">
            <p:ph type="pic" sz="quarter" idx="31" hasCustomPrompt="1"/>
          </p:nvPr>
        </p:nvSpPr>
        <p:spPr>
          <a:xfrm>
            <a:off x="1898858"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7" name="Picture Placeholder 11">
            <a:extLst>
              <a:ext uri="{FF2B5EF4-FFF2-40B4-BE49-F238E27FC236}">
                <a16:creationId xmlns:a16="http://schemas.microsoft.com/office/drawing/2014/main" id="{7E5A99AF-B30B-3647-8C74-33D7AABF7EFE}"/>
              </a:ext>
            </a:extLst>
          </p:cNvPr>
          <p:cNvSpPr>
            <a:spLocks noGrp="1"/>
          </p:cNvSpPr>
          <p:nvPr userDrawn="1">
            <p:ph type="pic" sz="quarter" idx="32" hasCustomPrompt="1"/>
          </p:nvPr>
        </p:nvSpPr>
        <p:spPr>
          <a:xfrm>
            <a:off x="5462522"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8" name="Picture Placeholder 11">
            <a:extLst>
              <a:ext uri="{FF2B5EF4-FFF2-40B4-BE49-F238E27FC236}">
                <a16:creationId xmlns:a16="http://schemas.microsoft.com/office/drawing/2014/main" id="{AEF74D7E-DBD4-9F4D-8D6E-4B797CE4D329}"/>
              </a:ext>
            </a:extLst>
          </p:cNvPr>
          <p:cNvSpPr>
            <a:spLocks noGrp="1"/>
          </p:cNvSpPr>
          <p:nvPr userDrawn="1">
            <p:ph type="pic" sz="quarter" idx="33" hasCustomPrompt="1"/>
          </p:nvPr>
        </p:nvSpPr>
        <p:spPr>
          <a:xfrm>
            <a:off x="9024178" y="1439863"/>
            <a:ext cx="594332" cy="594322"/>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0" name="Slide Number Placeholder 19">
            <a:extLst>
              <a:ext uri="{FF2B5EF4-FFF2-40B4-BE49-F238E27FC236}">
                <a16:creationId xmlns:a16="http://schemas.microsoft.com/office/drawing/2014/main" id="{0FE9A333-D513-5AD1-201D-99993BCD0295}"/>
              </a:ext>
            </a:extLst>
          </p:cNvPr>
          <p:cNvSpPr>
            <a:spLocks noGrp="1"/>
          </p:cNvSpPr>
          <p:nvPr>
            <p:ph type="sldNum" sz="quarter" idx="38"/>
          </p:nvPr>
        </p:nvSpPr>
        <p:spPr/>
        <p:txBody>
          <a:bodyPr/>
          <a:lstStyle/>
          <a:p>
            <a:fld id="{0F961903-03AF-4EAC-BF2C-945F8C5557D1}" type="slidenum">
              <a:rPr lang="en-GB" smtClean="0"/>
              <a:pPr/>
              <a:t>‹#›</a:t>
            </a:fld>
            <a:endParaRPr lang="en-GB" dirty="0"/>
          </a:p>
        </p:txBody>
      </p:sp>
      <p:sp>
        <p:nvSpPr>
          <p:cNvPr id="5" name="Content Placeholder 2">
            <a:extLst>
              <a:ext uri="{FF2B5EF4-FFF2-40B4-BE49-F238E27FC236}">
                <a16:creationId xmlns:a16="http://schemas.microsoft.com/office/drawing/2014/main" id="{529F89FB-79D6-57F4-0501-8217DBC87CB7}"/>
              </a:ext>
            </a:extLst>
          </p:cNvPr>
          <p:cNvSpPr>
            <a:spLocks noGrp="1"/>
          </p:cNvSpPr>
          <p:nvPr>
            <p:ph sz="quarter" idx="17"/>
          </p:nvPr>
        </p:nvSpPr>
        <p:spPr>
          <a:xfrm>
            <a:off x="576024" y="2752678"/>
            <a:ext cx="3240000" cy="2505123"/>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2">
            <a:extLst>
              <a:ext uri="{FF2B5EF4-FFF2-40B4-BE49-F238E27FC236}">
                <a16:creationId xmlns:a16="http://schemas.microsoft.com/office/drawing/2014/main" id="{5255AD6E-2CA3-E41A-79D8-CE67BEFC7FDA}"/>
              </a:ext>
            </a:extLst>
          </p:cNvPr>
          <p:cNvSpPr>
            <a:spLocks noGrp="1"/>
          </p:cNvSpPr>
          <p:nvPr>
            <p:ph sz="quarter" idx="25"/>
          </p:nvPr>
        </p:nvSpPr>
        <p:spPr>
          <a:xfrm>
            <a:off x="7701344" y="2752678"/>
            <a:ext cx="3240000" cy="2505123"/>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
            <a:extLst>
              <a:ext uri="{FF2B5EF4-FFF2-40B4-BE49-F238E27FC236}">
                <a16:creationId xmlns:a16="http://schemas.microsoft.com/office/drawing/2014/main" id="{4B1C1861-0F63-6AB1-6F53-D1660ABD8348}"/>
              </a:ext>
            </a:extLst>
          </p:cNvPr>
          <p:cNvSpPr>
            <a:spLocks noGrp="1"/>
          </p:cNvSpPr>
          <p:nvPr>
            <p:ph sz="quarter" idx="28"/>
          </p:nvPr>
        </p:nvSpPr>
        <p:spPr>
          <a:xfrm>
            <a:off x="4103688" y="2752678"/>
            <a:ext cx="3312000" cy="2505123"/>
          </a:xfrm>
          <a:prstGeom prst="rect">
            <a:avLst/>
          </a:prstGeom>
          <a:noFill/>
        </p:spPr>
        <p:txBody>
          <a:bodyPr vert="horz" lIns="0" tIns="0" rIns="0" bIns="0" rtlCol="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a:extLst>
              <a:ext uri="{FF2B5EF4-FFF2-40B4-BE49-F238E27FC236}">
                <a16:creationId xmlns:a16="http://schemas.microsoft.com/office/drawing/2014/main" id="{B942A3D4-4004-D135-C842-EF2EE81671D3}"/>
              </a:ext>
            </a:extLst>
          </p:cNvPr>
          <p:cNvSpPr>
            <a:spLocks noGrp="1"/>
          </p:cNvSpPr>
          <p:nvPr>
            <p:ph type="body" sz="quarter" idx="29" hasCustomPrompt="1"/>
          </p:nvPr>
        </p:nvSpPr>
        <p:spPr>
          <a:xfrm>
            <a:off x="576024" y="216342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4" name="Text Placeholder 11">
            <a:extLst>
              <a:ext uri="{FF2B5EF4-FFF2-40B4-BE49-F238E27FC236}">
                <a16:creationId xmlns:a16="http://schemas.microsoft.com/office/drawing/2014/main" id="{93894097-E5F1-4345-5AD0-DBDE291205DC}"/>
              </a:ext>
            </a:extLst>
          </p:cNvPr>
          <p:cNvSpPr>
            <a:spLocks noGrp="1"/>
          </p:cNvSpPr>
          <p:nvPr>
            <p:ph type="body" sz="quarter" idx="18" hasCustomPrompt="1"/>
          </p:nvPr>
        </p:nvSpPr>
        <p:spPr>
          <a:xfrm>
            <a:off x="576024" y="2458934"/>
            <a:ext cx="3240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5" name="Text Placeholder 11">
            <a:extLst>
              <a:ext uri="{FF2B5EF4-FFF2-40B4-BE49-F238E27FC236}">
                <a16:creationId xmlns:a16="http://schemas.microsoft.com/office/drawing/2014/main" id="{F49368C0-3151-DF4F-2734-531C67129ECF}"/>
              </a:ext>
            </a:extLst>
          </p:cNvPr>
          <p:cNvSpPr>
            <a:spLocks noGrp="1"/>
          </p:cNvSpPr>
          <p:nvPr>
            <p:ph type="body" sz="quarter" idx="19" hasCustomPrompt="1"/>
          </p:nvPr>
        </p:nvSpPr>
        <p:spPr>
          <a:xfrm>
            <a:off x="4103688" y="2163423"/>
            <a:ext cx="3312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6" name="Text Placeholder 11">
            <a:extLst>
              <a:ext uri="{FF2B5EF4-FFF2-40B4-BE49-F238E27FC236}">
                <a16:creationId xmlns:a16="http://schemas.microsoft.com/office/drawing/2014/main" id="{AB6BBA90-8C40-54B0-1B72-7654E65E3B3F}"/>
              </a:ext>
            </a:extLst>
          </p:cNvPr>
          <p:cNvSpPr>
            <a:spLocks noGrp="1"/>
          </p:cNvSpPr>
          <p:nvPr>
            <p:ph type="body" sz="quarter" idx="21" hasCustomPrompt="1"/>
          </p:nvPr>
        </p:nvSpPr>
        <p:spPr>
          <a:xfrm>
            <a:off x="4103688" y="2458934"/>
            <a:ext cx="3312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7" name="Text Placeholder 11">
            <a:extLst>
              <a:ext uri="{FF2B5EF4-FFF2-40B4-BE49-F238E27FC236}">
                <a16:creationId xmlns:a16="http://schemas.microsoft.com/office/drawing/2014/main" id="{DBBD6983-6C25-3530-CB80-834A306559CC}"/>
              </a:ext>
            </a:extLst>
          </p:cNvPr>
          <p:cNvSpPr>
            <a:spLocks noGrp="1"/>
          </p:cNvSpPr>
          <p:nvPr>
            <p:ph type="body" sz="quarter" idx="30" hasCustomPrompt="1"/>
          </p:nvPr>
        </p:nvSpPr>
        <p:spPr>
          <a:xfrm>
            <a:off x="7701344" y="2163423"/>
            <a:ext cx="3240000" cy="232656"/>
          </a:xfrm>
          <a:prstGeom prst="rect">
            <a:avLst/>
          </a:prstGeom>
        </p:spPr>
        <p:txBody>
          <a:bodyPr lIns="0" tIns="0" rIns="0" bIns="0" anchor="ctr" anchorCtr="0">
            <a:noAutofit/>
          </a:bodyPr>
          <a:lstStyle>
            <a:lvl1pPr marL="0" indent="0" algn="ctr">
              <a:spcBef>
                <a:spcPts val="0"/>
              </a:spcBef>
              <a:buNone/>
              <a:defRPr sz="1400" b="1" i="0" cap="all" spc="0" baseline="0">
                <a:solidFill>
                  <a:srgbClr val="00485E"/>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28" name="Text Placeholder 11">
            <a:extLst>
              <a:ext uri="{FF2B5EF4-FFF2-40B4-BE49-F238E27FC236}">
                <a16:creationId xmlns:a16="http://schemas.microsoft.com/office/drawing/2014/main" id="{03AB89F5-4B26-355B-1FAC-3D414CAD1D49}"/>
              </a:ext>
            </a:extLst>
          </p:cNvPr>
          <p:cNvSpPr>
            <a:spLocks noGrp="1"/>
          </p:cNvSpPr>
          <p:nvPr>
            <p:ph type="body" sz="quarter" idx="39" hasCustomPrompt="1"/>
          </p:nvPr>
        </p:nvSpPr>
        <p:spPr>
          <a:xfrm>
            <a:off x="7701344" y="2458934"/>
            <a:ext cx="3240000" cy="203575"/>
          </a:xfrm>
          <a:prstGeom prst="rect">
            <a:avLst/>
          </a:prstGeom>
        </p:spPr>
        <p:txBody>
          <a:bodyPr lIns="0" tIns="0" rIns="0" bIns="0" anchor="ctr" anchorCtr="0">
            <a:noAutofit/>
          </a:bodyPr>
          <a:lstStyle>
            <a:lvl1pPr marL="0" indent="0" algn="ctr">
              <a:spcBef>
                <a:spcPts val="0"/>
              </a:spcBef>
              <a:buNone/>
              <a:defRPr sz="1200" b="0" baseline="0">
                <a:solidFill>
                  <a:srgbClr val="00485E"/>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Subtitle</a:t>
            </a:r>
          </a:p>
        </p:txBody>
      </p:sp>
      <p:sp>
        <p:nvSpPr>
          <p:cNvPr id="29" name="Title 28">
            <a:extLst>
              <a:ext uri="{FF2B5EF4-FFF2-40B4-BE49-F238E27FC236}">
                <a16:creationId xmlns:a16="http://schemas.microsoft.com/office/drawing/2014/main" id="{E1BB1079-3A94-E7FD-0C0A-BEC7E0ADD37A}"/>
              </a:ext>
            </a:extLst>
          </p:cNvPr>
          <p:cNvSpPr>
            <a:spLocks noGrp="1"/>
          </p:cNvSpPr>
          <p:nvPr>
            <p:ph type="title"/>
          </p:nvPr>
        </p:nvSpPr>
        <p:spPr/>
        <p:txBody>
          <a:bodyPr/>
          <a:lstStyle/>
          <a:p>
            <a:r>
              <a:rPr lang="en-US"/>
              <a:t>Click to edit Master title style</a:t>
            </a:r>
            <a:endParaRPr lang="en-GB"/>
          </a:p>
        </p:txBody>
      </p:sp>
      <p:sp>
        <p:nvSpPr>
          <p:cNvPr id="31" name="Text Placeholder 5">
            <a:extLst>
              <a:ext uri="{FF2B5EF4-FFF2-40B4-BE49-F238E27FC236}">
                <a16:creationId xmlns:a16="http://schemas.microsoft.com/office/drawing/2014/main" id="{CF3E50E0-C3B4-1913-67D8-AC23B0CB5628}"/>
              </a:ext>
            </a:extLst>
          </p:cNvPr>
          <p:cNvSpPr>
            <a:spLocks noGrp="1"/>
          </p:cNvSpPr>
          <p:nvPr>
            <p:ph type="body" sz="quarter" idx="4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AEE2DBAF-446A-D274-3C08-507B769E804A}"/>
              </a:ext>
            </a:extLst>
          </p:cNvPr>
          <p:cNvSpPr>
            <a:spLocks noGrp="1"/>
          </p:cNvSpPr>
          <p:nvPr>
            <p:ph type="body" sz="quarter" idx="42"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1344979F-0D67-8520-6165-1A78CE8763D8}"/>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36D4D8B2-28DC-F84D-5696-B99AAE69C718}"/>
              </a:ext>
            </a:extLst>
          </p:cNvPr>
          <p:cNvSpPr>
            <a:spLocks noGrp="1"/>
          </p:cNvSpPr>
          <p:nvPr>
            <p:ph type="ftr" sz="quarter" idx="43"/>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251314003"/>
      </p:ext>
    </p:extLst>
  </p:cSld>
  <p:clrMapOvr>
    <a:masterClrMapping/>
  </p:clrMapOvr>
  <p:transition>
    <p:wipe/>
  </p:transition>
  <p:extLst>
    <p:ext uri="{DCECCB84-F9BA-43D5-87BE-67443E8EF086}">
      <p15:sldGuideLst xmlns:p15="http://schemas.microsoft.com/office/powerpoint/2012/main">
        <p15:guide id="1" pos="2585">
          <p15:clr>
            <a:srgbClr val="FBAE40"/>
          </p15:clr>
        </p15:guide>
        <p15:guide id="2" pos="2404">
          <p15:clr>
            <a:srgbClr val="FBAE40"/>
          </p15:clr>
        </p15:guide>
        <p15:guide id="3" pos="4672">
          <p15:clr>
            <a:srgbClr val="FBAE40"/>
          </p15:clr>
        </p15:guide>
        <p15:guide id="4" pos="4853">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5 - 3 rows, title, copy">
    <p:spTree>
      <p:nvGrpSpPr>
        <p:cNvPr id="1" name=""/>
        <p:cNvGrpSpPr/>
        <p:nvPr/>
      </p:nvGrpSpPr>
      <p:grpSpPr>
        <a:xfrm>
          <a:off x="0" y="0"/>
          <a:ext cx="0" cy="0"/>
          <a:chOff x="0" y="0"/>
          <a:chExt cx="0" cy="0"/>
        </a:xfrm>
      </p:grpSpPr>
      <p:sp>
        <p:nvSpPr>
          <p:cNvPr id="34" name="Text Placeholder 7">
            <a:extLst>
              <a:ext uri="{FF2B5EF4-FFF2-40B4-BE49-F238E27FC236}">
                <a16:creationId xmlns:a16="http://schemas.microsoft.com/office/drawing/2014/main" id="{38559A78-21DB-9E4D-8E8E-84767E2F65E9}"/>
              </a:ext>
            </a:extLst>
          </p:cNvPr>
          <p:cNvSpPr>
            <a:spLocks noGrp="1"/>
          </p:cNvSpPr>
          <p:nvPr>
            <p:ph type="body" sz="quarter" idx="24" hasCustomPrompt="1"/>
          </p:nvPr>
        </p:nvSpPr>
        <p:spPr>
          <a:xfrm>
            <a:off x="576025" y="1439863"/>
            <a:ext cx="2988648" cy="1260000"/>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6" name="Text Placeholder 7">
            <a:extLst>
              <a:ext uri="{FF2B5EF4-FFF2-40B4-BE49-F238E27FC236}">
                <a16:creationId xmlns:a16="http://schemas.microsoft.com/office/drawing/2014/main" id="{8CCA84D0-1605-1846-B354-9DDA9155E805}"/>
              </a:ext>
            </a:extLst>
          </p:cNvPr>
          <p:cNvSpPr>
            <a:spLocks noGrp="1"/>
          </p:cNvSpPr>
          <p:nvPr>
            <p:ph type="body" sz="quarter" idx="26" hasCustomPrompt="1"/>
          </p:nvPr>
        </p:nvSpPr>
        <p:spPr>
          <a:xfrm>
            <a:off x="576025" y="2862500"/>
            <a:ext cx="2988648" cy="1260000"/>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38" name="Text Placeholder 7">
            <a:extLst>
              <a:ext uri="{FF2B5EF4-FFF2-40B4-BE49-F238E27FC236}">
                <a16:creationId xmlns:a16="http://schemas.microsoft.com/office/drawing/2014/main" id="{2508A9E7-E47F-B546-BC99-27EF736BA725}"/>
              </a:ext>
            </a:extLst>
          </p:cNvPr>
          <p:cNvSpPr>
            <a:spLocks noGrp="1"/>
          </p:cNvSpPr>
          <p:nvPr>
            <p:ph type="body" sz="quarter" idx="28" hasCustomPrompt="1"/>
          </p:nvPr>
        </p:nvSpPr>
        <p:spPr>
          <a:xfrm>
            <a:off x="576025" y="4285138"/>
            <a:ext cx="2988648" cy="1260000"/>
          </a:xfrm>
          <a:prstGeom prst="rect">
            <a:avLst/>
          </a:prstGeom>
          <a:noFill/>
        </p:spPr>
        <p:txBody>
          <a:bodyPr lIns="182880" tIns="45720" rIns="91440" bIns="45720" anchor="ctr"/>
          <a:lstStyle>
            <a:lvl1pPr marL="0" indent="0" algn="ctr">
              <a:spcBef>
                <a:spcPts val="0"/>
              </a:spcBef>
              <a:buNone/>
              <a:defRPr sz="1323" b="1" i="0" spc="0">
                <a:solidFill>
                  <a:schemeClr val="accent1"/>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8" name="Slide Number Placeholder 7">
            <a:extLst>
              <a:ext uri="{FF2B5EF4-FFF2-40B4-BE49-F238E27FC236}">
                <a16:creationId xmlns:a16="http://schemas.microsoft.com/office/drawing/2014/main" id="{576EE40C-D0A4-35D1-F00D-F6A3090A5A47}"/>
              </a:ext>
            </a:extLst>
          </p:cNvPr>
          <p:cNvSpPr>
            <a:spLocks noGrp="1"/>
          </p:cNvSpPr>
          <p:nvPr>
            <p:ph type="sldNum" sz="quarter" idx="31"/>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12172418-D3A2-BCD8-B5B5-D9230CE11D3C}"/>
              </a:ext>
            </a:extLst>
          </p:cNvPr>
          <p:cNvSpPr>
            <a:spLocks noGrp="1"/>
          </p:cNvSpPr>
          <p:nvPr>
            <p:ph type="title"/>
          </p:nvPr>
        </p:nvSpPr>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085E13F3-4C2B-23A9-7251-F9F49C67B526}"/>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1" name="Content Placeholder 2">
            <a:extLst>
              <a:ext uri="{FF2B5EF4-FFF2-40B4-BE49-F238E27FC236}">
                <a16:creationId xmlns:a16="http://schemas.microsoft.com/office/drawing/2014/main" id="{74BE1D50-3A96-223A-830F-D3960D09FEC8}"/>
              </a:ext>
            </a:extLst>
          </p:cNvPr>
          <p:cNvSpPr>
            <a:spLocks noGrp="1"/>
          </p:cNvSpPr>
          <p:nvPr>
            <p:ph sz="quarter" idx="17"/>
          </p:nvPr>
        </p:nvSpPr>
        <p:spPr>
          <a:xfrm>
            <a:off x="3851275" y="1439863"/>
            <a:ext cx="7092950" cy="1260000"/>
          </a:xfrm>
          <a:prstGeom prst="rect">
            <a:avLst/>
          </a:prstGeom>
          <a:noFill/>
        </p:spPr>
        <p:txBody>
          <a:bodyPr vert="horz" lIns="0" tIns="0" rIns="0" bIns="0" rtlCol="0" anchor="ctr" anchorCtr="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721A50B8-BA7C-1432-C9FA-57C1ACC5AC85}"/>
              </a:ext>
            </a:extLst>
          </p:cNvPr>
          <p:cNvSpPr>
            <a:spLocks noGrp="1"/>
          </p:cNvSpPr>
          <p:nvPr>
            <p:ph sz="quarter" idx="39"/>
          </p:nvPr>
        </p:nvSpPr>
        <p:spPr>
          <a:xfrm>
            <a:off x="3851275" y="2862500"/>
            <a:ext cx="7092950" cy="1260000"/>
          </a:xfrm>
          <a:prstGeom prst="rect">
            <a:avLst/>
          </a:prstGeom>
          <a:noFill/>
        </p:spPr>
        <p:txBody>
          <a:bodyPr vert="horz" lIns="0" tIns="0" rIns="0" bIns="0" rtlCol="0" anchor="ctr" anchorCtr="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025D0017-020D-6D7B-54B9-418448D3E1A5}"/>
              </a:ext>
            </a:extLst>
          </p:cNvPr>
          <p:cNvSpPr>
            <a:spLocks noGrp="1"/>
          </p:cNvSpPr>
          <p:nvPr>
            <p:ph sz="quarter" idx="40"/>
          </p:nvPr>
        </p:nvSpPr>
        <p:spPr>
          <a:xfrm>
            <a:off x="3851275" y="4285138"/>
            <a:ext cx="7092950" cy="1260000"/>
          </a:xfrm>
          <a:prstGeom prst="rect">
            <a:avLst/>
          </a:prstGeom>
          <a:noFill/>
        </p:spPr>
        <p:txBody>
          <a:bodyPr vert="horz" lIns="0" tIns="0" rIns="0" bIns="0" rtlCol="0" anchor="ctr" anchorCtr="0">
            <a:noAutofit/>
          </a:bodyPr>
          <a:lstStyle>
            <a:lvl1pPr>
              <a:defRPr lang="en-US" sz="1134" dirty="0" smtClean="0">
                <a:solidFill>
                  <a:srgbClr val="00485E"/>
                </a:solidFill>
                <a:latin typeface="Avenir Next LT Pro" panose="020B0504020202020204" pitchFamily="34" charset="77"/>
              </a:defRPr>
            </a:lvl1pPr>
            <a:lvl2pPr>
              <a:defRPr lang="en-US" sz="1134" dirty="0" smtClean="0">
                <a:solidFill>
                  <a:schemeClr val="tx2"/>
                </a:solidFill>
                <a:latin typeface="Avenir Next LT Pro" panose="020B0504020202020204" pitchFamily="34" charset="77"/>
              </a:defRPr>
            </a:lvl2pPr>
            <a:lvl3pPr>
              <a:defRPr lang="en-US" sz="1134" dirty="0" smtClean="0">
                <a:solidFill>
                  <a:schemeClr val="tx2"/>
                </a:solidFill>
                <a:latin typeface="Avenir Next LT Pro" panose="020B0504020202020204" pitchFamily="34" charset="77"/>
              </a:defRPr>
            </a:lvl3pPr>
            <a:lvl4pPr>
              <a:defRPr lang="en-US" sz="1134" dirty="0" smtClean="0">
                <a:solidFill>
                  <a:schemeClr val="tx2"/>
                </a:solidFill>
                <a:latin typeface="Avenir Next LT Pro" panose="020B0504020202020204" pitchFamily="34" charset="77"/>
              </a:defRPr>
            </a:lvl4pPr>
            <a:lvl5pPr>
              <a:defRPr lang="en-US" sz="1134" dirty="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 Placeholder 7">
            <a:extLst>
              <a:ext uri="{FF2B5EF4-FFF2-40B4-BE49-F238E27FC236}">
                <a16:creationId xmlns:a16="http://schemas.microsoft.com/office/drawing/2014/main" id="{08E0B84A-251A-DF1D-3602-7DC4AC06B68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241669DE-6514-CFB5-79EA-D7711906D194}"/>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425E9797-6310-BD30-D46F-3E71E7A7FDEC}"/>
              </a:ext>
            </a:extLst>
          </p:cNvPr>
          <p:cNvSpPr>
            <a:spLocks noGrp="1"/>
          </p:cNvSpPr>
          <p:nvPr>
            <p:ph type="ftr" sz="quarter" idx="41"/>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863040221"/>
      </p:ext>
    </p:extLst>
  </p:cSld>
  <p:clrMapOvr>
    <a:masterClrMapping/>
  </p:clrMapOvr>
  <p:transition>
    <p:wipe/>
  </p:transition>
  <p:extLst>
    <p:ext uri="{DCECCB84-F9BA-43D5-87BE-67443E8EF086}">
      <p15:sldGuideLst xmlns:p15="http://schemas.microsoft.com/office/powerpoint/2012/main">
        <p15:guide id="1" pos="2245">
          <p15:clr>
            <a:srgbClr val="FBAE40"/>
          </p15:clr>
        </p15:guide>
        <p15:guide id="2" pos="2426">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6 - 4 rows, icon, title, copy">
    <p:spTree>
      <p:nvGrpSpPr>
        <p:cNvPr id="1" name=""/>
        <p:cNvGrpSpPr/>
        <p:nvPr/>
      </p:nvGrpSpPr>
      <p:grpSpPr>
        <a:xfrm>
          <a:off x="0" y="0"/>
          <a:ext cx="0" cy="0"/>
          <a:chOff x="0" y="0"/>
          <a:chExt cx="0" cy="0"/>
        </a:xfrm>
      </p:grpSpPr>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576025" y="1439863"/>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576025" y="2520288"/>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576025" y="3600713"/>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6" name="Picture Placeholder 11">
            <a:extLst>
              <a:ext uri="{FF2B5EF4-FFF2-40B4-BE49-F238E27FC236}">
                <a16:creationId xmlns:a16="http://schemas.microsoft.com/office/drawing/2014/main" id="{A02EA3FD-A346-5248-80C3-1881EC898622}"/>
              </a:ext>
            </a:extLst>
          </p:cNvPr>
          <p:cNvSpPr>
            <a:spLocks noGrp="1"/>
          </p:cNvSpPr>
          <p:nvPr>
            <p:ph type="pic" sz="quarter" idx="34" hasCustomPrompt="1"/>
          </p:nvPr>
        </p:nvSpPr>
        <p:spPr>
          <a:xfrm>
            <a:off x="576025" y="4681138"/>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10" name="Text Placeholder 9">
            <a:extLst>
              <a:ext uri="{FF2B5EF4-FFF2-40B4-BE49-F238E27FC236}">
                <a16:creationId xmlns:a16="http://schemas.microsoft.com/office/drawing/2014/main" id="{7FF375CB-AE8C-2E49-9F05-67F1774A89BE}"/>
              </a:ext>
            </a:extLst>
          </p:cNvPr>
          <p:cNvSpPr>
            <a:spLocks noGrp="1"/>
          </p:cNvSpPr>
          <p:nvPr>
            <p:ph type="body" sz="quarter" idx="35" hasCustomPrompt="1"/>
          </p:nvPr>
        </p:nvSpPr>
        <p:spPr>
          <a:xfrm>
            <a:off x="1440000" y="1446038"/>
            <a:ext cx="1872000" cy="864000"/>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7" name="Text Placeholder 9">
            <a:extLst>
              <a:ext uri="{FF2B5EF4-FFF2-40B4-BE49-F238E27FC236}">
                <a16:creationId xmlns:a16="http://schemas.microsoft.com/office/drawing/2014/main" id="{A3E2DBF1-C7D3-5941-8DB4-FA9E100E94E9}"/>
              </a:ext>
            </a:extLst>
          </p:cNvPr>
          <p:cNvSpPr>
            <a:spLocks noGrp="1"/>
          </p:cNvSpPr>
          <p:nvPr>
            <p:ph type="body" sz="quarter" idx="36" hasCustomPrompt="1"/>
          </p:nvPr>
        </p:nvSpPr>
        <p:spPr>
          <a:xfrm>
            <a:off x="1440000" y="2520288"/>
            <a:ext cx="1872000" cy="864000"/>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8" name="Text Placeholder 9">
            <a:extLst>
              <a:ext uri="{FF2B5EF4-FFF2-40B4-BE49-F238E27FC236}">
                <a16:creationId xmlns:a16="http://schemas.microsoft.com/office/drawing/2014/main" id="{D9A3204F-500C-524E-8639-7C789A6F4DD9}"/>
              </a:ext>
            </a:extLst>
          </p:cNvPr>
          <p:cNvSpPr>
            <a:spLocks noGrp="1"/>
          </p:cNvSpPr>
          <p:nvPr>
            <p:ph type="body" sz="quarter" idx="37" hasCustomPrompt="1"/>
          </p:nvPr>
        </p:nvSpPr>
        <p:spPr>
          <a:xfrm>
            <a:off x="1440000" y="3600713"/>
            <a:ext cx="1872000" cy="864000"/>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29" name="Text Placeholder 9">
            <a:extLst>
              <a:ext uri="{FF2B5EF4-FFF2-40B4-BE49-F238E27FC236}">
                <a16:creationId xmlns:a16="http://schemas.microsoft.com/office/drawing/2014/main" id="{9106A030-854A-6E48-823B-3DC7EDD30E11}"/>
              </a:ext>
            </a:extLst>
          </p:cNvPr>
          <p:cNvSpPr>
            <a:spLocks noGrp="1"/>
          </p:cNvSpPr>
          <p:nvPr>
            <p:ph type="body" sz="quarter" idx="38" hasCustomPrompt="1"/>
          </p:nvPr>
        </p:nvSpPr>
        <p:spPr>
          <a:xfrm>
            <a:off x="1440000" y="4681138"/>
            <a:ext cx="1872000" cy="864000"/>
          </a:xfrm>
          <a:prstGeom prst="rect">
            <a:avLst/>
          </a:prstGeom>
        </p:spPr>
        <p:txBody>
          <a:bodyPr rIns="0" anchor="ctr" anchorCtr="0"/>
          <a:lstStyle>
            <a:lvl1pPr marL="0" indent="0" algn="ctr">
              <a:buFont typeface="Arial" panose="020B0604020202020204" pitchFamily="34" charset="0"/>
              <a:buNone/>
              <a:defRPr sz="1134" b="1" i="0" spc="0">
                <a:solidFill>
                  <a:schemeClr val="accent1"/>
                </a:solidFill>
                <a:latin typeface="Avenir Next LT Pro" panose="020B0504020202020204" pitchFamily="34" charset="77"/>
                <a:cs typeface="Arial Black" panose="020B0604020202020204" pitchFamily="34" charset="0"/>
              </a:defRPr>
            </a:lvl1pPr>
            <a:lvl2pPr marL="160504" indent="0" algn="ctr">
              <a:buFont typeface="Arial" panose="020B0604020202020204" pitchFamily="34" charset="0"/>
              <a:buNone/>
              <a:defRPr b="1" spc="283">
                <a:solidFill>
                  <a:schemeClr val="accent1"/>
                </a:solidFill>
              </a:defRPr>
            </a:lvl2pPr>
            <a:lvl3pPr marL="325506" indent="0" algn="ctr">
              <a:buFont typeface="Arial" panose="020B0604020202020204" pitchFamily="34" charset="0"/>
              <a:buNone/>
              <a:defRPr b="1" spc="283">
                <a:solidFill>
                  <a:schemeClr val="accent1"/>
                </a:solidFill>
              </a:defRPr>
            </a:lvl3pPr>
            <a:lvl4pPr marL="486009" indent="0" algn="ctr">
              <a:buFont typeface="Arial" panose="020B0604020202020204" pitchFamily="34" charset="0"/>
              <a:buNone/>
              <a:defRPr b="1" spc="283">
                <a:solidFill>
                  <a:schemeClr val="accent1"/>
                </a:solidFill>
              </a:defRPr>
            </a:lvl4pPr>
            <a:lvl5pPr marL="651012" indent="0" algn="ctr">
              <a:buFont typeface="Arial" panose="020B0604020202020204" pitchFamily="34" charset="0"/>
              <a:buNone/>
              <a:defRPr b="1" spc="283">
                <a:solidFill>
                  <a:schemeClr val="accent1"/>
                </a:solidFill>
              </a:defRPr>
            </a:lvl5pPr>
          </a:lstStyle>
          <a:p>
            <a:pPr lvl="0"/>
            <a:r>
              <a:rPr lang="en-US" dirty="0"/>
              <a:t>CLICK TO EDIT</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3420000" y="1446039"/>
            <a:ext cx="7524000" cy="864000"/>
          </a:xfrm>
          <a:prstGeom prst="rect">
            <a:avLst/>
          </a:prstGeom>
        </p:spPr>
        <p:txBody>
          <a:bodyPr anchor="ctr" anchorCtr="0"/>
          <a:lstStyle>
            <a:lvl1pPr>
              <a:spcAft>
                <a:spcPts val="300"/>
              </a:spcAft>
              <a:defRPr sz="1200">
                <a:solidFill>
                  <a:srgbClr val="00485E"/>
                </a:solidFill>
                <a:latin typeface="Avenir Next LT Pro" panose="020B0504020202020204" pitchFamily="34" charset="77"/>
              </a:defRPr>
            </a:lvl1pPr>
            <a:lvl2pPr>
              <a:spcAft>
                <a:spcPts val="300"/>
              </a:spcAft>
              <a:defRPr sz="1200">
                <a:solidFill>
                  <a:schemeClr val="tx2"/>
                </a:solidFill>
                <a:latin typeface="Avenir Next LT Pro" panose="020B0504020202020204" pitchFamily="34" charset="77"/>
              </a:defRPr>
            </a:lvl2pPr>
            <a:lvl3pPr>
              <a:spcAft>
                <a:spcPts val="300"/>
              </a:spcAft>
              <a:defRPr sz="1200">
                <a:solidFill>
                  <a:schemeClr val="tx2"/>
                </a:solidFill>
                <a:latin typeface="Avenir Next LT Pro" panose="020B0504020202020204" pitchFamily="34" charset="77"/>
              </a:defRPr>
            </a:lvl3pPr>
            <a:lvl4pPr>
              <a:spcAft>
                <a:spcPts val="300"/>
              </a:spcAf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3420000" y="2520288"/>
            <a:ext cx="7524000" cy="864000"/>
          </a:xfrm>
          <a:prstGeom prst="rect">
            <a:avLst/>
          </a:prstGeom>
        </p:spPr>
        <p:txBody>
          <a:bodyPr anchor="ctr" anchorCtr="0"/>
          <a:lstStyle>
            <a:lvl1pPr>
              <a:spcAft>
                <a:spcPts val="300"/>
              </a:spcAft>
              <a:defRPr sz="1200">
                <a:solidFill>
                  <a:srgbClr val="00485E"/>
                </a:solidFill>
                <a:latin typeface="Avenir Next LT Pro" panose="020B0504020202020204" pitchFamily="34" charset="77"/>
              </a:defRPr>
            </a:lvl1pPr>
            <a:lvl2pPr>
              <a:spcAft>
                <a:spcPts val="300"/>
              </a:spcAft>
              <a:defRPr sz="1200">
                <a:solidFill>
                  <a:schemeClr val="tx2"/>
                </a:solidFill>
                <a:latin typeface="Avenir Next LT Pro" panose="020B0504020202020204" pitchFamily="34" charset="77"/>
              </a:defRPr>
            </a:lvl2pPr>
            <a:lvl3pPr>
              <a:spcAft>
                <a:spcPts val="300"/>
              </a:spcAft>
              <a:defRPr sz="1200">
                <a:solidFill>
                  <a:schemeClr val="tx2"/>
                </a:solidFill>
                <a:latin typeface="Avenir Next LT Pro" panose="020B0504020202020204" pitchFamily="34" charset="77"/>
              </a:defRPr>
            </a:lvl3pPr>
            <a:lvl4pPr>
              <a:spcAft>
                <a:spcPts val="300"/>
              </a:spcAf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3420000" y="3600713"/>
            <a:ext cx="7524000" cy="864000"/>
          </a:xfrm>
          <a:prstGeom prst="rect">
            <a:avLst/>
          </a:prstGeom>
        </p:spPr>
        <p:txBody>
          <a:bodyPr anchor="ctr" anchorCtr="0"/>
          <a:lstStyle>
            <a:lvl1pPr>
              <a:spcAft>
                <a:spcPts val="300"/>
              </a:spcAft>
              <a:defRPr sz="1200">
                <a:solidFill>
                  <a:srgbClr val="00485E"/>
                </a:solidFill>
                <a:latin typeface="Avenir Next LT Pro" panose="020B0504020202020204" pitchFamily="34" charset="77"/>
              </a:defRPr>
            </a:lvl1pPr>
            <a:lvl2pPr>
              <a:spcAft>
                <a:spcPts val="300"/>
              </a:spcAft>
              <a:defRPr sz="1200">
                <a:solidFill>
                  <a:schemeClr val="tx2"/>
                </a:solidFill>
                <a:latin typeface="Avenir Next LT Pro" panose="020B0504020202020204" pitchFamily="34" charset="77"/>
              </a:defRPr>
            </a:lvl2pPr>
            <a:lvl3pPr>
              <a:spcAft>
                <a:spcPts val="300"/>
              </a:spcAft>
              <a:defRPr sz="1200">
                <a:solidFill>
                  <a:schemeClr val="tx2"/>
                </a:solidFill>
                <a:latin typeface="Avenir Next LT Pro" panose="020B0504020202020204" pitchFamily="34" charset="77"/>
              </a:defRPr>
            </a:lvl3pPr>
            <a:lvl4pPr>
              <a:spcAft>
                <a:spcPts val="300"/>
              </a:spcAf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29">
            <a:extLst>
              <a:ext uri="{FF2B5EF4-FFF2-40B4-BE49-F238E27FC236}">
                <a16:creationId xmlns:a16="http://schemas.microsoft.com/office/drawing/2014/main" id="{82E73EAA-B451-2349-BE06-C3B6A1AD052D}"/>
              </a:ext>
            </a:extLst>
          </p:cNvPr>
          <p:cNvSpPr>
            <a:spLocks noGrp="1"/>
          </p:cNvSpPr>
          <p:nvPr>
            <p:ph type="body" sz="quarter" idx="42"/>
          </p:nvPr>
        </p:nvSpPr>
        <p:spPr>
          <a:xfrm>
            <a:off x="3420000" y="4681138"/>
            <a:ext cx="7524000" cy="864000"/>
          </a:xfrm>
          <a:prstGeom prst="rect">
            <a:avLst/>
          </a:prstGeom>
        </p:spPr>
        <p:txBody>
          <a:bodyPr anchor="ctr" anchorCtr="0"/>
          <a:lstStyle>
            <a:lvl1pPr>
              <a:spcAft>
                <a:spcPts val="300"/>
              </a:spcAft>
              <a:defRPr sz="1200">
                <a:solidFill>
                  <a:srgbClr val="00485E"/>
                </a:solidFill>
                <a:latin typeface="Avenir Next LT Pro" panose="020B0504020202020204" pitchFamily="34" charset="77"/>
              </a:defRPr>
            </a:lvl1pPr>
            <a:lvl2pPr>
              <a:spcAft>
                <a:spcPts val="300"/>
              </a:spcAft>
              <a:defRPr sz="1200">
                <a:solidFill>
                  <a:schemeClr val="tx2"/>
                </a:solidFill>
                <a:latin typeface="Avenir Next LT Pro" panose="020B0504020202020204" pitchFamily="34" charset="77"/>
              </a:defRPr>
            </a:lvl2pPr>
            <a:lvl3pPr>
              <a:spcAft>
                <a:spcPts val="300"/>
              </a:spcAft>
              <a:defRPr sz="1200">
                <a:solidFill>
                  <a:schemeClr val="tx2"/>
                </a:solidFill>
                <a:latin typeface="Avenir Next LT Pro" panose="020B0504020202020204" pitchFamily="34" charset="77"/>
              </a:defRPr>
            </a:lvl3pPr>
            <a:lvl4pPr>
              <a:spcAft>
                <a:spcPts val="300"/>
              </a:spcAf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Slide Number Placeholder 7">
            <a:extLst>
              <a:ext uri="{FF2B5EF4-FFF2-40B4-BE49-F238E27FC236}">
                <a16:creationId xmlns:a16="http://schemas.microsoft.com/office/drawing/2014/main" id="{BDDBC427-09C0-6B5D-37FB-285E7A50CF4E}"/>
              </a:ext>
            </a:extLst>
          </p:cNvPr>
          <p:cNvSpPr>
            <a:spLocks noGrp="1"/>
          </p:cNvSpPr>
          <p:nvPr>
            <p:ph type="sldNum" sz="quarter" idx="44"/>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4E80DE9C-FFB7-1C3A-1259-98CAD3CC57C6}"/>
              </a:ext>
            </a:extLst>
          </p:cNvPr>
          <p:cNvSpPr>
            <a:spLocks noGrp="1"/>
          </p:cNvSpPr>
          <p:nvPr>
            <p:ph type="title"/>
          </p:nvPr>
        </p:nvSpPr>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65B26700-0BB7-7CB6-93B4-E3899F1C2621}"/>
              </a:ext>
            </a:extLst>
          </p:cNvPr>
          <p:cNvSpPr>
            <a:spLocks noGrp="1"/>
          </p:cNvSpPr>
          <p:nvPr>
            <p:ph type="body" sz="quarter" idx="4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554F4B06-0D45-D480-8938-05184BBB740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11E5DB8B-6449-050F-90A4-CE8E9398C78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9AEE774A-86AB-B00D-3F77-854D0F720D41}"/>
              </a:ext>
            </a:extLst>
          </p:cNvPr>
          <p:cNvSpPr>
            <a:spLocks noGrp="1"/>
          </p:cNvSpPr>
          <p:nvPr>
            <p:ph type="ftr" sz="quarter" idx="47"/>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44236981"/>
      </p:ext>
    </p:extLst>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057BE26-A567-6629-941B-191FA607321C}"/>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0ABADC7-2EF8-C50D-1BD9-3D671C3365FE}"/>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22CF8809-F5AD-1C2F-5B01-866A9F2D2048}"/>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9E22E14C-14D2-9B4E-B29F-02D244813FCD}"/>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3300BBA-30F2-8487-8DDD-9BD763BAE0C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860609030"/>
      </p:ext>
    </p:extLst>
  </p:cSld>
  <p:clrMapOvr>
    <a:masterClrMapping/>
  </p:clrMapOvr>
  <p:extLst>
    <p:ext uri="{DCECCB84-F9BA-43D5-87BE-67443E8EF086}">
      <p15:sldGuideLst xmlns:p15="http://schemas.microsoft.com/office/powerpoint/2012/main">
        <p15:guide id="1" orient="horz" pos="2245" userDrawn="1">
          <p15:clr>
            <a:srgbClr val="FBAE40"/>
          </p15:clr>
        </p15:guide>
        <p15:guide id="2" orient="horz" pos="2154"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7 - 2 col, 3 rows, icon, copy">
    <p:spTree>
      <p:nvGrpSpPr>
        <p:cNvPr id="1" name=""/>
        <p:cNvGrpSpPr/>
        <p:nvPr/>
      </p:nvGrpSpPr>
      <p:grpSpPr>
        <a:xfrm>
          <a:off x="0" y="0"/>
          <a:ext cx="0" cy="0"/>
          <a:chOff x="0" y="0"/>
          <a:chExt cx="0" cy="0"/>
        </a:xfrm>
      </p:grpSpPr>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576262" y="1440447"/>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576262" y="2880500"/>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576262" y="4321138"/>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440000" y="1439863"/>
            <a:ext cx="4176575"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440000" y="2880500"/>
            <a:ext cx="4176575"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440000" y="4321138"/>
            <a:ext cx="4176575"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5903912" y="1440447"/>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5903912" y="2880500"/>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5903912" y="4321138"/>
            <a:ext cx="720000" cy="720000"/>
          </a:xfrm>
          <a:prstGeom prst="rect">
            <a:avLst/>
          </a:prstGeom>
        </p:spPr>
        <p:txBody>
          <a:bodyPr anchor="ctr" anchorCtr="0"/>
          <a:lstStyle>
            <a:lvl1pPr marL="0" indent="0" algn="ctr">
              <a:buNone/>
              <a:defRPr sz="1039">
                <a:latin typeface="Avenir Next LT Pro" panose="020B0504020202020204" pitchFamily="34" charset="77"/>
              </a:defRPr>
            </a:lvl1pPr>
          </a:lstStyle>
          <a:p>
            <a:r>
              <a:rPr lang="en-US" dirty="0"/>
              <a:t>ICON</a:t>
            </a:r>
          </a:p>
        </p:txBody>
      </p:sp>
      <p:sp>
        <p:nvSpPr>
          <p:cNvPr id="43" name="Text Placeholder 29">
            <a:extLst>
              <a:ext uri="{FF2B5EF4-FFF2-40B4-BE49-F238E27FC236}">
                <a16:creationId xmlns:a16="http://schemas.microsoft.com/office/drawing/2014/main" id="{5D6F3C4E-4633-C546-A4C6-F4DFEF42E422}"/>
              </a:ext>
            </a:extLst>
          </p:cNvPr>
          <p:cNvSpPr>
            <a:spLocks noGrp="1"/>
          </p:cNvSpPr>
          <p:nvPr>
            <p:ph type="body" sz="quarter" idx="45"/>
          </p:nvPr>
        </p:nvSpPr>
        <p:spPr>
          <a:xfrm>
            <a:off x="6768225" y="1439863"/>
            <a:ext cx="4176000"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4" name="Text Placeholder 29">
            <a:extLst>
              <a:ext uri="{FF2B5EF4-FFF2-40B4-BE49-F238E27FC236}">
                <a16:creationId xmlns:a16="http://schemas.microsoft.com/office/drawing/2014/main" id="{16B754E6-731D-8245-995B-D502456C1927}"/>
              </a:ext>
            </a:extLst>
          </p:cNvPr>
          <p:cNvSpPr>
            <a:spLocks noGrp="1"/>
          </p:cNvSpPr>
          <p:nvPr>
            <p:ph type="body" sz="quarter" idx="46"/>
          </p:nvPr>
        </p:nvSpPr>
        <p:spPr>
          <a:xfrm>
            <a:off x="6768225" y="2880500"/>
            <a:ext cx="4176000"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45" name="Text Placeholder 29">
            <a:extLst>
              <a:ext uri="{FF2B5EF4-FFF2-40B4-BE49-F238E27FC236}">
                <a16:creationId xmlns:a16="http://schemas.microsoft.com/office/drawing/2014/main" id="{62C6C0CA-DCFA-C94B-B5B9-7AF32B564E61}"/>
              </a:ext>
            </a:extLst>
          </p:cNvPr>
          <p:cNvSpPr>
            <a:spLocks noGrp="1"/>
          </p:cNvSpPr>
          <p:nvPr>
            <p:ph type="body" sz="quarter" idx="47"/>
          </p:nvPr>
        </p:nvSpPr>
        <p:spPr>
          <a:xfrm>
            <a:off x="6768225" y="4321138"/>
            <a:ext cx="4176000" cy="1224000"/>
          </a:xfrm>
          <a:prstGeom prst="rect">
            <a:avLst/>
          </a:prstGeom>
        </p:spPr>
        <p:txBody>
          <a:bodyPr anchor="t" anchorCtr="0"/>
          <a:lstStyle>
            <a:lvl1pPr>
              <a:defRPr sz="1200">
                <a:solidFill>
                  <a:srgbClr val="00485E"/>
                </a:solidFill>
                <a:latin typeface="Avenir Next LT Pro" panose="020B0504020202020204" pitchFamily="34" charset="77"/>
              </a:defRPr>
            </a:lvl1pPr>
            <a:lvl2pPr>
              <a:defRPr sz="1200">
                <a:solidFill>
                  <a:schemeClr val="tx2"/>
                </a:solidFill>
                <a:latin typeface="Avenir Next LT Pro" panose="020B0504020202020204" pitchFamily="34" charset="77"/>
              </a:defRPr>
            </a:lvl2pPr>
            <a:lvl3pPr>
              <a:defRPr sz="1200">
                <a:solidFill>
                  <a:schemeClr val="tx2"/>
                </a:solidFill>
                <a:latin typeface="Avenir Next LT Pro" panose="020B0504020202020204" pitchFamily="34" charset="77"/>
              </a:defRPr>
            </a:lvl3pPr>
          </a:lstStyle>
          <a:p>
            <a:pPr lvl="0"/>
            <a:r>
              <a:rPr lang="en-US" dirty="0"/>
              <a:t>Click to edit Master text styles</a:t>
            </a:r>
          </a:p>
          <a:p>
            <a:pPr lvl="1"/>
            <a:r>
              <a:rPr lang="en-US" dirty="0"/>
              <a:t>Second level</a:t>
            </a:r>
          </a:p>
          <a:p>
            <a:pPr lvl="2"/>
            <a:r>
              <a:rPr lang="en-US" dirty="0"/>
              <a:t>Third level</a:t>
            </a:r>
          </a:p>
        </p:txBody>
      </p:sp>
      <p:sp>
        <p:nvSpPr>
          <p:cNvPr id="8" name="Slide Number Placeholder 7">
            <a:extLst>
              <a:ext uri="{FF2B5EF4-FFF2-40B4-BE49-F238E27FC236}">
                <a16:creationId xmlns:a16="http://schemas.microsoft.com/office/drawing/2014/main" id="{19F322A4-9BC4-5EFA-54D7-05AB9282A638}"/>
              </a:ext>
            </a:extLst>
          </p:cNvPr>
          <p:cNvSpPr>
            <a:spLocks noGrp="1"/>
          </p:cNvSpPr>
          <p:nvPr>
            <p:ph type="sldNum" sz="quarter" idx="49"/>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AA722491-D996-E22F-B682-B9DDCEF181D9}"/>
              </a:ext>
            </a:extLst>
          </p:cNvPr>
          <p:cNvSpPr>
            <a:spLocks noGrp="1"/>
          </p:cNvSpPr>
          <p:nvPr>
            <p:ph type="title"/>
          </p:nvPr>
        </p:nvSpPr>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A0AC0D53-A14F-2C2A-CF01-3DAC8816E1FA}"/>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2688C48F-7183-658B-0E20-EDAC720B15E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2DC5A737-1EF0-7CA4-077C-ED233143053F}"/>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83157BCE-8806-B4D2-BC3F-25514C3DC87D}"/>
              </a:ext>
            </a:extLst>
          </p:cNvPr>
          <p:cNvSpPr>
            <a:spLocks noGrp="1"/>
          </p:cNvSpPr>
          <p:nvPr>
            <p:ph type="ftr" sz="quarter" idx="5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902142937"/>
      </p:ext>
    </p:extLst>
  </p:cSld>
  <p:clrMapOvr>
    <a:masterClrMapping/>
  </p:clrMapOvr>
  <p:transition>
    <p:wipe/>
  </p:transition>
  <p:extLst>
    <p:ext uri="{DCECCB84-F9BA-43D5-87BE-67443E8EF086}">
      <p15:sldGuideLst xmlns:p15="http://schemas.microsoft.com/office/powerpoint/2012/main">
        <p15:guide id="1" pos="3538">
          <p15:clr>
            <a:srgbClr val="FBAE40"/>
          </p15:clr>
        </p15:guide>
        <p15:guide id="2" pos="3719">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8 - center photo, 2 col, 3 rows copy">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BC3BE42E-1A0C-5B41-BE40-2B5CC1C0D003}"/>
              </a:ext>
            </a:extLst>
          </p:cNvPr>
          <p:cNvSpPr>
            <a:spLocks noGrp="1"/>
          </p:cNvSpPr>
          <p:nvPr>
            <p:ph type="pic" sz="quarter" idx="17"/>
          </p:nvPr>
        </p:nvSpPr>
        <p:spPr>
          <a:xfrm>
            <a:off x="2988000" y="1727200"/>
            <a:ext cx="5544000" cy="3816000"/>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10" name="Slide Number Placeholder 9">
            <a:extLst>
              <a:ext uri="{FF2B5EF4-FFF2-40B4-BE49-F238E27FC236}">
                <a16:creationId xmlns:a16="http://schemas.microsoft.com/office/drawing/2014/main" id="{6AFA7B83-6A55-E3F3-5ECE-011E797EC0B8}"/>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186EC48F-A794-C37C-8AE1-18DADEE8484D}"/>
              </a:ext>
            </a:extLst>
          </p:cNvPr>
          <p:cNvSpPr>
            <a:spLocks noGrp="1"/>
          </p:cNvSpPr>
          <p:nvPr>
            <p:ph type="title"/>
          </p:nvPr>
        </p:nvSpPr>
        <p:spPr/>
        <p:txBody>
          <a:bodyPr/>
          <a:lstStyle/>
          <a:p>
            <a:r>
              <a:rPr lang="en-US"/>
              <a:t>Click to edit Master title style</a:t>
            </a:r>
            <a:endParaRPr lang="en-GB"/>
          </a:p>
        </p:txBody>
      </p:sp>
      <p:sp>
        <p:nvSpPr>
          <p:cNvPr id="12" name="Text Placeholder 5">
            <a:extLst>
              <a:ext uri="{FF2B5EF4-FFF2-40B4-BE49-F238E27FC236}">
                <a16:creationId xmlns:a16="http://schemas.microsoft.com/office/drawing/2014/main" id="{CCBB7FC7-BCFB-2612-63A8-C0ECDF9DFC9C}"/>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4" name="Text Placeholder 13">
            <a:extLst>
              <a:ext uri="{FF2B5EF4-FFF2-40B4-BE49-F238E27FC236}">
                <a16:creationId xmlns:a16="http://schemas.microsoft.com/office/drawing/2014/main" id="{B8FE39AD-3A4F-5A04-232E-6E6DA59BEB0A}"/>
              </a:ext>
            </a:extLst>
          </p:cNvPr>
          <p:cNvSpPr>
            <a:spLocks noGrp="1"/>
          </p:cNvSpPr>
          <p:nvPr>
            <p:ph type="body" sz="quarter" idx="39" hasCustomPrompt="1"/>
          </p:nvPr>
        </p:nvSpPr>
        <p:spPr>
          <a:xfrm>
            <a:off x="576263" y="1727200"/>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15" name="Text Placeholder 13">
            <a:extLst>
              <a:ext uri="{FF2B5EF4-FFF2-40B4-BE49-F238E27FC236}">
                <a16:creationId xmlns:a16="http://schemas.microsoft.com/office/drawing/2014/main" id="{895BC720-77C5-1667-0344-BE07185B6DA4}"/>
              </a:ext>
            </a:extLst>
          </p:cNvPr>
          <p:cNvSpPr>
            <a:spLocks noGrp="1"/>
          </p:cNvSpPr>
          <p:nvPr>
            <p:ph type="body" sz="quarter" idx="40" hasCustomPrompt="1"/>
          </p:nvPr>
        </p:nvSpPr>
        <p:spPr>
          <a:xfrm>
            <a:off x="8820150" y="1727200"/>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16" name="Text Placeholder 13">
            <a:extLst>
              <a:ext uri="{FF2B5EF4-FFF2-40B4-BE49-F238E27FC236}">
                <a16:creationId xmlns:a16="http://schemas.microsoft.com/office/drawing/2014/main" id="{F634A4AA-916A-0143-3C9C-974AB289808A}"/>
              </a:ext>
            </a:extLst>
          </p:cNvPr>
          <p:cNvSpPr>
            <a:spLocks noGrp="1"/>
          </p:cNvSpPr>
          <p:nvPr>
            <p:ph type="body" sz="quarter" idx="41" hasCustomPrompt="1"/>
          </p:nvPr>
        </p:nvSpPr>
        <p:spPr>
          <a:xfrm>
            <a:off x="576263" y="3096169"/>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17" name="Text Placeholder 13">
            <a:extLst>
              <a:ext uri="{FF2B5EF4-FFF2-40B4-BE49-F238E27FC236}">
                <a16:creationId xmlns:a16="http://schemas.microsoft.com/office/drawing/2014/main" id="{A0C185E9-DC5A-4E9D-6111-130B512306A7}"/>
              </a:ext>
            </a:extLst>
          </p:cNvPr>
          <p:cNvSpPr>
            <a:spLocks noGrp="1"/>
          </p:cNvSpPr>
          <p:nvPr>
            <p:ph type="body" sz="quarter" idx="42" hasCustomPrompt="1"/>
          </p:nvPr>
        </p:nvSpPr>
        <p:spPr>
          <a:xfrm>
            <a:off x="8820150" y="3096169"/>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18" name="Text Placeholder 13">
            <a:extLst>
              <a:ext uri="{FF2B5EF4-FFF2-40B4-BE49-F238E27FC236}">
                <a16:creationId xmlns:a16="http://schemas.microsoft.com/office/drawing/2014/main" id="{F2E3267D-6E11-A696-EE06-534F2C48B608}"/>
              </a:ext>
            </a:extLst>
          </p:cNvPr>
          <p:cNvSpPr>
            <a:spLocks noGrp="1"/>
          </p:cNvSpPr>
          <p:nvPr>
            <p:ph type="body" sz="quarter" idx="43" hasCustomPrompt="1"/>
          </p:nvPr>
        </p:nvSpPr>
        <p:spPr>
          <a:xfrm>
            <a:off x="576263" y="4465138"/>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19" name="Text Placeholder 13">
            <a:extLst>
              <a:ext uri="{FF2B5EF4-FFF2-40B4-BE49-F238E27FC236}">
                <a16:creationId xmlns:a16="http://schemas.microsoft.com/office/drawing/2014/main" id="{B2BF04A0-C7ED-5C15-0A1F-1B5B55504F1E}"/>
              </a:ext>
            </a:extLst>
          </p:cNvPr>
          <p:cNvSpPr>
            <a:spLocks noGrp="1"/>
          </p:cNvSpPr>
          <p:nvPr>
            <p:ph type="body" sz="quarter" idx="44" hasCustomPrompt="1"/>
          </p:nvPr>
        </p:nvSpPr>
        <p:spPr>
          <a:xfrm>
            <a:off x="8820150" y="4465138"/>
            <a:ext cx="2124075" cy="1080000"/>
          </a:xfrm>
        </p:spPr>
        <p:txBody>
          <a:bodyPr/>
          <a:lstStyle>
            <a:lvl1pPr>
              <a:spcAft>
                <a:spcPts val="300"/>
              </a:spcAft>
              <a:defRPr sz="1200"/>
            </a:lvl1pPr>
            <a:lvl2pPr>
              <a:spcAft>
                <a:spcPts val="300"/>
              </a:spcAft>
              <a:defRPr sz="1200"/>
            </a:lvl2pPr>
            <a:lvl3pPr>
              <a:spcAft>
                <a:spcPts val="300"/>
              </a:spcAft>
              <a:defRPr sz="1200"/>
            </a:lvl3pPr>
          </a:lstStyle>
          <a:p>
            <a:pPr lvl="0"/>
            <a:r>
              <a:rPr lang="en-US" dirty="0"/>
              <a:t>Subhead</a:t>
            </a:r>
          </a:p>
          <a:p>
            <a:pPr lvl="1"/>
            <a:r>
              <a:rPr lang="en-US" dirty="0"/>
              <a:t>Second level</a:t>
            </a:r>
          </a:p>
          <a:p>
            <a:pPr lvl="2"/>
            <a:r>
              <a:rPr lang="en-US" dirty="0"/>
              <a:t>Third level</a:t>
            </a:r>
          </a:p>
        </p:txBody>
      </p:sp>
      <p:sp>
        <p:nvSpPr>
          <p:cNvPr id="2" name="Text Placeholder 7">
            <a:extLst>
              <a:ext uri="{FF2B5EF4-FFF2-40B4-BE49-F238E27FC236}">
                <a16:creationId xmlns:a16="http://schemas.microsoft.com/office/drawing/2014/main" id="{0DE59F02-6DEC-FA49-6685-BD52DFC9DFA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18B37C3D-7A8E-5C0C-25E3-39DC4C089481}"/>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D0EECFC0-8A60-B9F3-CBB7-C28B6A77711F}"/>
              </a:ext>
            </a:extLst>
          </p:cNvPr>
          <p:cNvSpPr>
            <a:spLocks noGrp="1"/>
          </p:cNvSpPr>
          <p:nvPr>
            <p:ph type="ftr" sz="quarter" idx="45"/>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97675285"/>
      </p:ext>
    </p:extLst>
  </p:cSld>
  <p:clrMapOvr>
    <a:masterClrMapping/>
  </p:clrMapOvr>
  <p:transition>
    <p:wipe/>
  </p:transition>
  <p:extLst>
    <p:ext uri="{DCECCB84-F9BA-43D5-87BE-67443E8EF086}">
      <p15:sldGuideLst xmlns:p15="http://schemas.microsoft.com/office/powerpoint/2012/main">
        <p15:guide id="1" pos="1882">
          <p15:clr>
            <a:srgbClr val="FBAE40"/>
          </p15:clr>
        </p15:guide>
        <p15:guide id="2" pos="1701">
          <p15:clr>
            <a:srgbClr val="FBAE40"/>
          </p15:clr>
        </p15:guide>
        <p15:guide id="3" pos="5375">
          <p15:clr>
            <a:srgbClr val="FBAE40"/>
          </p15:clr>
        </p15:guide>
        <p15:guide id="4" pos="5556">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9 - copy, photo, callout">
    <p:spTree>
      <p:nvGrpSpPr>
        <p:cNvPr id="1" name=""/>
        <p:cNvGrpSpPr/>
        <p:nvPr/>
      </p:nvGrpSpPr>
      <p:grpSpPr>
        <a:xfrm>
          <a:off x="0" y="0"/>
          <a:ext cx="0" cy="0"/>
          <a:chOff x="0" y="0"/>
          <a:chExt cx="0" cy="0"/>
        </a:xfrm>
      </p:grpSpPr>
      <p:sp>
        <p:nvSpPr>
          <p:cNvPr id="48" name="Text Placeholder 8">
            <a:extLst>
              <a:ext uri="{FF2B5EF4-FFF2-40B4-BE49-F238E27FC236}">
                <a16:creationId xmlns:a16="http://schemas.microsoft.com/office/drawing/2014/main" id="{79760EA5-F131-264A-B29B-BF37CC236CDE}"/>
              </a:ext>
            </a:extLst>
          </p:cNvPr>
          <p:cNvSpPr>
            <a:spLocks noGrp="1"/>
          </p:cNvSpPr>
          <p:nvPr>
            <p:ph type="body" sz="quarter" idx="21"/>
          </p:nvPr>
        </p:nvSpPr>
        <p:spPr>
          <a:xfrm>
            <a:off x="8532000" y="1727200"/>
            <a:ext cx="2412000" cy="3817938"/>
          </a:xfrm>
          <a:prstGeom prst="rect">
            <a:avLst/>
          </a:prstGeom>
          <a:solidFill>
            <a:srgbClr val="00243D"/>
          </a:solidFill>
        </p:spPr>
        <p:txBody>
          <a:bodyPr lIns="108000" tIns="108000" rIns="108000"/>
          <a:lstStyle>
            <a:lvl1pPr>
              <a:spcAft>
                <a:spcPts val="300"/>
              </a:spcAft>
              <a:buClr>
                <a:schemeClr val="bg1"/>
              </a:buClr>
              <a:defRPr sz="1200">
                <a:solidFill>
                  <a:schemeClr val="bg1"/>
                </a:solidFill>
                <a:latin typeface="Avenir Next LT Pro" panose="020B0504020202020204" pitchFamily="34" charset="77"/>
              </a:defRPr>
            </a:lvl1pPr>
            <a:lvl2pPr>
              <a:spcAft>
                <a:spcPts val="300"/>
              </a:spcAft>
              <a:buClr>
                <a:schemeClr val="bg1"/>
              </a:buClr>
              <a:defRPr sz="1200">
                <a:solidFill>
                  <a:schemeClr val="bg1"/>
                </a:solidFill>
                <a:latin typeface="Avenir Next LT Pro" panose="020B0504020202020204" pitchFamily="34" charset="77"/>
              </a:defRPr>
            </a:lvl2pPr>
            <a:lvl3pPr>
              <a:spcAft>
                <a:spcPts val="300"/>
              </a:spcAft>
              <a:defRPr sz="1200">
                <a:solidFill>
                  <a:schemeClr val="bg2"/>
                </a:solidFill>
              </a:defRPr>
            </a:lvl3pPr>
            <a:lvl4pPr>
              <a:spcAft>
                <a:spcPts val="300"/>
              </a:spcAft>
              <a:buClrTx/>
              <a:defRPr sz="1200">
                <a:solidFill>
                  <a:schemeClr val="bg2"/>
                </a:solidFill>
              </a:defRPr>
            </a:lvl4pPr>
            <a:lvl5pPr>
              <a:spcAft>
                <a:spcPts val="300"/>
              </a:spcAft>
              <a:buClrTx/>
              <a:defRPr sz="12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6519F4AA-361A-7746-B676-A37C0808ECF0}"/>
              </a:ext>
            </a:extLst>
          </p:cNvPr>
          <p:cNvSpPr>
            <a:spLocks noGrp="1"/>
          </p:cNvSpPr>
          <p:nvPr>
            <p:ph type="body" sz="quarter" idx="22"/>
          </p:nvPr>
        </p:nvSpPr>
        <p:spPr>
          <a:xfrm>
            <a:off x="576024" y="1727200"/>
            <a:ext cx="2124000" cy="3816000"/>
          </a:xfrm>
          <a:prstGeom prst="rect">
            <a:avLst/>
          </a:prstGeom>
        </p:spPr>
        <p:txBody>
          <a:bodyPr/>
          <a:lstStyle>
            <a:lvl1pPr>
              <a:spcAft>
                <a:spcPts val="300"/>
              </a:spcAft>
              <a:defRPr sz="1200">
                <a:solidFill>
                  <a:srgbClr val="00485E"/>
                </a:solidFill>
                <a:latin typeface="Avenir Next LT Pro" panose="020B0504020202020204" pitchFamily="34" charset="77"/>
              </a:defRPr>
            </a:lvl1pPr>
            <a:lvl2pPr>
              <a:spcAft>
                <a:spcPts val="300"/>
              </a:spcAft>
              <a:defRPr sz="1200">
                <a:solidFill>
                  <a:schemeClr val="tx2"/>
                </a:solidFill>
                <a:latin typeface="Avenir Next LT Pro" panose="020B0504020202020204" pitchFamily="34" charset="77"/>
              </a:defRPr>
            </a:lvl2pPr>
            <a:lvl3pPr>
              <a:spcAft>
                <a:spcPts val="300"/>
              </a:spcAft>
              <a:defRPr sz="1200">
                <a:solidFill>
                  <a:schemeClr val="tx2"/>
                </a:solidFill>
                <a:latin typeface="Avenir Next LT Pro" panose="020B0504020202020204" pitchFamily="34" charset="77"/>
              </a:defRPr>
            </a:lvl3pPr>
            <a:lvl4pPr>
              <a:spcAft>
                <a:spcPts val="300"/>
              </a:spcAft>
              <a:defRPr sz="1200">
                <a:solidFill>
                  <a:schemeClr val="tx2"/>
                </a:solidFill>
                <a:latin typeface="Avenir Next LT Pro" panose="020B0504020202020204" pitchFamily="34" charset="77"/>
              </a:defRPr>
            </a:lvl4pPr>
            <a:lvl5pPr>
              <a:spcAft>
                <a:spcPts val="300"/>
              </a:spcAft>
              <a:defRPr sz="1200">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CA656A2A-8793-90EB-CAD4-5F5D5810A8A6}"/>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11" name="Text Placeholder 5">
            <a:extLst>
              <a:ext uri="{FF2B5EF4-FFF2-40B4-BE49-F238E27FC236}">
                <a16:creationId xmlns:a16="http://schemas.microsoft.com/office/drawing/2014/main" id="{37D19BA0-3E80-F72A-CD11-EFBB5B2585B5}"/>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2" name="Title 11">
            <a:extLst>
              <a:ext uri="{FF2B5EF4-FFF2-40B4-BE49-F238E27FC236}">
                <a16:creationId xmlns:a16="http://schemas.microsoft.com/office/drawing/2014/main" id="{315AB20A-BC80-9D43-6A1E-2F707CEB461C}"/>
              </a:ext>
            </a:extLst>
          </p:cNvPr>
          <p:cNvSpPr>
            <a:spLocks noGrp="1"/>
          </p:cNvSpPr>
          <p:nvPr>
            <p:ph type="title"/>
          </p:nvPr>
        </p:nvSpPr>
        <p:spPr/>
        <p:txBody>
          <a:bodyPr/>
          <a:lstStyle/>
          <a:p>
            <a:r>
              <a:rPr lang="en-US"/>
              <a:t>Click to edit Master title style</a:t>
            </a:r>
            <a:endParaRPr lang="en-GB"/>
          </a:p>
        </p:txBody>
      </p:sp>
      <p:sp>
        <p:nvSpPr>
          <p:cNvPr id="13" name="Picture Placeholder 5">
            <a:extLst>
              <a:ext uri="{FF2B5EF4-FFF2-40B4-BE49-F238E27FC236}">
                <a16:creationId xmlns:a16="http://schemas.microsoft.com/office/drawing/2014/main" id="{8CE1918F-74DD-5C6B-DE93-EF3D402A0F23}"/>
              </a:ext>
            </a:extLst>
          </p:cNvPr>
          <p:cNvSpPr>
            <a:spLocks noGrp="1"/>
          </p:cNvSpPr>
          <p:nvPr>
            <p:ph type="pic" sz="quarter" idx="17"/>
          </p:nvPr>
        </p:nvSpPr>
        <p:spPr>
          <a:xfrm>
            <a:off x="2988000" y="1727200"/>
            <a:ext cx="5544000" cy="3816000"/>
          </a:xfrm>
          <a:prstGeom prst="rect">
            <a:avLst/>
          </a:prstGeom>
          <a:solidFill>
            <a:srgbClr val="808183"/>
          </a:solidFill>
        </p:spPr>
        <p:txBody>
          <a:bodyPr/>
          <a:lstStyle>
            <a:lvl1pPr>
              <a:defRPr>
                <a:latin typeface="Avenir Next LT Pro" panose="020B0504020202020204" pitchFamily="34" charset="77"/>
              </a:defRPr>
            </a:lvl1pPr>
          </a:lstStyle>
          <a:p>
            <a:endParaRPr lang="en-US"/>
          </a:p>
        </p:txBody>
      </p:sp>
      <p:sp>
        <p:nvSpPr>
          <p:cNvPr id="2" name="Text Placeholder 7">
            <a:extLst>
              <a:ext uri="{FF2B5EF4-FFF2-40B4-BE49-F238E27FC236}">
                <a16:creationId xmlns:a16="http://schemas.microsoft.com/office/drawing/2014/main" id="{79A67745-0CA5-006A-51CE-EEA46FB7352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E42F150D-5DEE-0F48-6954-39FB4BC29CDC}"/>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C3B42CC6-B094-C43B-9E44-E02A89B14750}"/>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571377856"/>
      </p:ext>
    </p:extLst>
  </p:cSld>
  <p:clrMapOvr>
    <a:masterClrMapping/>
  </p:clrMapOvr>
  <p:transition>
    <p:wipe/>
  </p:transition>
  <p:extLst>
    <p:ext uri="{DCECCB84-F9BA-43D5-87BE-67443E8EF086}">
      <p15:sldGuideLst xmlns:p15="http://schemas.microsoft.com/office/powerpoint/2012/main">
        <p15:guide id="1" pos="1701">
          <p15:clr>
            <a:srgbClr val="FBAE40"/>
          </p15:clr>
        </p15:guide>
        <p15:guide id="2" pos="1882">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0 - Callout #, subhead, copy, source lin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20070C1-0A85-A54E-A0DD-C664C5B08F17}"/>
              </a:ext>
            </a:extLst>
          </p:cNvPr>
          <p:cNvSpPr>
            <a:spLocks noGrp="1"/>
          </p:cNvSpPr>
          <p:nvPr>
            <p:ph type="body" sz="quarter" idx="19" hasCustomPrompt="1"/>
          </p:nvPr>
        </p:nvSpPr>
        <p:spPr>
          <a:xfrm>
            <a:off x="576024" y="1587433"/>
            <a:ext cx="7638084" cy="2981300"/>
          </a:xfrm>
          <a:prstGeom prst="rect">
            <a:avLst/>
          </a:prstGeom>
        </p:spPr>
        <p:txBody>
          <a:bodyPr rIns="0"/>
          <a:lstStyle>
            <a:lvl1pPr marL="0" indent="0">
              <a:buNone/>
              <a:defRPr sz="22678">
                <a:solidFill>
                  <a:srgbClr val="FF6120"/>
                </a:solidFill>
                <a:latin typeface="Impact" panose="020B080603090205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000%</a:t>
            </a:r>
          </a:p>
        </p:txBody>
      </p:sp>
      <p:sp>
        <p:nvSpPr>
          <p:cNvPr id="17" name="Text Placeholder 4">
            <a:extLst>
              <a:ext uri="{FF2B5EF4-FFF2-40B4-BE49-F238E27FC236}">
                <a16:creationId xmlns:a16="http://schemas.microsoft.com/office/drawing/2014/main" id="{BAE6FE8F-5F0B-E941-9CA2-88A1A68E3EA0}"/>
              </a:ext>
            </a:extLst>
          </p:cNvPr>
          <p:cNvSpPr>
            <a:spLocks noGrp="1"/>
          </p:cNvSpPr>
          <p:nvPr>
            <p:ph type="body" sz="quarter" idx="10" hasCustomPrompt="1"/>
          </p:nvPr>
        </p:nvSpPr>
        <p:spPr>
          <a:xfrm>
            <a:off x="8421955" y="2398174"/>
            <a:ext cx="2522508" cy="281170"/>
          </a:xfrm>
          <a:prstGeom prst="rect">
            <a:avLst/>
          </a:prstGeom>
        </p:spPr>
        <p:txBody>
          <a:bodyPr lIns="0"/>
          <a:lstStyle>
            <a:lvl1pPr marL="0" indent="0">
              <a:buNone/>
              <a:defRPr sz="1323" b="1" i="0" cap="all" spc="0" baseline="0">
                <a:solidFill>
                  <a:srgbClr val="00485E"/>
                </a:solidFill>
                <a:latin typeface="Avenir Next LT Pro" panose="020B0504020202020204" pitchFamily="34" charset="77"/>
                <a:cs typeface="Arial Black" panose="020B0604020202020204" pitchFamily="34" charset="0"/>
              </a:defRPr>
            </a:lvl1pPr>
            <a:lvl2pPr marL="160504" indent="0">
              <a:buNone/>
              <a:defRPr/>
            </a:lvl2pPr>
            <a:lvl3pPr marL="325506" indent="0">
              <a:buNone/>
              <a:defRPr/>
            </a:lvl3pPr>
            <a:lvl4pPr marL="486009" indent="0">
              <a:buNone/>
              <a:defRPr/>
            </a:lvl4pPr>
            <a:lvl5pPr marL="651012" indent="0">
              <a:buNone/>
              <a:defRPr/>
            </a:lvl5pPr>
          </a:lstStyle>
          <a:p>
            <a:pPr lvl="0"/>
            <a:r>
              <a:rPr lang="en-US" dirty="0"/>
              <a:t>SUBHEAD</a:t>
            </a:r>
          </a:p>
        </p:txBody>
      </p:sp>
      <p:sp>
        <p:nvSpPr>
          <p:cNvPr id="12" name="Text Placeholder 11">
            <a:extLst>
              <a:ext uri="{FF2B5EF4-FFF2-40B4-BE49-F238E27FC236}">
                <a16:creationId xmlns:a16="http://schemas.microsoft.com/office/drawing/2014/main" id="{BEA8FDD8-B937-2C45-B4D9-33803DB535F4}"/>
              </a:ext>
            </a:extLst>
          </p:cNvPr>
          <p:cNvSpPr>
            <a:spLocks noGrp="1"/>
          </p:cNvSpPr>
          <p:nvPr>
            <p:ph type="body" sz="quarter" idx="20"/>
          </p:nvPr>
        </p:nvSpPr>
        <p:spPr>
          <a:xfrm>
            <a:off x="8421357" y="2783686"/>
            <a:ext cx="2523107" cy="1785048"/>
          </a:xfrm>
          <a:prstGeom prst="rect">
            <a:avLst/>
          </a:prstGeom>
        </p:spPr>
        <p:txBody>
          <a:bodyPr lIns="0"/>
          <a:lstStyle>
            <a:lvl1pPr marL="0" indent="0">
              <a:buNone/>
              <a:defRPr b="0">
                <a:solidFill>
                  <a:schemeClr val="tx2"/>
                </a:solidFill>
                <a:latin typeface="Avenir Next LT Pro" panose="020B0504020202020204" pitchFamily="34" charset="77"/>
              </a:defRPr>
            </a:lvl1pPr>
            <a:lvl2pPr marL="160504" indent="0">
              <a:buNone/>
              <a:defRPr/>
            </a:lvl2pPr>
            <a:lvl3pPr marL="325506" indent="0">
              <a:buNone/>
              <a:defRPr/>
            </a:lvl3pPr>
            <a:lvl4pPr marL="486009" indent="0">
              <a:buNone/>
              <a:defRPr/>
            </a:lvl4pPr>
            <a:lvl5pPr marL="651012" indent="0">
              <a:buNone/>
              <a:defRPr/>
            </a:lvl5pPr>
          </a:lstStyle>
          <a:p>
            <a:pPr lvl="0"/>
            <a:r>
              <a:rPr lang="en-US" dirty="0"/>
              <a:t>Click to edit Master text styles</a:t>
            </a:r>
          </a:p>
        </p:txBody>
      </p:sp>
      <p:sp>
        <p:nvSpPr>
          <p:cNvPr id="7" name="Slide Number Placeholder 6">
            <a:extLst>
              <a:ext uri="{FF2B5EF4-FFF2-40B4-BE49-F238E27FC236}">
                <a16:creationId xmlns:a16="http://schemas.microsoft.com/office/drawing/2014/main" id="{28A2ED10-C468-CF1B-0FD1-FDBC44AF8ACB}"/>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9" name="Text Placeholder 5">
            <a:extLst>
              <a:ext uri="{FF2B5EF4-FFF2-40B4-BE49-F238E27FC236}">
                <a16:creationId xmlns:a16="http://schemas.microsoft.com/office/drawing/2014/main" id="{91FB1110-2D3E-0F31-B177-F9D55E88CED9}"/>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41057E79-F3C0-7562-892A-E8361EAC6E05}"/>
              </a:ext>
            </a:extLst>
          </p:cNvPr>
          <p:cNvSpPr>
            <a:spLocks noGrp="1"/>
          </p:cNvSpPr>
          <p:nvPr>
            <p:ph type="title"/>
          </p:nvPr>
        </p:nvSpPr>
        <p:spPr/>
        <p:txBody>
          <a:bodyPr/>
          <a:lstStyle/>
          <a:p>
            <a:r>
              <a:rPr lang="en-US"/>
              <a:t>Click to edit Master title style</a:t>
            </a:r>
            <a:endParaRPr lang="en-GB"/>
          </a:p>
        </p:txBody>
      </p:sp>
      <p:sp>
        <p:nvSpPr>
          <p:cNvPr id="5" name="Text Placeholder 7">
            <a:extLst>
              <a:ext uri="{FF2B5EF4-FFF2-40B4-BE49-F238E27FC236}">
                <a16:creationId xmlns:a16="http://schemas.microsoft.com/office/drawing/2014/main" id="{2CCAEDC5-AA58-F8CD-19AB-7B1DAF2A499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6" name="Source">
            <a:extLst>
              <a:ext uri="{FF2B5EF4-FFF2-40B4-BE49-F238E27FC236}">
                <a16:creationId xmlns:a16="http://schemas.microsoft.com/office/drawing/2014/main" id="{0A09403E-E3C2-C728-1471-58BE8E61B1CB}"/>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2" name="Footer Placeholder 1">
            <a:extLst>
              <a:ext uri="{FF2B5EF4-FFF2-40B4-BE49-F238E27FC236}">
                <a16:creationId xmlns:a16="http://schemas.microsoft.com/office/drawing/2014/main" id="{34B8A573-DF20-FE2F-7D97-9FEE3D9D30D7}"/>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4170656588"/>
      </p:ext>
    </p:extLst>
  </p:cSld>
  <p:clrMapOvr>
    <a:masterClrMapping/>
  </p:clrMapOvr>
  <p:transition>
    <p:wip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4 - 3 rows, title, subtitle, callout #s">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4059AF93-8BCE-084D-8715-66A98760E961}"/>
              </a:ext>
            </a:extLst>
          </p:cNvPr>
          <p:cNvSpPr>
            <a:spLocks noGrp="1"/>
          </p:cNvSpPr>
          <p:nvPr>
            <p:ph type="body" sz="quarter" idx="24" hasCustomPrompt="1"/>
          </p:nvPr>
        </p:nvSpPr>
        <p:spPr>
          <a:xfrm>
            <a:off x="576263" y="1708008"/>
            <a:ext cx="3240000" cy="622305"/>
          </a:xfrm>
          <a:prstGeom prst="rect">
            <a:avLst/>
          </a:prstGeom>
          <a:noFill/>
        </p:spPr>
        <p:txBody>
          <a:bodyPr lIns="0" tIns="0" rIns="0" bIns="0" anchor="t"/>
          <a:lstStyle>
            <a:lvl1pPr marL="0" indent="0">
              <a:spcBef>
                <a:spcPts val="0"/>
              </a:spcBef>
              <a:buNone/>
              <a:defRPr sz="1400" b="1" i="0" spc="0">
                <a:solidFill>
                  <a:srgbClr val="00485E"/>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4" name="Text Placeholder 7">
            <a:extLst>
              <a:ext uri="{FF2B5EF4-FFF2-40B4-BE49-F238E27FC236}">
                <a16:creationId xmlns:a16="http://schemas.microsoft.com/office/drawing/2014/main" id="{469AFCFE-19D3-204E-A080-9856C776D35C}"/>
              </a:ext>
            </a:extLst>
          </p:cNvPr>
          <p:cNvSpPr>
            <a:spLocks noGrp="1"/>
          </p:cNvSpPr>
          <p:nvPr>
            <p:ph type="body" sz="quarter" idx="26" hasCustomPrompt="1"/>
          </p:nvPr>
        </p:nvSpPr>
        <p:spPr>
          <a:xfrm>
            <a:off x="576263" y="2922240"/>
            <a:ext cx="3240000" cy="622305"/>
          </a:xfrm>
          <a:prstGeom prst="rect">
            <a:avLst/>
          </a:prstGeom>
          <a:noFill/>
        </p:spPr>
        <p:txBody>
          <a:bodyPr lIns="0" tIns="0" rIns="0" bIns="0" anchor="t"/>
          <a:lstStyle>
            <a:lvl1pPr marL="0" indent="0">
              <a:spcBef>
                <a:spcPts val="0"/>
              </a:spcBef>
              <a:buNone/>
              <a:defRPr sz="1400" b="1" i="0" spc="0">
                <a:solidFill>
                  <a:srgbClr val="2D9BAD"/>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5" name="Text Placeholder 7">
            <a:extLst>
              <a:ext uri="{FF2B5EF4-FFF2-40B4-BE49-F238E27FC236}">
                <a16:creationId xmlns:a16="http://schemas.microsoft.com/office/drawing/2014/main" id="{20F06885-BB58-284B-93F1-AAF59769A943}"/>
              </a:ext>
            </a:extLst>
          </p:cNvPr>
          <p:cNvSpPr>
            <a:spLocks noGrp="1"/>
          </p:cNvSpPr>
          <p:nvPr>
            <p:ph type="body" sz="quarter" idx="28" hasCustomPrompt="1"/>
          </p:nvPr>
        </p:nvSpPr>
        <p:spPr>
          <a:xfrm>
            <a:off x="576263" y="4122943"/>
            <a:ext cx="3240000" cy="622305"/>
          </a:xfrm>
          <a:prstGeom prst="rect">
            <a:avLst/>
          </a:prstGeom>
          <a:noFill/>
        </p:spPr>
        <p:txBody>
          <a:bodyPr lIns="0" tIns="0" rIns="0" bIns="0" anchor="t"/>
          <a:lstStyle>
            <a:lvl1pPr marL="0" indent="0">
              <a:spcBef>
                <a:spcPts val="0"/>
              </a:spcBef>
              <a:buNone/>
              <a:defRPr sz="1323" b="1" i="0" spc="0">
                <a:solidFill>
                  <a:srgbClr val="FF6120"/>
                </a:solidFill>
                <a:latin typeface="Avenir Next LT Pro" panose="020B0504020202020204" pitchFamily="34" charset="77"/>
                <a:cs typeface="Arial Black" panose="020B0604020202020204" pitchFamily="34" charset="0"/>
              </a:defRPr>
            </a:lvl1pPr>
          </a:lstStyle>
          <a:p>
            <a:pPr lvl="0"/>
            <a:r>
              <a:rPr lang="en-US" dirty="0"/>
              <a:t>TITLE </a:t>
            </a:r>
            <a:br>
              <a:rPr lang="en-US" dirty="0"/>
            </a:br>
            <a:r>
              <a:rPr lang="en-US" dirty="0"/>
              <a:t>HEADER</a:t>
            </a:r>
          </a:p>
        </p:txBody>
      </p:sp>
      <p:sp>
        <p:nvSpPr>
          <p:cNvPr id="16" name="Text Placeholder 7">
            <a:extLst>
              <a:ext uri="{FF2B5EF4-FFF2-40B4-BE49-F238E27FC236}">
                <a16:creationId xmlns:a16="http://schemas.microsoft.com/office/drawing/2014/main" id="{93F43F55-8F2C-0747-BECB-41CB83298203}"/>
              </a:ext>
            </a:extLst>
          </p:cNvPr>
          <p:cNvSpPr>
            <a:spLocks noGrp="1"/>
          </p:cNvSpPr>
          <p:nvPr>
            <p:ph type="body" sz="quarter" idx="29" hasCustomPrompt="1"/>
          </p:nvPr>
        </p:nvSpPr>
        <p:spPr>
          <a:xfrm>
            <a:off x="576263" y="2330313"/>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itle</a:t>
            </a:r>
          </a:p>
        </p:txBody>
      </p:sp>
      <p:sp>
        <p:nvSpPr>
          <p:cNvPr id="17" name="Text Placeholder 7">
            <a:extLst>
              <a:ext uri="{FF2B5EF4-FFF2-40B4-BE49-F238E27FC236}">
                <a16:creationId xmlns:a16="http://schemas.microsoft.com/office/drawing/2014/main" id="{B38C6718-BCFF-2243-876B-3BBA3D0DE238}"/>
              </a:ext>
            </a:extLst>
          </p:cNvPr>
          <p:cNvSpPr>
            <a:spLocks noGrp="1"/>
          </p:cNvSpPr>
          <p:nvPr>
            <p:ph type="body" sz="quarter" idx="30" hasCustomPrompt="1"/>
          </p:nvPr>
        </p:nvSpPr>
        <p:spPr>
          <a:xfrm>
            <a:off x="576263" y="3544545"/>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itle</a:t>
            </a:r>
          </a:p>
        </p:txBody>
      </p:sp>
      <p:sp>
        <p:nvSpPr>
          <p:cNvPr id="18" name="Text Placeholder 7">
            <a:extLst>
              <a:ext uri="{FF2B5EF4-FFF2-40B4-BE49-F238E27FC236}">
                <a16:creationId xmlns:a16="http://schemas.microsoft.com/office/drawing/2014/main" id="{5BCBBEE0-FB51-AA4D-8767-E10F00180ED4}"/>
              </a:ext>
            </a:extLst>
          </p:cNvPr>
          <p:cNvSpPr>
            <a:spLocks noGrp="1"/>
          </p:cNvSpPr>
          <p:nvPr>
            <p:ph type="body" sz="quarter" idx="31" hasCustomPrompt="1"/>
          </p:nvPr>
        </p:nvSpPr>
        <p:spPr>
          <a:xfrm>
            <a:off x="576263" y="4745247"/>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itle</a:t>
            </a:r>
          </a:p>
        </p:txBody>
      </p:sp>
      <p:sp>
        <p:nvSpPr>
          <p:cNvPr id="21" name="Text Placeholder 7">
            <a:extLst>
              <a:ext uri="{FF2B5EF4-FFF2-40B4-BE49-F238E27FC236}">
                <a16:creationId xmlns:a16="http://schemas.microsoft.com/office/drawing/2014/main" id="{3CCF564A-AAA8-2045-B62D-DDADEA55A9F6}"/>
              </a:ext>
            </a:extLst>
          </p:cNvPr>
          <p:cNvSpPr>
            <a:spLocks noGrp="1"/>
          </p:cNvSpPr>
          <p:nvPr userDrawn="1">
            <p:ph type="body" sz="quarter" idx="32" hasCustomPrompt="1"/>
          </p:nvPr>
        </p:nvSpPr>
        <p:spPr>
          <a:xfrm>
            <a:off x="4104000" y="1708008"/>
            <a:ext cx="3312000" cy="622305"/>
          </a:xfrm>
          <a:prstGeom prst="rect">
            <a:avLst/>
          </a:prstGeom>
          <a:noFill/>
        </p:spPr>
        <p:txBody>
          <a:bodyPr lIns="0" tIns="0" rIns="0" bIns="0" anchor="t"/>
          <a:lstStyle>
            <a:lvl1pPr marL="0" indent="0">
              <a:buNone/>
              <a:defRPr sz="3780" b="1">
                <a:solidFill>
                  <a:srgbClr val="00485E"/>
                </a:solidFill>
                <a:latin typeface="+mn-lt"/>
              </a:defRPr>
            </a:lvl1pPr>
          </a:lstStyle>
          <a:p>
            <a:pPr lvl="0"/>
            <a:r>
              <a:rPr lang="en-US" dirty="0"/>
              <a:t>XX.X%</a:t>
            </a:r>
          </a:p>
        </p:txBody>
      </p:sp>
      <p:sp>
        <p:nvSpPr>
          <p:cNvPr id="22" name="Text Placeholder 7">
            <a:extLst>
              <a:ext uri="{FF2B5EF4-FFF2-40B4-BE49-F238E27FC236}">
                <a16:creationId xmlns:a16="http://schemas.microsoft.com/office/drawing/2014/main" id="{E260F899-2637-6F46-938D-D4C1FB3BBDD8}"/>
              </a:ext>
            </a:extLst>
          </p:cNvPr>
          <p:cNvSpPr>
            <a:spLocks noGrp="1"/>
          </p:cNvSpPr>
          <p:nvPr userDrawn="1">
            <p:ph type="body" sz="quarter" idx="33" hasCustomPrompt="1"/>
          </p:nvPr>
        </p:nvSpPr>
        <p:spPr>
          <a:xfrm>
            <a:off x="4104000" y="2922240"/>
            <a:ext cx="3312000" cy="622305"/>
          </a:xfrm>
          <a:prstGeom prst="rect">
            <a:avLst/>
          </a:prstGeom>
          <a:noFill/>
        </p:spPr>
        <p:txBody>
          <a:bodyPr lIns="0" tIns="0" rIns="0" bIns="0" anchor="t"/>
          <a:lstStyle>
            <a:lvl1pPr marL="0" indent="0">
              <a:buNone/>
              <a:defRPr sz="3780" b="1">
                <a:solidFill>
                  <a:srgbClr val="2D9BAD"/>
                </a:solidFill>
                <a:latin typeface="+mn-lt"/>
              </a:defRPr>
            </a:lvl1pPr>
          </a:lstStyle>
          <a:p>
            <a:pPr lvl="0"/>
            <a:r>
              <a:rPr lang="en-US" dirty="0"/>
              <a:t>XX.X%</a:t>
            </a:r>
          </a:p>
        </p:txBody>
      </p:sp>
      <p:sp>
        <p:nvSpPr>
          <p:cNvPr id="23" name="Text Placeholder 7">
            <a:extLst>
              <a:ext uri="{FF2B5EF4-FFF2-40B4-BE49-F238E27FC236}">
                <a16:creationId xmlns:a16="http://schemas.microsoft.com/office/drawing/2014/main" id="{586C772B-1D48-7446-85AE-C36171867E5F}"/>
              </a:ext>
            </a:extLst>
          </p:cNvPr>
          <p:cNvSpPr>
            <a:spLocks noGrp="1"/>
          </p:cNvSpPr>
          <p:nvPr userDrawn="1">
            <p:ph type="body" sz="quarter" idx="34" hasCustomPrompt="1"/>
          </p:nvPr>
        </p:nvSpPr>
        <p:spPr>
          <a:xfrm>
            <a:off x="4104000" y="4122943"/>
            <a:ext cx="3312000" cy="622305"/>
          </a:xfrm>
          <a:prstGeom prst="rect">
            <a:avLst/>
          </a:prstGeom>
          <a:noFill/>
        </p:spPr>
        <p:txBody>
          <a:bodyPr lIns="0" tIns="0" rIns="0" bIns="0" anchor="t"/>
          <a:lstStyle>
            <a:lvl1pPr marL="0" indent="0">
              <a:buNone/>
              <a:defRPr sz="3780" b="1">
                <a:solidFill>
                  <a:srgbClr val="FF6120"/>
                </a:solidFill>
                <a:latin typeface="+mn-lt"/>
              </a:defRPr>
            </a:lvl1pPr>
          </a:lstStyle>
          <a:p>
            <a:pPr lvl="0"/>
            <a:r>
              <a:rPr lang="en-US" dirty="0"/>
              <a:t>XX.X%</a:t>
            </a:r>
          </a:p>
        </p:txBody>
      </p:sp>
      <p:sp>
        <p:nvSpPr>
          <p:cNvPr id="24" name="Text Placeholder 7">
            <a:extLst>
              <a:ext uri="{FF2B5EF4-FFF2-40B4-BE49-F238E27FC236}">
                <a16:creationId xmlns:a16="http://schemas.microsoft.com/office/drawing/2014/main" id="{ADAB3E57-053A-7242-9029-EAAD9AE9B2DF}"/>
              </a:ext>
            </a:extLst>
          </p:cNvPr>
          <p:cNvSpPr>
            <a:spLocks noGrp="1"/>
          </p:cNvSpPr>
          <p:nvPr userDrawn="1">
            <p:ph type="body" sz="quarter" idx="35" hasCustomPrompt="1"/>
          </p:nvPr>
        </p:nvSpPr>
        <p:spPr>
          <a:xfrm>
            <a:off x="4104000" y="2330313"/>
            <a:ext cx="3312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25" name="Text Placeholder 7">
            <a:extLst>
              <a:ext uri="{FF2B5EF4-FFF2-40B4-BE49-F238E27FC236}">
                <a16:creationId xmlns:a16="http://schemas.microsoft.com/office/drawing/2014/main" id="{9767543D-1A84-AC41-A5BF-98D1FFB39D1B}"/>
              </a:ext>
            </a:extLst>
          </p:cNvPr>
          <p:cNvSpPr>
            <a:spLocks noGrp="1"/>
          </p:cNvSpPr>
          <p:nvPr userDrawn="1">
            <p:ph type="body" sz="quarter" idx="36" hasCustomPrompt="1"/>
          </p:nvPr>
        </p:nvSpPr>
        <p:spPr>
          <a:xfrm>
            <a:off x="4104000" y="3544545"/>
            <a:ext cx="3312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26" name="Text Placeholder 7">
            <a:extLst>
              <a:ext uri="{FF2B5EF4-FFF2-40B4-BE49-F238E27FC236}">
                <a16:creationId xmlns:a16="http://schemas.microsoft.com/office/drawing/2014/main" id="{991A1611-7C9B-5F42-8A0D-4F3FA5560A3E}"/>
              </a:ext>
            </a:extLst>
          </p:cNvPr>
          <p:cNvSpPr>
            <a:spLocks noGrp="1"/>
          </p:cNvSpPr>
          <p:nvPr userDrawn="1">
            <p:ph type="body" sz="quarter" idx="37" hasCustomPrompt="1"/>
          </p:nvPr>
        </p:nvSpPr>
        <p:spPr>
          <a:xfrm>
            <a:off x="4104000" y="4745247"/>
            <a:ext cx="3312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27" name="Text Placeholder 7">
            <a:extLst>
              <a:ext uri="{FF2B5EF4-FFF2-40B4-BE49-F238E27FC236}">
                <a16:creationId xmlns:a16="http://schemas.microsoft.com/office/drawing/2014/main" id="{31482FF8-3432-1743-A778-D4B5934BD206}"/>
              </a:ext>
            </a:extLst>
          </p:cNvPr>
          <p:cNvSpPr>
            <a:spLocks noGrp="1"/>
          </p:cNvSpPr>
          <p:nvPr userDrawn="1">
            <p:ph type="body" sz="quarter" idx="38" hasCustomPrompt="1"/>
          </p:nvPr>
        </p:nvSpPr>
        <p:spPr>
          <a:xfrm>
            <a:off x="7704225" y="1708008"/>
            <a:ext cx="3240000" cy="622305"/>
          </a:xfrm>
          <a:prstGeom prst="rect">
            <a:avLst/>
          </a:prstGeom>
          <a:noFill/>
        </p:spPr>
        <p:txBody>
          <a:bodyPr lIns="0" tIns="0" rIns="0" bIns="0" anchor="t"/>
          <a:lstStyle>
            <a:lvl1pPr marL="0" indent="0">
              <a:buNone/>
              <a:defRPr sz="3780" b="1">
                <a:solidFill>
                  <a:srgbClr val="00485E"/>
                </a:solidFill>
                <a:latin typeface="+mn-lt"/>
              </a:defRPr>
            </a:lvl1pPr>
          </a:lstStyle>
          <a:p>
            <a:pPr lvl="0"/>
            <a:r>
              <a:rPr lang="en-US" dirty="0"/>
              <a:t>XX.X%</a:t>
            </a:r>
          </a:p>
        </p:txBody>
      </p:sp>
      <p:sp>
        <p:nvSpPr>
          <p:cNvPr id="28" name="Text Placeholder 7">
            <a:extLst>
              <a:ext uri="{FF2B5EF4-FFF2-40B4-BE49-F238E27FC236}">
                <a16:creationId xmlns:a16="http://schemas.microsoft.com/office/drawing/2014/main" id="{3C2FBCD0-5D29-3D4F-801C-47A3CC7A205E}"/>
              </a:ext>
            </a:extLst>
          </p:cNvPr>
          <p:cNvSpPr>
            <a:spLocks noGrp="1"/>
          </p:cNvSpPr>
          <p:nvPr userDrawn="1">
            <p:ph type="body" sz="quarter" idx="39" hasCustomPrompt="1"/>
          </p:nvPr>
        </p:nvSpPr>
        <p:spPr>
          <a:xfrm>
            <a:off x="7704225" y="2922240"/>
            <a:ext cx="3240000" cy="622305"/>
          </a:xfrm>
          <a:prstGeom prst="rect">
            <a:avLst/>
          </a:prstGeom>
          <a:noFill/>
        </p:spPr>
        <p:txBody>
          <a:bodyPr lIns="0" tIns="0" rIns="0" bIns="0" anchor="t"/>
          <a:lstStyle>
            <a:lvl1pPr marL="0" indent="0">
              <a:buNone/>
              <a:defRPr sz="3780" b="1">
                <a:solidFill>
                  <a:srgbClr val="2D9BAD"/>
                </a:solidFill>
                <a:latin typeface="+mn-lt"/>
              </a:defRPr>
            </a:lvl1pPr>
          </a:lstStyle>
          <a:p>
            <a:pPr lvl="0"/>
            <a:r>
              <a:rPr lang="en-US" dirty="0"/>
              <a:t>XX.X%</a:t>
            </a:r>
          </a:p>
        </p:txBody>
      </p:sp>
      <p:sp>
        <p:nvSpPr>
          <p:cNvPr id="29" name="Text Placeholder 7">
            <a:extLst>
              <a:ext uri="{FF2B5EF4-FFF2-40B4-BE49-F238E27FC236}">
                <a16:creationId xmlns:a16="http://schemas.microsoft.com/office/drawing/2014/main" id="{4A9866B5-352F-374B-9B26-07AD3E2018CE}"/>
              </a:ext>
            </a:extLst>
          </p:cNvPr>
          <p:cNvSpPr>
            <a:spLocks noGrp="1"/>
          </p:cNvSpPr>
          <p:nvPr userDrawn="1">
            <p:ph type="body" sz="quarter" idx="40" hasCustomPrompt="1"/>
          </p:nvPr>
        </p:nvSpPr>
        <p:spPr>
          <a:xfrm>
            <a:off x="7704225" y="4122943"/>
            <a:ext cx="3240000" cy="622305"/>
          </a:xfrm>
          <a:prstGeom prst="rect">
            <a:avLst/>
          </a:prstGeom>
          <a:noFill/>
        </p:spPr>
        <p:txBody>
          <a:bodyPr lIns="0" tIns="0" rIns="0" bIns="0" anchor="t"/>
          <a:lstStyle>
            <a:lvl1pPr marL="0" indent="0">
              <a:buNone/>
              <a:defRPr sz="3780" b="1">
                <a:solidFill>
                  <a:srgbClr val="FF6120"/>
                </a:solidFill>
                <a:latin typeface="+mn-lt"/>
              </a:defRPr>
            </a:lvl1pPr>
          </a:lstStyle>
          <a:p>
            <a:pPr lvl="0"/>
            <a:r>
              <a:rPr lang="en-US" dirty="0"/>
              <a:t>XX.X%</a:t>
            </a:r>
          </a:p>
        </p:txBody>
      </p:sp>
      <p:sp>
        <p:nvSpPr>
          <p:cNvPr id="30" name="Text Placeholder 7">
            <a:extLst>
              <a:ext uri="{FF2B5EF4-FFF2-40B4-BE49-F238E27FC236}">
                <a16:creationId xmlns:a16="http://schemas.microsoft.com/office/drawing/2014/main" id="{659B7183-4339-C54D-B428-1E0A7198DAF2}"/>
              </a:ext>
            </a:extLst>
          </p:cNvPr>
          <p:cNvSpPr>
            <a:spLocks noGrp="1"/>
          </p:cNvSpPr>
          <p:nvPr userDrawn="1">
            <p:ph type="body" sz="quarter" idx="41" hasCustomPrompt="1"/>
          </p:nvPr>
        </p:nvSpPr>
        <p:spPr>
          <a:xfrm>
            <a:off x="7704225" y="2330313"/>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31" name="Text Placeholder 7">
            <a:extLst>
              <a:ext uri="{FF2B5EF4-FFF2-40B4-BE49-F238E27FC236}">
                <a16:creationId xmlns:a16="http://schemas.microsoft.com/office/drawing/2014/main" id="{DF21D733-8794-9B4A-94B4-ED2D166A8F26}"/>
              </a:ext>
            </a:extLst>
          </p:cNvPr>
          <p:cNvSpPr>
            <a:spLocks noGrp="1"/>
          </p:cNvSpPr>
          <p:nvPr userDrawn="1">
            <p:ph type="body" sz="quarter" idx="42" hasCustomPrompt="1"/>
          </p:nvPr>
        </p:nvSpPr>
        <p:spPr>
          <a:xfrm>
            <a:off x="7704225" y="3544545"/>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32" name="Text Placeholder 7">
            <a:extLst>
              <a:ext uri="{FF2B5EF4-FFF2-40B4-BE49-F238E27FC236}">
                <a16:creationId xmlns:a16="http://schemas.microsoft.com/office/drawing/2014/main" id="{A6304067-EBC1-4D4A-884A-48F03372C151}"/>
              </a:ext>
            </a:extLst>
          </p:cNvPr>
          <p:cNvSpPr>
            <a:spLocks noGrp="1"/>
          </p:cNvSpPr>
          <p:nvPr userDrawn="1">
            <p:ph type="body" sz="quarter" idx="43" hasCustomPrompt="1"/>
          </p:nvPr>
        </p:nvSpPr>
        <p:spPr>
          <a:xfrm>
            <a:off x="7704225" y="4745247"/>
            <a:ext cx="3240000" cy="291079"/>
          </a:xfrm>
          <a:prstGeom prst="rect">
            <a:avLst/>
          </a:prstGeom>
          <a:noFill/>
        </p:spPr>
        <p:txBody>
          <a:bodyPr lIns="0" tIns="0" rIns="0" bIns="0" anchor="t"/>
          <a:lstStyle>
            <a:lvl1pPr marL="0" indent="0">
              <a:buNone/>
              <a:defRPr sz="1200" b="0">
                <a:solidFill>
                  <a:schemeClr val="tx2"/>
                </a:solidFill>
                <a:latin typeface="+mn-lt"/>
              </a:defRPr>
            </a:lvl1pPr>
          </a:lstStyle>
          <a:p>
            <a:pPr lvl="0"/>
            <a:r>
              <a:rPr lang="en-US" dirty="0"/>
              <a:t>Subtext</a:t>
            </a:r>
          </a:p>
        </p:txBody>
      </p:sp>
      <p:sp>
        <p:nvSpPr>
          <p:cNvPr id="8" name="Slide Number Placeholder 7">
            <a:extLst>
              <a:ext uri="{FF2B5EF4-FFF2-40B4-BE49-F238E27FC236}">
                <a16:creationId xmlns:a16="http://schemas.microsoft.com/office/drawing/2014/main" id="{2774D89E-F357-2A39-4FA1-3F726C3C655C}"/>
              </a:ext>
            </a:extLst>
          </p:cNvPr>
          <p:cNvSpPr>
            <a:spLocks noGrp="1"/>
          </p:cNvSpPr>
          <p:nvPr>
            <p:ph type="sldNum" sz="quarter" idx="45"/>
          </p:nvPr>
        </p:nvSpPr>
        <p:spPr/>
        <p:txBody>
          <a:bodyPr/>
          <a:lstStyle/>
          <a:p>
            <a:fld id="{0F961903-03AF-4EAC-BF2C-945F8C5557D1}" type="slidenum">
              <a:rPr lang="en-GB" smtClean="0"/>
              <a:pPr/>
              <a:t>‹#›</a:t>
            </a:fld>
            <a:endParaRPr lang="en-GB" dirty="0"/>
          </a:p>
        </p:txBody>
      </p:sp>
      <p:sp>
        <p:nvSpPr>
          <p:cNvPr id="9" name="Text Placeholder 5">
            <a:extLst>
              <a:ext uri="{FF2B5EF4-FFF2-40B4-BE49-F238E27FC236}">
                <a16:creationId xmlns:a16="http://schemas.microsoft.com/office/drawing/2014/main" id="{CDCB0828-BBE1-14A2-404C-02A3668986D7}"/>
              </a:ext>
            </a:extLst>
          </p:cNvPr>
          <p:cNvSpPr>
            <a:spLocks noGrp="1"/>
          </p:cNvSpPr>
          <p:nvPr>
            <p:ph type="body" sz="quarter" idx="47"/>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EC742AA6-D292-6B16-F342-9328E6947BA5}"/>
              </a:ext>
            </a:extLst>
          </p:cNvPr>
          <p:cNvSpPr>
            <a:spLocks noGrp="1"/>
          </p:cNvSpPr>
          <p:nvPr>
            <p:ph type="title"/>
          </p:nvPr>
        </p:nvSpPr>
        <p:spPr/>
        <p:txBody>
          <a:bodyPr/>
          <a:lstStyle/>
          <a:p>
            <a:r>
              <a:rPr lang="en-US"/>
              <a:t>Click to edit Master title style</a:t>
            </a:r>
            <a:endParaRPr lang="en-GB"/>
          </a:p>
        </p:txBody>
      </p:sp>
      <p:sp>
        <p:nvSpPr>
          <p:cNvPr id="2" name="Text Placeholder 7">
            <a:extLst>
              <a:ext uri="{FF2B5EF4-FFF2-40B4-BE49-F238E27FC236}">
                <a16:creationId xmlns:a16="http://schemas.microsoft.com/office/drawing/2014/main" id="{DD5BD982-1428-DECC-73E2-F6640B7DE9F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89191FA0-91EA-910E-5DBD-9F1F597EF8B5}"/>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B3A34D21-BFEA-CCAA-585C-69C787BF3F19}"/>
              </a:ext>
            </a:extLst>
          </p:cNvPr>
          <p:cNvSpPr>
            <a:spLocks noGrp="1"/>
          </p:cNvSpPr>
          <p:nvPr>
            <p:ph type="ftr" sz="quarter" idx="4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410689441"/>
      </p:ext>
    </p:extLst>
  </p:cSld>
  <p:clrMapOvr>
    <a:masterClrMapping/>
  </p:clrMapOvr>
  <p:transition>
    <p:wipe/>
  </p:transition>
  <p:extLst>
    <p:ext uri="{DCECCB84-F9BA-43D5-87BE-67443E8EF086}">
      <p15:sldGuideLst xmlns:p15="http://schemas.microsoft.com/office/powerpoint/2012/main">
        <p15:guide id="1" pos="4672">
          <p15:clr>
            <a:srgbClr val="FBAE40"/>
          </p15:clr>
        </p15:guide>
        <p15:guide id="2" pos="4853">
          <p15:clr>
            <a:srgbClr val="FBAE40"/>
          </p15:clr>
        </p15:guide>
        <p15:guide id="3" pos="2404">
          <p15:clr>
            <a:srgbClr val="FBAE40"/>
          </p15:clr>
        </p15:guide>
        <p15:guide id="4" pos="2585">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5 - Simple timeline with icon, title, cop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576263" y="2400200"/>
            <a:ext cx="2376000" cy="334510"/>
          </a:xfrm>
          <a:prstGeom prst="rect">
            <a:avLst/>
          </a:prstGeom>
        </p:spPr>
        <p:txBody>
          <a:bodyPr lIns="0"/>
          <a:lstStyle>
            <a:lvl1pPr>
              <a:buNone/>
              <a:defRPr b="1" i="0" cap="all" baseline="0">
                <a:solidFill>
                  <a:srgbClr val="00485E"/>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240250" y="2400200"/>
            <a:ext cx="2376000" cy="334510"/>
          </a:xfrm>
          <a:prstGeom prst="rect">
            <a:avLst/>
          </a:prstGeom>
        </p:spPr>
        <p:txBody>
          <a:bodyPr lIns="0"/>
          <a:lstStyle>
            <a:lvl1pPr>
              <a:buNone/>
              <a:defRPr b="1" i="0" cap="all" baseline="0">
                <a:solidFill>
                  <a:srgbClr val="00485E"/>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5904237" y="2400200"/>
            <a:ext cx="2376000" cy="334510"/>
          </a:xfrm>
          <a:prstGeom prst="rect">
            <a:avLst/>
          </a:prstGeom>
        </p:spPr>
        <p:txBody>
          <a:bodyPr lIns="0"/>
          <a:lstStyle>
            <a:lvl1pPr>
              <a:buNone/>
              <a:defRPr b="1" i="0" cap="all" baseline="0">
                <a:solidFill>
                  <a:srgbClr val="00485E"/>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568225" y="2400200"/>
            <a:ext cx="2376000" cy="334510"/>
          </a:xfrm>
          <a:prstGeom prst="rect">
            <a:avLst/>
          </a:prstGeom>
        </p:spPr>
        <p:txBody>
          <a:bodyPr lIns="0"/>
          <a:lstStyle>
            <a:lvl1pPr>
              <a:buNone/>
              <a:defRPr b="1" i="0" cap="all" baseline="0">
                <a:solidFill>
                  <a:srgbClr val="00485E"/>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576263" y="2839791"/>
            <a:ext cx="2376000"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240250" y="2839791"/>
            <a:ext cx="2376000"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5904237" y="2839791"/>
            <a:ext cx="2376000"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568225" y="2839791"/>
            <a:ext cx="2376000" cy="2116556"/>
          </a:xfrm>
          <a:prstGeom prst="rect">
            <a:avLst/>
          </a:prstGeom>
        </p:spPr>
        <p:txBody>
          <a:bodyPr lIns="0"/>
          <a:lstStyle>
            <a:lvl1pPr>
              <a:buNone/>
              <a:defRPr b="0">
                <a:solidFill>
                  <a:schemeClr val="tx2"/>
                </a:solidFill>
                <a:latin typeface="Avenir Next LT Pro" panose="020B0504020202020204" pitchFamily="34" charset="77"/>
              </a:defRPr>
            </a:lvl1pPr>
            <a:lvl2pPr>
              <a:buNone/>
              <a:defRPr/>
            </a:lvl2pPr>
            <a:lvl3pPr>
              <a:buNone/>
              <a:defRPr/>
            </a:lvl3pPr>
            <a:lvl4pPr>
              <a:buNone/>
              <a:defRPr/>
            </a:lvl4pPr>
            <a:lvl5pPr>
              <a:buNone/>
              <a:defRPr/>
            </a:lvl5pPr>
          </a:lstStyle>
          <a:p>
            <a:pPr lvl="0"/>
            <a:endParaRPr lang="en-US" dirty="0"/>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576263" y="1440000"/>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240250" y="1440000"/>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5904237" y="1440000"/>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568737" y="1440000"/>
            <a:ext cx="664985" cy="667100"/>
          </a:xfrm>
          <a:prstGeom prst="rect">
            <a:avLst/>
          </a:prstGeom>
        </p:spPr>
        <p:txBody>
          <a:bodyPr anchor="ctr" anchorCtr="0"/>
          <a:lstStyle>
            <a:lvl1pPr algn="ctr">
              <a:buNone/>
              <a:defRPr>
                <a:latin typeface="Avenir Next LT Pro" panose="020B0504020202020204" pitchFamily="34" charset="77"/>
              </a:defRPr>
            </a:lvl1pPr>
          </a:lstStyle>
          <a:p>
            <a:r>
              <a:rPr lang="en-US" dirty="0"/>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1367999" y="1773550"/>
            <a:ext cx="1584000" cy="0"/>
          </a:xfrm>
          <a:prstGeom prst="straightConnector1">
            <a:avLst/>
          </a:prstGeom>
          <a:ln>
            <a:solidFill>
              <a:srgbClr val="FF6120"/>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031999" y="1773550"/>
            <a:ext cx="1584000" cy="0"/>
          </a:xfrm>
          <a:prstGeom prst="straightConnector1">
            <a:avLst/>
          </a:prstGeom>
          <a:ln>
            <a:solidFill>
              <a:srgbClr val="FF6120"/>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6695999" y="1773550"/>
            <a:ext cx="1584000" cy="0"/>
          </a:xfrm>
          <a:prstGeom prst="straightConnector1">
            <a:avLst/>
          </a:prstGeom>
          <a:ln>
            <a:solidFill>
              <a:srgbClr val="FF6120"/>
            </a:solidFill>
            <a:tailEnd type="triangle"/>
          </a:ln>
        </p:spPr>
        <p:style>
          <a:lnRef idx="1">
            <a:schemeClr val="accent2"/>
          </a:lnRef>
          <a:fillRef idx="0">
            <a:schemeClr val="accent2"/>
          </a:fillRef>
          <a:effectRef idx="0">
            <a:schemeClr val="accent2"/>
          </a:effectRef>
          <a:fontRef idx="minor">
            <a:schemeClr val="tx1"/>
          </a:fontRef>
        </p:style>
      </p:cxnSp>
      <p:sp>
        <p:nvSpPr>
          <p:cNvPr id="8" name="Slide Number Placeholder 7">
            <a:extLst>
              <a:ext uri="{FF2B5EF4-FFF2-40B4-BE49-F238E27FC236}">
                <a16:creationId xmlns:a16="http://schemas.microsoft.com/office/drawing/2014/main" id="{59A28B72-297A-49FF-6B43-3087801C3282}"/>
              </a:ext>
            </a:extLst>
          </p:cNvPr>
          <p:cNvSpPr>
            <a:spLocks noGrp="1"/>
          </p:cNvSpPr>
          <p:nvPr>
            <p:ph type="sldNum" sz="quarter" idx="31"/>
          </p:nvPr>
        </p:nvSpPr>
        <p:spPr/>
        <p:txBody>
          <a:bodyPr/>
          <a:lstStyle/>
          <a:p>
            <a:fld id="{0F961903-03AF-4EAC-BF2C-945F8C5557D1}" type="slidenum">
              <a:rPr lang="en-GB" smtClean="0"/>
              <a:pPr/>
              <a:t>‹#›</a:t>
            </a:fld>
            <a:endParaRPr lang="en-GB" dirty="0"/>
          </a:p>
        </p:txBody>
      </p:sp>
      <p:sp>
        <p:nvSpPr>
          <p:cNvPr id="9" name="Text Placeholder 5">
            <a:extLst>
              <a:ext uri="{FF2B5EF4-FFF2-40B4-BE49-F238E27FC236}">
                <a16:creationId xmlns:a16="http://schemas.microsoft.com/office/drawing/2014/main" id="{A4F0E4D9-B264-37C4-2766-963F2921D87F}"/>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5" name="Title 14">
            <a:extLst>
              <a:ext uri="{FF2B5EF4-FFF2-40B4-BE49-F238E27FC236}">
                <a16:creationId xmlns:a16="http://schemas.microsoft.com/office/drawing/2014/main" id="{7211D9D2-C512-7C31-690C-DB7CFA88ECD5}"/>
              </a:ext>
            </a:extLst>
          </p:cNvPr>
          <p:cNvSpPr>
            <a:spLocks noGrp="1"/>
          </p:cNvSpPr>
          <p:nvPr>
            <p:ph type="title"/>
          </p:nvPr>
        </p:nvSpPr>
        <p:spPr/>
        <p:txBody>
          <a:bodyPr/>
          <a:lstStyle/>
          <a:p>
            <a:r>
              <a:rPr lang="en-US"/>
              <a:t>Click to edit Master title style</a:t>
            </a:r>
            <a:endParaRPr lang="en-GB"/>
          </a:p>
        </p:txBody>
      </p:sp>
      <p:sp>
        <p:nvSpPr>
          <p:cNvPr id="2" name="Text Placeholder 7">
            <a:extLst>
              <a:ext uri="{FF2B5EF4-FFF2-40B4-BE49-F238E27FC236}">
                <a16:creationId xmlns:a16="http://schemas.microsoft.com/office/drawing/2014/main" id="{73D3CCD4-E453-AB28-2562-2BD989623DAD}"/>
              </a:ext>
            </a:extLst>
          </p:cNvPr>
          <p:cNvSpPr>
            <a:spLocks noGrp="1"/>
          </p:cNvSpPr>
          <p:nvPr>
            <p:ph type="body" sz="quarter" idx="39"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46998012-0460-FA68-9879-117E94F7C272}"/>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631354DA-ED0F-065A-C6DF-F8E38E0B75D6}"/>
              </a:ext>
            </a:extLst>
          </p:cNvPr>
          <p:cNvSpPr>
            <a:spLocks noGrp="1"/>
          </p:cNvSpPr>
          <p:nvPr>
            <p:ph type="ftr" sz="quarter" idx="40"/>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1521647906"/>
      </p:ext>
    </p:extLst>
  </p:cSld>
  <p:clrMapOvr>
    <a:masterClrMapping/>
  </p:clrMapOvr>
  <p:transition>
    <p:wipe/>
  </p:transition>
  <p:extLst>
    <p:ext uri="{DCECCB84-F9BA-43D5-87BE-67443E8EF086}">
      <p15:sldGuideLst xmlns:p15="http://schemas.microsoft.com/office/powerpoint/2012/main">
        <p15:guide id="1" pos="1859">
          <p15:clr>
            <a:srgbClr val="FBAE40"/>
          </p15:clr>
        </p15:guide>
        <p15:guide id="2" pos="2041">
          <p15:clr>
            <a:srgbClr val="FBAE40"/>
          </p15:clr>
        </p15:guide>
        <p15:guide id="3" pos="3538">
          <p15:clr>
            <a:srgbClr val="FBAE40"/>
          </p15:clr>
        </p15:guide>
        <p15:guide id="4" pos="3719">
          <p15:clr>
            <a:srgbClr val="FBAE40"/>
          </p15:clr>
        </p15:guide>
        <p15:guide id="5" pos="5216">
          <p15:clr>
            <a:srgbClr val="FBAE40"/>
          </p15:clr>
        </p15:guide>
        <p15:guide id="6" pos="5398">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6 - Project timeline, 6 item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756C8D-7CE7-3115-B32D-46D4F709194A}"/>
              </a:ext>
            </a:extLst>
          </p:cNvPr>
          <p:cNvSpPr/>
          <p:nvPr userDrawn="1"/>
        </p:nvSpPr>
        <p:spPr>
          <a:xfrm>
            <a:off x="3466148" y="2661830"/>
            <a:ext cx="2594397" cy="2332863"/>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t" anchorCtr="0" forceAA="0" compatLnSpc="1">
            <a:prstTxWarp prst="textNoShape">
              <a:avLst/>
            </a:prstTxWarp>
            <a:noAutofit/>
          </a:bodyPr>
          <a:lstStyle/>
          <a:p>
            <a:pPr algn="ctr">
              <a:lnSpc>
                <a:spcPct val="90000"/>
              </a:lnSpc>
            </a:pPr>
            <a:endParaRPr lang="en-US" sz="1701" b="1" dirty="0">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576025" y="2661830"/>
            <a:ext cx="10368439" cy="0"/>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576025" y="3707298"/>
            <a:ext cx="10368439" cy="0"/>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576025" y="4994693"/>
            <a:ext cx="10368439" cy="0"/>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168948"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466147" y="2661830"/>
            <a:ext cx="0" cy="2332863"/>
          </a:xfrm>
          <a:prstGeom prst="line">
            <a:avLst/>
          </a:prstGeom>
          <a:ln w="12700">
            <a:solidFill>
              <a:srgbClr val="FF6120"/>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4763346"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060545"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357744"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8654942"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9952141" y="2661830"/>
            <a:ext cx="0" cy="2332863"/>
          </a:xfrm>
          <a:prstGeom prst="line">
            <a:avLst/>
          </a:prstGeom>
          <a:ln w="12700">
            <a:solidFill>
              <a:srgbClr val="FF612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321003"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019198"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6717390"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436206"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113775"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811968" y="2197500"/>
            <a:ext cx="0" cy="79490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662646" y="3817583"/>
            <a:ext cx="1390425" cy="461665"/>
          </a:xfrm>
          <a:prstGeom prst="rect">
            <a:avLst/>
          </a:prstGeom>
          <a:noFill/>
        </p:spPr>
        <p:txBody>
          <a:bodyPr wrap="square" lIns="91440" tIns="45720" rIns="91440" bIns="45720" anchor="t" anchorCtr="0">
            <a:spAutoFit/>
          </a:bodyPr>
          <a:lstStyle>
            <a:lvl1pPr marL="0" indent="0" algn="r">
              <a:spcBef>
                <a:spcPts val="0"/>
              </a:spcBef>
              <a:buNone/>
              <a:defRPr sz="1200" b="0" i="0" baseline="0">
                <a:solidFill>
                  <a:schemeClr val="accent1"/>
                </a:solidFill>
                <a:latin typeface="+mn-lt"/>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a:t>
            </a:r>
            <a:br>
              <a:rPr lang="en-US" dirty="0"/>
            </a:br>
            <a:r>
              <a:rPr lang="en-US" dirty="0"/>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169746" y="3307743"/>
            <a:ext cx="1282577" cy="265815"/>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464279" y="3311820"/>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4764144" y="3311820"/>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068080" y="3311820"/>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367759" y="3311820"/>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8647411" y="3311820"/>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169746" y="3902792"/>
            <a:ext cx="1282577" cy="265815"/>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464279" y="3906869"/>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4764144" y="3906869"/>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068080" y="3906869"/>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367759" y="3906869"/>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8647411" y="3906869"/>
            <a:ext cx="1302877"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253345" y="1966691"/>
            <a:ext cx="1136325" cy="245003"/>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992" b="1" i="0" spc="0" baseline="0">
                <a:solidFill>
                  <a:schemeClr val="tx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568178" y="1966691"/>
            <a:ext cx="1136325" cy="245003"/>
          </a:xfrm>
          <a:prstGeom prst="rect">
            <a:avLst/>
          </a:prstGeom>
          <a:solidFill>
            <a:srgbClr val="FF6120"/>
          </a:solidFill>
          <a:ln w="12700">
            <a:solidFill>
              <a:schemeClr val="tx2"/>
            </a:solidFill>
          </a:ln>
        </p:spPr>
        <p:txBody>
          <a:bodyPr wrap="square" lIns="91440" tIns="45720" rIns="91440" bIns="45720" anchor="t" anchorCtr="0">
            <a:spAutoFit/>
          </a:bodyPr>
          <a:lstStyle>
            <a:lvl1pPr marL="0" indent="0" algn="ctr">
              <a:spcBef>
                <a:spcPts val="0"/>
              </a:spcBef>
              <a:buNone/>
              <a:defRPr sz="992" b="1" i="0" spc="0" baseline="0">
                <a:solidFill>
                  <a:schemeClr val="bg1"/>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4868043" y="1966691"/>
            <a:ext cx="1136325" cy="245003"/>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992" b="1" i="0" spc="0" baseline="0">
                <a:solidFill>
                  <a:schemeClr val="tx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171979" y="1966691"/>
            <a:ext cx="1136325" cy="245003"/>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992" b="1" i="0" spc="0" baseline="0">
                <a:solidFill>
                  <a:schemeClr val="tx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471658" y="1966691"/>
            <a:ext cx="1136325" cy="245003"/>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992" b="1" i="0" spc="0" baseline="0">
                <a:solidFill>
                  <a:schemeClr val="tx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8751309" y="1966691"/>
            <a:ext cx="1136325" cy="245003"/>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992" b="1" i="0" spc="0" baseline="0">
                <a:solidFill>
                  <a:schemeClr val="tx2"/>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6</a:t>
            </a:r>
          </a:p>
        </p:txBody>
      </p:sp>
      <p:sp>
        <p:nvSpPr>
          <p:cNvPr id="44" name="Slide Number Placeholder 43">
            <a:extLst>
              <a:ext uri="{FF2B5EF4-FFF2-40B4-BE49-F238E27FC236}">
                <a16:creationId xmlns:a16="http://schemas.microsoft.com/office/drawing/2014/main" id="{3FF60048-1960-94EB-6B21-156FFD27FFB6}"/>
              </a:ext>
            </a:extLst>
          </p:cNvPr>
          <p:cNvSpPr>
            <a:spLocks noGrp="1"/>
          </p:cNvSpPr>
          <p:nvPr>
            <p:ph type="sldNum" sz="quarter" idx="55"/>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4D552F27-DE6E-B59A-A77D-D8970766DBB1}"/>
              </a:ext>
            </a:extLst>
          </p:cNvPr>
          <p:cNvSpPr>
            <a:spLocks noGrp="1"/>
          </p:cNvSpPr>
          <p:nvPr>
            <p:ph type="title"/>
          </p:nvPr>
        </p:nvSpPr>
        <p:spPr/>
        <p:txBody>
          <a:bodyPr/>
          <a:lstStyle/>
          <a:p>
            <a:r>
              <a:rPr lang="en-US"/>
              <a:t>Click to edit Master title style</a:t>
            </a:r>
            <a:endParaRPr lang="en-GB"/>
          </a:p>
        </p:txBody>
      </p:sp>
      <p:sp>
        <p:nvSpPr>
          <p:cNvPr id="46" name="Text Placeholder 5">
            <a:extLst>
              <a:ext uri="{FF2B5EF4-FFF2-40B4-BE49-F238E27FC236}">
                <a16:creationId xmlns:a16="http://schemas.microsoft.com/office/drawing/2014/main" id="{1A1519F9-FE1D-6528-A424-9F10A743C0D2}"/>
              </a:ext>
            </a:extLst>
          </p:cNvPr>
          <p:cNvSpPr>
            <a:spLocks noGrp="1"/>
          </p:cNvSpPr>
          <p:nvPr>
            <p:ph type="body" sz="quarter" idx="57"/>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FACD5776-49E2-3615-601D-F2DE26A3752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EC650188-B6E5-3D70-F256-FB036C53B086}"/>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7" name="Footer Placeholder 6">
            <a:extLst>
              <a:ext uri="{FF2B5EF4-FFF2-40B4-BE49-F238E27FC236}">
                <a16:creationId xmlns:a16="http://schemas.microsoft.com/office/drawing/2014/main" id="{348CFFA7-1784-C4E1-0359-6F89035EFDCE}"/>
              </a:ext>
            </a:extLst>
          </p:cNvPr>
          <p:cNvSpPr>
            <a:spLocks noGrp="1"/>
          </p:cNvSpPr>
          <p:nvPr>
            <p:ph type="ftr" sz="quarter" idx="5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2487484143"/>
      </p:ext>
    </p:extLst>
  </p:cSld>
  <p:clrMapOvr>
    <a:masterClrMapping/>
  </p:clrMapOvr>
  <p:transition>
    <p:wip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7 - Project timeline">
    <p:spTree>
      <p:nvGrpSpPr>
        <p:cNvPr id="1" name=""/>
        <p:cNvGrpSpPr/>
        <p:nvPr/>
      </p:nvGrpSpPr>
      <p:grpSpPr>
        <a:xfrm>
          <a:off x="0" y="0"/>
          <a:ext cx="0" cy="0"/>
          <a:chOff x="0" y="0"/>
          <a:chExt cx="0" cy="0"/>
        </a:xfrm>
      </p:grpSpPr>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19149" y="2055378"/>
            <a:ext cx="1696864" cy="266868"/>
          </a:xfrm>
          <a:prstGeom prst="rect">
            <a:avLst/>
          </a:prstGeom>
          <a:noFill/>
        </p:spPr>
        <p:txBody>
          <a:bodyPr wrap="square" lIns="91440" tIns="45720" rIns="91440" bIns="45720" anchor="t" anchorCtr="0">
            <a:spAutoFit/>
          </a:bodyPr>
          <a:lstStyle>
            <a:lvl1pPr marL="0" indent="0" algn="l">
              <a:spcBef>
                <a:spcPts val="0"/>
              </a:spcBef>
              <a:buNone/>
              <a:defRPr sz="1134" b="1" i="0" spc="0" baseline="0">
                <a:solidFill>
                  <a:srgbClr val="FF6120"/>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31778"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dirty="0"/>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576262" y="3123016"/>
            <a:ext cx="10368000" cy="153147"/>
          </a:xfrm>
          <a:prstGeom prst="rightArrow">
            <a:avLst>
              <a:gd name="adj1" fmla="val 8216"/>
              <a:gd name="adj2" fmla="val 75644"/>
            </a:avLst>
          </a:prstGeom>
          <a:solidFill>
            <a:srgbClr val="FF6120"/>
          </a:solidFill>
          <a:ln>
            <a:solidFill>
              <a:srgbClr val="FF612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t" anchorCtr="0" forceAA="0" compatLnSpc="1">
            <a:prstTxWarp prst="textNoShape">
              <a:avLst/>
            </a:prstTxWarp>
            <a:noAutofit/>
          </a:bodyPr>
          <a:lstStyle/>
          <a:p>
            <a:pPr algn="ctr">
              <a:lnSpc>
                <a:spcPct val="90000"/>
              </a:lnSpc>
            </a:pPr>
            <a:endParaRPr lang="en-US" sz="1701" b="1" dirty="0">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3781730" y="2908770"/>
            <a:ext cx="82" cy="581641"/>
          </a:xfrm>
          <a:prstGeom prst="rect">
            <a:avLst/>
          </a:prstGeom>
          <a:noFill/>
        </p:spPr>
        <p:txBody>
          <a:bodyPr wrap="square" lIns="86402" tIns="43201" rIns="86402" bIns="43201" rtlCol="0" anchor="t">
            <a:noAutofit/>
          </a:bodyPr>
          <a:lstStyle/>
          <a:p>
            <a:pPr>
              <a:spcBef>
                <a:spcPts val="1134"/>
              </a:spcBef>
            </a:pPr>
            <a:endParaRPr lang="en-US" sz="3780" dirty="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831762"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3820991"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5776940"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7762519"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9732053" y="3728102"/>
            <a:ext cx="0" cy="23051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8718691" y="2055378"/>
            <a:ext cx="1801139" cy="266868"/>
          </a:xfrm>
          <a:prstGeom prst="rect">
            <a:avLst/>
          </a:prstGeom>
          <a:noFill/>
        </p:spPr>
        <p:txBody>
          <a:bodyPr wrap="square" lIns="91440" tIns="45720" rIns="91440" bIns="45720" anchor="t" anchorCtr="0">
            <a:spAutoFit/>
          </a:bodyPr>
          <a:lstStyle>
            <a:lvl1pPr marL="0" indent="0" algn="r">
              <a:spcBef>
                <a:spcPts val="0"/>
              </a:spcBef>
              <a:buNone/>
              <a:defRPr sz="1134" b="1" i="0" spc="0" baseline="0">
                <a:solidFill>
                  <a:srgbClr val="FF6120"/>
                </a:solidFill>
                <a:latin typeface="Avenir Next LT Pro" panose="020B0504020202020204" pitchFamily="34" charset="77"/>
                <a:cs typeface="Arial Black" panose="020B0604020202020204" pitchFamily="34" charset="0"/>
              </a:defRPr>
            </a:lvl1pPr>
            <a:lvl2pPr marL="223504" indent="0">
              <a:buNone/>
              <a:defRPr/>
            </a:lvl2pPr>
            <a:lvl3pPr marL="379507" indent="0">
              <a:buNone/>
              <a:defRPr/>
            </a:lvl3pPr>
            <a:lvl4pPr marL="537010" indent="0">
              <a:buNone/>
              <a:defRPr/>
            </a:lvl4pPr>
            <a:lvl5pPr marL="484509" indent="0">
              <a:buNone/>
              <a:defRPr/>
            </a:lvl5pPr>
          </a:lstStyle>
          <a:p>
            <a:pPr lvl="0"/>
            <a:r>
              <a:rPr lang="en-US" dirty="0"/>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19148"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021007"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008377"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4976956"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4964326"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6962535"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6949905"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8932069" y="4085308"/>
            <a:ext cx="1599968" cy="266868"/>
          </a:xfrm>
          <a:prstGeom prst="rect">
            <a:avLst/>
          </a:prstGeom>
          <a:noFill/>
        </p:spPr>
        <p:txBody>
          <a:bodyPr wrap="square" lIns="91440" tIns="45720" rIns="91440" bIns="45720" anchor="t" anchorCtr="0">
            <a:spAutoFit/>
          </a:bodyPr>
          <a:lstStyle>
            <a:lvl1pPr marL="0" indent="0" algn="ctr">
              <a:spcBef>
                <a:spcPts val="0"/>
              </a:spcBef>
              <a:buNone/>
              <a:defRPr sz="1134" b="0" baseline="0">
                <a:solidFill>
                  <a:schemeClr val="tx2"/>
                </a:solidFill>
                <a:latin typeface="Avenir Next LT Pro" panose="020B0504020202020204" pitchFamily="34" charset="77"/>
              </a:defRPr>
            </a:lvl1pPr>
            <a:lvl2pPr marL="223504" indent="0">
              <a:buNone/>
              <a:defRPr/>
            </a:lvl2pPr>
            <a:lvl3pPr marL="379507" indent="0">
              <a:buNone/>
              <a:defRPr/>
            </a:lvl3pPr>
            <a:lvl4pPr marL="537010" indent="0">
              <a:buNone/>
              <a:defRPr/>
            </a:lvl4pPr>
            <a:lvl5pPr marL="484509" indent="0">
              <a:buNone/>
              <a:defRPr/>
            </a:lvl5pPr>
          </a:lstStyle>
          <a:p>
            <a:pPr lvl="0"/>
            <a:r>
              <a:rPr lang="en-US"/>
              <a:t>Item 1</a:t>
            </a:r>
            <a:endParaRPr lang="en-US" dirty="0"/>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8919439" y="2757564"/>
            <a:ext cx="1625228" cy="884052"/>
          </a:xfrm>
          <a:prstGeom prst="rect">
            <a:avLst/>
          </a:prstGeom>
          <a:solidFill>
            <a:srgbClr val="F4F4F4"/>
          </a:solidFill>
          <a:ln w="25400">
            <a:solidFill>
              <a:schemeClr val="bg1"/>
            </a:solidFill>
          </a:ln>
        </p:spPr>
        <p:txBody>
          <a:bodyPr lIns="91440" tIns="45720" rIns="91440" bIns="45720" anchor="ctr"/>
          <a:lstStyle>
            <a:lvl1pPr marL="0" indent="0" algn="ctr">
              <a:buNone/>
              <a:defRPr sz="1134" b="1">
                <a:solidFill>
                  <a:schemeClr val="accent1"/>
                </a:solidFill>
                <a:latin typeface="Avenir Next LT Pro" panose="020B0504020202020204" pitchFamily="34" charset="77"/>
              </a:defRPr>
            </a:lvl1pPr>
          </a:lstStyle>
          <a:p>
            <a:pPr lvl="0"/>
            <a:r>
              <a:rPr lang="en-US" dirty="0"/>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716013" y="4100616"/>
            <a:ext cx="216009" cy="216006"/>
            <a:chOff x="5068956" y="4549940"/>
            <a:chExt cx="529870" cy="529870"/>
          </a:xfrm>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671962" y="4100616"/>
            <a:ext cx="216009" cy="216006"/>
            <a:chOff x="5068956" y="4549940"/>
            <a:chExt cx="529870" cy="529870"/>
          </a:xfrm>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6641495" y="4100616"/>
            <a:ext cx="216009" cy="216006"/>
            <a:chOff x="5068956" y="4549940"/>
            <a:chExt cx="529870" cy="529870"/>
          </a:xfrm>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8610686" y="4100616"/>
            <a:ext cx="216009" cy="216006"/>
            <a:chOff x="5068956" y="4549940"/>
            <a:chExt cx="529870" cy="529870"/>
          </a:xfrm>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228" b="1" dirty="0">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ln w="12700">
                <a:solidFill>
                  <a:schemeClr val="accent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8" name="Slide Number Placeholder 7">
            <a:extLst>
              <a:ext uri="{FF2B5EF4-FFF2-40B4-BE49-F238E27FC236}">
                <a16:creationId xmlns:a16="http://schemas.microsoft.com/office/drawing/2014/main" id="{84DBF235-D80D-EEB8-A991-2C289DE664B7}"/>
              </a:ext>
            </a:extLst>
          </p:cNvPr>
          <p:cNvSpPr>
            <a:spLocks noGrp="1"/>
          </p:cNvSpPr>
          <p:nvPr>
            <p:ph type="sldNum" sz="quarter" idx="45"/>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25FDF979-A625-9217-77A2-9E81B6BD5C6F}"/>
              </a:ext>
            </a:extLst>
          </p:cNvPr>
          <p:cNvSpPr>
            <a:spLocks noGrp="1"/>
          </p:cNvSpPr>
          <p:nvPr>
            <p:ph type="title"/>
          </p:nvPr>
        </p:nvSpPr>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270B7BEF-58AC-E0F6-6E43-7F4C6D377258}"/>
              </a:ext>
            </a:extLst>
          </p:cNvPr>
          <p:cNvSpPr>
            <a:spLocks noGrp="1"/>
          </p:cNvSpPr>
          <p:nvPr>
            <p:ph type="body" sz="quarter" idx="47"/>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DD4EB1AE-0E89-AF0F-D9A3-06F7AB991F1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03270403-83F0-3B47-630C-9BCD11A26894}"/>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8F33EF61-933B-015D-20ED-607418487889}"/>
              </a:ext>
            </a:extLst>
          </p:cNvPr>
          <p:cNvSpPr>
            <a:spLocks noGrp="1"/>
          </p:cNvSpPr>
          <p:nvPr>
            <p:ph type="ftr" sz="quarter" idx="48"/>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71305257"/>
      </p:ext>
    </p:extLst>
  </p:cSld>
  <p:clrMapOvr>
    <a:masterClrMapping/>
  </p:clrMapOvr>
  <p:transition>
    <p:wip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9 - Copy, desktop scree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D2C786-26F2-804A-9AF7-E05CB6D34242}"/>
              </a:ext>
            </a:extLst>
          </p:cNvPr>
          <p:cNvPicPr>
            <a:picLocks noChangeAspect="1"/>
          </p:cNvPicPr>
          <p:nvPr userDrawn="1"/>
        </p:nvPicPr>
        <p:blipFill>
          <a:blip r:embed="rId2"/>
          <a:stretch>
            <a:fillRect/>
          </a:stretch>
        </p:blipFill>
        <p:spPr>
          <a:xfrm>
            <a:off x="4903649" y="1296784"/>
            <a:ext cx="6180515" cy="4478170"/>
          </a:xfrm>
          <a:prstGeom prst="rect">
            <a:avLst/>
          </a:prstGeom>
        </p:spPr>
      </p:pic>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576262" y="1439863"/>
            <a:ext cx="3997431" cy="4099787"/>
          </a:xfrm>
          <a:prstGeom prst="rect">
            <a:avLst/>
          </a:prstGeom>
        </p:spPr>
        <p:txBody>
          <a:bodyPr/>
          <a:lstStyle>
            <a:lvl1pPr>
              <a:defRPr>
                <a:solidFill>
                  <a:srgbClr val="00485E"/>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5D0B464D-7668-D417-62C3-87EF6AAF73AC}"/>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11" name="Text Placeholder 5">
            <a:extLst>
              <a:ext uri="{FF2B5EF4-FFF2-40B4-BE49-F238E27FC236}">
                <a16:creationId xmlns:a16="http://schemas.microsoft.com/office/drawing/2014/main" id="{D7E6A11E-FBFF-C5B5-3648-EC7C10F6CB22}"/>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2" name="Title 11">
            <a:extLst>
              <a:ext uri="{FF2B5EF4-FFF2-40B4-BE49-F238E27FC236}">
                <a16:creationId xmlns:a16="http://schemas.microsoft.com/office/drawing/2014/main" id="{9CCC0936-20DF-5797-FC9B-434F2E9C6CBF}"/>
              </a:ext>
            </a:extLst>
          </p:cNvPr>
          <p:cNvSpPr>
            <a:spLocks noGrp="1"/>
          </p:cNvSpPr>
          <p:nvPr>
            <p:ph type="title"/>
          </p:nvPr>
        </p:nvSpPr>
        <p:spPr/>
        <p:txBody>
          <a:bodyPr/>
          <a:lstStyle/>
          <a:p>
            <a:r>
              <a:rPr lang="en-US"/>
              <a:t>Click to edit Master title style</a:t>
            </a:r>
            <a:endParaRPr lang="en-GB"/>
          </a:p>
        </p:txBody>
      </p:sp>
      <p:sp>
        <p:nvSpPr>
          <p:cNvPr id="2" name="Text Placeholder 7">
            <a:extLst>
              <a:ext uri="{FF2B5EF4-FFF2-40B4-BE49-F238E27FC236}">
                <a16:creationId xmlns:a16="http://schemas.microsoft.com/office/drawing/2014/main" id="{D3AB6E0C-BBB8-69C8-4CF4-F6E594D60FB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04A0D819-DC18-0237-FD2D-9325918E97BA}"/>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F7360186-1EFA-5FB6-3269-B98FE188C298}"/>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780305828"/>
      </p:ext>
    </p:extLst>
  </p:cSld>
  <p:clrMapOvr>
    <a:masterClrMapping/>
  </p:clrMapOvr>
  <p:transition>
    <p:wip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1 - Copy, laptop screen">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1B7B2CA-2425-4943-BC6E-45A527E6944B}"/>
              </a:ext>
            </a:extLst>
          </p:cNvPr>
          <p:cNvSpPr>
            <a:spLocks noGrp="1"/>
          </p:cNvSpPr>
          <p:nvPr>
            <p:ph type="body" sz="quarter" idx="17"/>
          </p:nvPr>
        </p:nvSpPr>
        <p:spPr>
          <a:xfrm>
            <a:off x="576262" y="1439863"/>
            <a:ext cx="3997431" cy="4099787"/>
          </a:xfrm>
          <a:prstGeom prst="rect">
            <a:avLst/>
          </a:prstGeom>
        </p:spPr>
        <p:txBody>
          <a:bodyPr/>
          <a:lstStyle>
            <a:lvl1pPr>
              <a:defRPr>
                <a:solidFill>
                  <a:srgbClr val="00485E"/>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91F6088E-2EB6-4C41-ACC6-1F986B3DB268}"/>
              </a:ext>
            </a:extLst>
          </p:cNvPr>
          <p:cNvPicPr>
            <a:picLocks noChangeAspect="1"/>
          </p:cNvPicPr>
          <p:nvPr userDrawn="1"/>
        </p:nvPicPr>
        <p:blipFill>
          <a:blip r:embed="rId2"/>
          <a:stretch>
            <a:fillRect/>
          </a:stretch>
        </p:blipFill>
        <p:spPr>
          <a:xfrm>
            <a:off x="4553415" y="1340652"/>
            <a:ext cx="6507600" cy="4075405"/>
          </a:xfrm>
          <a:prstGeom prst="rect">
            <a:avLst/>
          </a:prstGeom>
        </p:spPr>
      </p:pic>
      <p:sp>
        <p:nvSpPr>
          <p:cNvPr id="10" name="Slide Number Placeholder 9">
            <a:extLst>
              <a:ext uri="{FF2B5EF4-FFF2-40B4-BE49-F238E27FC236}">
                <a16:creationId xmlns:a16="http://schemas.microsoft.com/office/drawing/2014/main" id="{FC2C1A79-3044-A3A2-2B76-8FBC33F36DA0}"/>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28B2A25B-1B50-E54A-1990-C71DC8C92E0C}"/>
              </a:ext>
            </a:extLst>
          </p:cNvPr>
          <p:cNvSpPr>
            <a:spLocks noGrp="1"/>
          </p:cNvSpPr>
          <p:nvPr>
            <p:ph type="title"/>
          </p:nvPr>
        </p:nvSpPr>
        <p:spPr/>
        <p:txBody>
          <a:bodyPr/>
          <a:lstStyle/>
          <a:p>
            <a:r>
              <a:rPr lang="en-US"/>
              <a:t>Click to edit Master title style</a:t>
            </a:r>
            <a:endParaRPr lang="en-GB"/>
          </a:p>
        </p:txBody>
      </p:sp>
      <p:sp>
        <p:nvSpPr>
          <p:cNvPr id="12" name="Text Placeholder 5">
            <a:extLst>
              <a:ext uri="{FF2B5EF4-FFF2-40B4-BE49-F238E27FC236}">
                <a16:creationId xmlns:a16="http://schemas.microsoft.com/office/drawing/2014/main" id="{7D3AB40D-AD01-7DBC-55D3-A927B62F9E65}"/>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2F7EA8A5-C8D9-F4DA-9127-977C37D1B37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A5AA51E5-25A5-162A-250E-FB26E7A36B82}"/>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E38D0BBF-437B-51E0-ECA6-EC28783EFE85}"/>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645999816"/>
      </p:ext>
    </p:extLst>
  </p:cSld>
  <p:clrMapOvr>
    <a:masterClrMapping/>
  </p:clrMapOvr>
  <p:transitio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 2 row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5999" y="3564000"/>
            <a:ext cx="10368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5999" y="1439863"/>
            <a:ext cx="10368225" cy="287338"/>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3"/>
          </p:nvPr>
        </p:nvSpPr>
        <p:spPr>
          <a:xfrm>
            <a:off x="575999" y="1727202"/>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4"/>
          </p:nvPr>
        </p:nvSpPr>
        <p:spPr>
          <a:xfrm>
            <a:off x="575999" y="3853138"/>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0059966-F1E5-F92C-4885-151774AB91FD}"/>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E2433C84-0ABE-CAB6-2E0F-33677CE3580F}"/>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EAF738C-CD63-46C5-BD4F-19058B8CB648}"/>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0" name="Source">
            <a:extLst>
              <a:ext uri="{FF2B5EF4-FFF2-40B4-BE49-F238E27FC236}">
                <a16:creationId xmlns:a16="http://schemas.microsoft.com/office/drawing/2014/main" id="{E37FFFD3-EE51-5231-6A75-9F900AC8CD08}"/>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388F0923-CD7D-9D2B-BD82-14BEDBCF5C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045775786"/>
      </p:ext>
    </p:extLst>
  </p:cSld>
  <p:clrMapOvr>
    <a:masterClrMapping/>
  </p:clrMapOvr>
  <p:extLst>
    <p:ext uri="{DCECCB84-F9BA-43D5-87BE-67443E8EF086}">
      <p15:sldGuideLst xmlns:p15="http://schemas.microsoft.com/office/powerpoint/2012/main">
        <p15:guide id="2" orient="horz" pos="2245" userDrawn="1">
          <p15:clr>
            <a:srgbClr val="FBAE40"/>
          </p15:clr>
        </p15:guide>
        <p15:guide id="3" orient="horz" pos="2427"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52 - Copy, 3 mobile phone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FD82E5F-1EF8-DB47-8260-B1099DCC049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617302" y="1351090"/>
            <a:ext cx="2180396" cy="4436565"/>
          </a:xfrm>
          <a:prstGeom prst="rect">
            <a:avLst/>
          </a:prstGeom>
        </p:spPr>
      </p:pic>
      <p:pic>
        <p:nvPicPr>
          <p:cNvPr id="9" name="Picture 8">
            <a:extLst>
              <a:ext uri="{FF2B5EF4-FFF2-40B4-BE49-F238E27FC236}">
                <a16:creationId xmlns:a16="http://schemas.microsoft.com/office/drawing/2014/main" id="{43822A83-E583-5C4E-A595-219495CAE48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261108" y="1351090"/>
            <a:ext cx="2180396" cy="4436565"/>
          </a:xfrm>
          <a:prstGeom prst="rect">
            <a:avLst/>
          </a:prstGeom>
        </p:spPr>
      </p:pic>
      <p:pic>
        <p:nvPicPr>
          <p:cNvPr id="10" name="Picture 9">
            <a:extLst>
              <a:ext uri="{FF2B5EF4-FFF2-40B4-BE49-F238E27FC236}">
                <a16:creationId xmlns:a16="http://schemas.microsoft.com/office/drawing/2014/main" id="{1D5E971E-DD71-8E45-B495-6C356E66C14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891066" y="1351090"/>
            <a:ext cx="2180396" cy="4436565"/>
          </a:xfrm>
          <a:prstGeom prst="rect">
            <a:avLst/>
          </a:prstGeom>
        </p:spPr>
      </p:pic>
      <p:sp>
        <p:nvSpPr>
          <p:cNvPr id="11" name="Text Placeholder 7">
            <a:extLst>
              <a:ext uri="{FF2B5EF4-FFF2-40B4-BE49-F238E27FC236}">
                <a16:creationId xmlns:a16="http://schemas.microsoft.com/office/drawing/2014/main" id="{4CC6103D-129E-3749-8D59-8E015BEE9FDB}"/>
              </a:ext>
            </a:extLst>
          </p:cNvPr>
          <p:cNvSpPr>
            <a:spLocks noGrp="1"/>
          </p:cNvSpPr>
          <p:nvPr>
            <p:ph type="body" sz="quarter" idx="17"/>
          </p:nvPr>
        </p:nvSpPr>
        <p:spPr>
          <a:xfrm>
            <a:off x="576263" y="1727200"/>
            <a:ext cx="2840037" cy="3817937"/>
          </a:xfrm>
          <a:prstGeom prst="rect">
            <a:avLst/>
          </a:prstGeom>
        </p:spPr>
        <p:txBody>
          <a:bodyPr/>
          <a:lstStyle>
            <a:lvl1pPr>
              <a:defRPr>
                <a:solidFill>
                  <a:srgbClr val="00485E"/>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488AFBF5-1950-4F96-FF14-3F8BCD9CF74E}"/>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5" name="Title 4">
            <a:extLst>
              <a:ext uri="{FF2B5EF4-FFF2-40B4-BE49-F238E27FC236}">
                <a16:creationId xmlns:a16="http://schemas.microsoft.com/office/drawing/2014/main" id="{1E7F9B41-706A-AA9D-5E35-0EC1F93196B7}"/>
              </a:ext>
            </a:extLst>
          </p:cNvPr>
          <p:cNvSpPr>
            <a:spLocks noGrp="1"/>
          </p:cNvSpPr>
          <p:nvPr>
            <p:ph type="title"/>
          </p:nvPr>
        </p:nvSpPr>
        <p:spPr/>
        <p:txBody>
          <a:bodyPr/>
          <a:lstStyle/>
          <a:p>
            <a:r>
              <a:rPr lang="en-US"/>
              <a:t>Click to edit Master title style</a:t>
            </a:r>
            <a:endParaRPr lang="en-GB"/>
          </a:p>
        </p:txBody>
      </p:sp>
      <p:sp>
        <p:nvSpPr>
          <p:cNvPr id="14" name="Text Placeholder 5">
            <a:extLst>
              <a:ext uri="{FF2B5EF4-FFF2-40B4-BE49-F238E27FC236}">
                <a16:creationId xmlns:a16="http://schemas.microsoft.com/office/drawing/2014/main" id="{D2A23E19-2A24-33BA-1CDF-C1FFE943DCDF}"/>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2" name="Text Placeholder 7">
            <a:extLst>
              <a:ext uri="{FF2B5EF4-FFF2-40B4-BE49-F238E27FC236}">
                <a16:creationId xmlns:a16="http://schemas.microsoft.com/office/drawing/2014/main" id="{B9DA475A-8DFA-AB04-436D-9A18891CFF2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308B5267-4536-3F55-F049-49441A7A59B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14ADAF50-B673-6DAB-B5E5-3107C4B55E8D}"/>
              </a:ext>
            </a:extLst>
          </p:cNvPr>
          <p:cNvSpPr>
            <a:spLocks noGrp="1"/>
          </p:cNvSpPr>
          <p:nvPr>
            <p:ph type="ftr" sz="quarter" idx="39"/>
          </p:nvPr>
        </p:nvSpPr>
        <p:spPr/>
        <p:txBody>
          <a:bodyPr/>
          <a:lstStyle/>
          <a:p>
            <a:r>
              <a:rPr lang="en-GB"/>
              <a:t>Information Classification: PUBLIC</a:t>
            </a:r>
            <a:endParaRPr lang="en-GB" dirty="0"/>
          </a:p>
        </p:txBody>
      </p:sp>
    </p:spTree>
    <p:extLst>
      <p:ext uri="{BB962C8B-B14F-4D97-AF65-F5344CB8AC3E}">
        <p14:creationId xmlns:p14="http://schemas.microsoft.com/office/powerpoint/2010/main" val="3372967760"/>
      </p:ext>
    </p:extLst>
  </p:cSld>
  <p:clrMapOvr>
    <a:masterClrMapping/>
  </p:clrMapOvr>
  <p:transition>
    <p:wip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55 - Copy, bleed photo">
    <p:spTree>
      <p:nvGrpSpPr>
        <p:cNvPr id="1" name=""/>
        <p:cNvGrpSpPr/>
        <p:nvPr/>
      </p:nvGrpSpPr>
      <p:grpSpPr>
        <a:xfrm>
          <a:off x="0" y="0"/>
          <a:ext cx="0" cy="0"/>
          <a:chOff x="0" y="0"/>
          <a:chExt cx="0" cy="0"/>
        </a:xfrm>
      </p:grpSpPr>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5903913" y="0"/>
            <a:ext cx="5616575" cy="6480175"/>
          </a:xfrm>
          <a:prstGeom prst="rect">
            <a:avLst/>
          </a:prstGeom>
          <a:solidFill>
            <a:srgbClr val="808183"/>
          </a:solidFill>
          <a:ln>
            <a:noFill/>
          </a:ln>
        </p:spPr>
        <p:txBody>
          <a:bodyPr/>
          <a:lstStyle>
            <a:lvl1pPr>
              <a:defRPr>
                <a:latin typeface="Avenir Next LT Pro" panose="020B0504020202020204" pitchFamily="34" charset="77"/>
              </a:defRPr>
            </a:lvl1pPr>
          </a:lstStyle>
          <a:p>
            <a:endParaRPr lang="en-US" dirty="0"/>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576262" y="1439863"/>
            <a:ext cx="5040313" cy="4105275"/>
          </a:xfrm>
          <a:prstGeom prst="rect">
            <a:avLst/>
          </a:prstGeom>
          <a:noFill/>
        </p:spPr>
        <p:txBody>
          <a:bodyPr lIns="0" tIns="0" rIns="0"/>
          <a:lstStyle>
            <a:lvl1pPr>
              <a:defRPr>
                <a:solidFill>
                  <a:srgbClr val="00485E"/>
                </a:solidFill>
                <a:latin typeface="Avenir Next LT Pro" panose="020B0504020202020204" pitchFamily="34" charset="77"/>
              </a:defRPr>
            </a:lvl1pPr>
            <a:lvl2pPr>
              <a:defRPr>
                <a:solidFill>
                  <a:schemeClr val="tx2"/>
                </a:solidFill>
                <a:latin typeface="Avenir Next LT Pro" panose="020B0504020202020204" pitchFamily="34" charset="77"/>
              </a:defRPr>
            </a:lvl2pPr>
            <a:lvl3pPr>
              <a:defRPr>
                <a:solidFill>
                  <a:schemeClr val="tx2"/>
                </a:solidFill>
                <a:latin typeface="Avenir Next LT Pro" panose="020B0504020202020204" pitchFamily="34" charset="77"/>
              </a:defRPr>
            </a:lvl3pPr>
            <a:lvl4pPr>
              <a:defRPr>
                <a:solidFill>
                  <a:schemeClr val="tx2"/>
                </a:solidFill>
                <a:latin typeface="Avenir Next LT Pro" panose="020B0504020202020204" pitchFamily="34" charset="77"/>
              </a:defRPr>
            </a:lvl4pPr>
            <a:lvl5pPr>
              <a:defRPr>
                <a:solidFill>
                  <a:schemeClr val="tx2"/>
                </a:solidFill>
                <a:latin typeface="Avenir Next LT Pro" panose="020B0504020202020204" pitchFamily="34" charset="7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B070E90E-B791-E59F-826B-98AD01893BF2}"/>
              </a:ext>
            </a:extLst>
          </p:cNvPr>
          <p:cNvSpPr>
            <a:spLocks noGrp="1"/>
          </p:cNvSpPr>
          <p:nvPr>
            <p:ph type="sldNum" sz="quarter" idx="27"/>
          </p:nvPr>
        </p:nvSpPr>
        <p:spPr/>
        <p:txBody>
          <a:bodyPr/>
          <a:lstStyle/>
          <a:p>
            <a:fld id="{0F961903-03AF-4EAC-BF2C-945F8C5557D1}" type="slidenum">
              <a:rPr lang="en-GB" smtClean="0"/>
              <a:pPr/>
              <a:t>‹#›</a:t>
            </a:fld>
            <a:endParaRPr lang="en-GB" dirty="0"/>
          </a:p>
        </p:txBody>
      </p:sp>
      <p:sp>
        <p:nvSpPr>
          <p:cNvPr id="9" name="Text Placeholder 5">
            <a:extLst>
              <a:ext uri="{FF2B5EF4-FFF2-40B4-BE49-F238E27FC236}">
                <a16:creationId xmlns:a16="http://schemas.microsoft.com/office/drawing/2014/main" id="{29293FD8-0998-F75C-0F62-FA20CA698A53}"/>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5F0B263A-2C19-72CF-7CC5-52FC599CD4A8}"/>
              </a:ext>
            </a:extLst>
          </p:cNvPr>
          <p:cNvSpPr>
            <a:spLocks noGrp="1"/>
          </p:cNvSpPr>
          <p:nvPr>
            <p:ph type="title"/>
          </p:nvPr>
        </p:nvSpPr>
        <p:spPr/>
        <p:txBody>
          <a:bodyPr/>
          <a:lstStyle/>
          <a:p>
            <a:r>
              <a:rPr lang="en-US"/>
              <a:t>Click to edit Master title style</a:t>
            </a:r>
            <a:endParaRPr lang="en-GB"/>
          </a:p>
        </p:txBody>
      </p:sp>
      <p:sp>
        <p:nvSpPr>
          <p:cNvPr id="7" name="Text Placeholder 7">
            <a:extLst>
              <a:ext uri="{FF2B5EF4-FFF2-40B4-BE49-F238E27FC236}">
                <a16:creationId xmlns:a16="http://schemas.microsoft.com/office/drawing/2014/main" id="{2805AE18-BF24-C5C0-3EA1-69963859BF9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00485E"/>
                </a:solidFill>
                <a:latin typeface="Avenir Next LT Pro" panose="020B0504020202020204" pitchFamily="34" charset="77"/>
              </a:defRPr>
            </a:lvl1pPr>
          </a:lstStyle>
          <a:p>
            <a:pPr lvl="0"/>
            <a:r>
              <a:rPr lang="en-US" dirty="0"/>
              <a:t>LOB OR SECTION TITLE (ALL CAPS) – AVENIR NEXT 9PT</a:t>
            </a:r>
          </a:p>
        </p:txBody>
      </p:sp>
      <p:sp>
        <p:nvSpPr>
          <p:cNvPr id="4" name="Source">
            <a:extLst>
              <a:ext uri="{FF2B5EF4-FFF2-40B4-BE49-F238E27FC236}">
                <a16:creationId xmlns:a16="http://schemas.microsoft.com/office/drawing/2014/main" id="{A79B23CC-08C0-2467-F8E1-5B0D46034D0E}"/>
              </a:ext>
            </a:extLst>
          </p:cNvPr>
          <p:cNvSpPr>
            <a:spLocks noGrp="1"/>
          </p:cNvSpPr>
          <p:nvPr>
            <p:ph sz="quarter" idx="12" hasCustomPrompt="1"/>
          </p:nvPr>
        </p:nvSpPr>
        <p:spPr>
          <a:xfrm>
            <a:off x="576263" y="5723913"/>
            <a:ext cx="10367962" cy="180000"/>
          </a:xfrm>
        </p:spPr>
        <p:txBody>
          <a:bodyPr anchor="b" anchorCtr="0"/>
          <a:lstStyle>
            <a:lvl1pPr marL="0" indent="0" algn="l">
              <a:lnSpc>
                <a:spcPct val="100000"/>
              </a:lnSpc>
              <a:spcBef>
                <a:spcPts val="0"/>
              </a:spcBef>
              <a:spcAft>
                <a:spcPts val="300"/>
              </a:spcAft>
              <a:defRPr sz="700" b="0" spc="0" baseline="0">
                <a:solidFill>
                  <a:schemeClr val="tx2"/>
                </a:solidFill>
                <a:latin typeface="+mn-lt"/>
              </a:defRPr>
            </a:lvl1pPr>
            <a:lvl2pPr marL="0" indent="0" algn="l">
              <a:spcAft>
                <a:spcPts val="300"/>
              </a:spcAft>
              <a:defRPr sz="800"/>
            </a:lvl2pPr>
            <a:lvl3pPr marL="0" indent="0" algn="l">
              <a:spcAft>
                <a:spcPts val="0"/>
              </a:spcAft>
              <a:buNone/>
              <a:defRPr sz="800"/>
            </a:lvl3pPr>
            <a:lvl4pPr marL="0" indent="0" algn="l">
              <a:spcAft>
                <a:spcPts val="300"/>
              </a:spcAft>
              <a:buNone/>
              <a:defRPr sz="800"/>
            </a:lvl4pPr>
            <a:lvl5pPr marL="0" indent="0" algn="l">
              <a:spcAft>
                <a:spcPts val="300"/>
              </a:spcAft>
              <a:buNone/>
              <a:defRPr sz="800"/>
            </a:lvl5pPr>
          </a:lstStyle>
          <a:p>
            <a:pPr lvl="0"/>
            <a:r>
              <a:rPr lang="en-US" dirty="0"/>
              <a:t>Disclaimer text if required level 1</a:t>
            </a:r>
          </a:p>
        </p:txBody>
      </p:sp>
      <p:sp>
        <p:nvSpPr>
          <p:cNvPr id="3" name="Footer Placeholder 2">
            <a:extLst>
              <a:ext uri="{FF2B5EF4-FFF2-40B4-BE49-F238E27FC236}">
                <a16:creationId xmlns:a16="http://schemas.microsoft.com/office/drawing/2014/main" id="{E845A0D9-9D61-608E-415B-428FFC5C7F9E}"/>
              </a:ext>
            </a:extLst>
          </p:cNvPr>
          <p:cNvSpPr>
            <a:spLocks noGrp="1"/>
          </p:cNvSpPr>
          <p:nvPr>
            <p:ph type="ftr" sz="quarter" idx="39"/>
          </p:nvPr>
        </p:nvSpPr>
        <p:spPr/>
        <p:txBody>
          <a:bodyPr/>
          <a:lstStyle/>
          <a:p>
            <a:r>
              <a:rPr lang="en-GB"/>
              <a:t>Information Classification: PUBLIC</a:t>
            </a:r>
            <a:endParaRPr lang="en-GB" dirty="0"/>
          </a:p>
        </p:txBody>
      </p:sp>
      <p:pic>
        <p:nvPicPr>
          <p:cNvPr id="5" name="Picture 4">
            <a:extLst>
              <a:ext uri="{FF2B5EF4-FFF2-40B4-BE49-F238E27FC236}">
                <a16:creationId xmlns:a16="http://schemas.microsoft.com/office/drawing/2014/main" id="{BA9CB07D-3469-D99A-9847-605A1922B859}"/>
              </a:ext>
            </a:extLst>
          </p:cNvPr>
          <p:cNvPicPr>
            <a:picLocks noChangeAspect="1"/>
          </p:cNvPicPr>
          <p:nvPr userDrawn="1"/>
        </p:nvPicPr>
        <p:blipFill>
          <a:blip r:embed="rId2"/>
          <a:stretch>
            <a:fillRect/>
          </a:stretch>
        </p:blipFill>
        <p:spPr>
          <a:xfrm>
            <a:off x="9354396" y="6114934"/>
            <a:ext cx="1893795" cy="152200"/>
          </a:xfrm>
          <a:prstGeom prst="rect">
            <a:avLst/>
          </a:prstGeom>
        </p:spPr>
      </p:pic>
    </p:spTree>
    <p:extLst>
      <p:ext uri="{BB962C8B-B14F-4D97-AF65-F5344CB8AC3E}">
        <p14:creationId xmlns:p14="http://schemas.microsoft.com/office/powerpoint/2010/main" val="2950027343"/>
      </p:ext>
    </p:extLst>
  </p:cSld>
  <p:clrMapOvr>
    <a:masterClrMapping/>
  </p:clrMapOvr>
  <p:transition>
    <p:wipe/>
  </p:transition>
  <p:extLst>
    <p:ext uri="{DCECCB84-F9BA-43D5-87BE-67443E8EF086}">
      <p15:sldGuideLst xmlns:p15="http://schemas.microsoft.com/office/powerpoint/2012/main">
        <p15:guide id="1" pos="3719">
          <p15:clr>
            <a:srgbClr val="FBAE40"/>
          </p15:clr>
        </p15:guide>
        <p15:guide id="2" pos="353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 column / 1 row content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4" name="Content Placeholder 3"/>
          <p:cNvSpPr>
            <a:spLocks noGrp="1"/>
          </p:cNvSpPr>
          <p:nvPr>
            <p:ph sz="quarter" idx="35"/>
          </p:nvPr>
        </p:nvSpPr>
        <p:spPr>
          <a:xfrm>
            <a:off x="4140244"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quarter" idx="36"/>
          </p:nvPr>
        </p:nvSpPr>
        <p:spPr>
          <a:xfrm>
            <a:off x="7704225" y="1439861"/>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C81F6ED6-A4BF-2FB1-71FD-DDCECB305ED2}"/>
              </a:ext>
            </a:extLst>
          </p:cNvPr>
          <p:cNvSpPr>
            <a:spLocks noGrp="1"/>
          </p:cNvSpPr>
          <p:nvPr>
            <p:ph type="body" sz="quarter" idx="11"/>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F803EAB-132F-D9A4-7708-1716A4EEEB4C}"/>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8" name="Footer Placeholder 7">
            <a:extLst>
              <a:ext uri="{FF2B5EF4-FFF2-40B4-BE49-F238E27FC236}">
                <a16:creationId xmlns:a16="http://schemas.microsoft.com/office/drawing/2014/main" id="{4156B3A0-33FC-82FD-0F59-2F36B080F321}"/>
              </a:ext>
            </a:extLst>
          </p:cNvPr>
          <p:cNvSpPr>
            <a:spLocks noGrp="1"/>
          </p:cNvSpPr>
          <p:nvPr>
            <p:ph type="ftr" sz="quarter" idx="37"/>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10" name="Source">
            <a:extLst>
              <a:ext uri="{FF2B5EF4-FFF2-40B4-BE49-F238E27FC236}">
                <a16:creationId xmlns:a16="http://schemas.microsoft.com/office/drawing/2014/main" id="{55C96CE3-8A6E-C356-6ABA-1CFE0CBF6A39}"/>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F118757F-522A-B0CB-DF1E-C5271902E03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9" name="Picture 8">
            <a:extLst>
              <a:ext uri="{FF2B5EF4-FFF2-40B4-BE49-F238E27FC236}">
                <a16:creationId xmlns:a16="http://schemas.microsoft.com/office/drawing/2014/main" id="{C1AEA089-BF8E-D23C-5806-0D9E9BBCE0A3}"/>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3144859581"/>
      </p:ext>
    </p:extLst>
  </p:cSld>
  <p:clrMapOvr>
    <a:masterClrMapping/>
  </p:clrMapOvr>
  <p:extLst>
    <p:ext uri="{DCECCB84-F9BA-43D5-87BE-67443E8EF086}">
      <p15:sldGuideLst xmlns:p15="http://schemas.microsoft.com/office/powerpoint/2012/main">
        <p15:guide id="1" pos="2608" userDrawn="1">
          <p15:clr>
            <a:srgbClr val="FBAE40"/>
          </p15:clr>
        </p15:guide>
        <p15:guide id="2" pos="2404" userDrawn="1">
          <p15:clr>
            <a:srgbClr val="FBAE40"/>
          </p15:clr>
        </p15:guide>
        <p15:guide id="3" pos="4649" userDrawn="1">
          <p15:clr>
            <a:srgbClr val="FBAE40"/>
          </p15:clr>
        </p15:guide>
        <p15:guide id="4" pos="4853"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5"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4"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4B137546-4981-7744-91DC-2E34648D15BD}"/>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CC9AE75C-879E-4A30-493C-56E336421B44}"/>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A6F7966-9C58-8CD0-EB54-7949A36B2D5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097008205"/>
      </p:ext>
    </p:extLst>
  </p:cSld>
  <p:clrMapOvr>
    <a:masterClrMapping/>
  </p:clrMapOvr>
  <p:extLst>
    <p:ext uri="{DCECCB84-F9BA-43D5-87BE-67443E8EF086}">
      <p15:sldGuideLst xmlns:p15="http://schemas.microsoft.com/office/powerpoint/2012/main">
        <p15:guide id="1" pos="2608" userDrawn="1">
          <p15:clr>
            <a:srgbClr val="FBAE40"/>
          </p15:clr>
        </p15:guide>
        <p15:guide id="2" pos="2404" userDrawn="1">
          <p15:clr>
            <a:srgbClr val="FBAE40"/>
          </p15:clr>
        </p15:guide>
        <p15:guide id="3" pos="4649" userDrawn="1">
          <p15:clr>
            <a:srgbClr val="FBAE40"/>
          </p15:clr>
        </p15:guide>
        <p15:guide id="4" pos="4853"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7703780"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021"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20"/>
          </p:nvPr>
        </p:nvSpPr>
        <p:spPr>
          <a:xfrm>
            <a:off x="576263"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p:cNvSpPr>
            <a:spLocks noGrp="1"/>
          </p:cNvSpPr>
          <p:nvPr>
            <p:ph sz="quarter" idx="21"/>
          </p:nvPr>
        </p:nvSpPr>
        <p:spPr>
          <a:xfrm>
            <a:off x="4140021"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p:cNvSpPr>
            <a:spLocks noGrp="1"/>
          </p:cNvSpPr>
          <p:nvPr>
            <p:ph sz="quarter" idx="22"/>
          </p:nvPr>
        </p:nvSpPr>
        <p:spPr>
          <a:xfrm>
            <a:off x="7704225"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23"/>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1BB28D4C-0BFA-C698-9C0C-A247DB4AE46B}"/>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4AE33DC0-053B-603D-970B-1BC65594FF96}"/>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B16B62F7-F764-0E16-5F75-E5754DE1F541}"/>
              </a:ext>
            </a:extLst>
          </p:cNvPr>
          <p:cNvSpPr>
            <a:spLocks noGrp="1"/>
          </p:cNvSpPr>
          <p:nvPr>
            <p:ph type="ftr" sz="quarter" idx="2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F377B91D-27A2-3575-1DE7-AA4B039F8EB0}"/>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6072A373-88D4-F85D-8E0D-C8817D21B0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96233102"/>
      </p:ext>
    </p:extLst>
  </p:cSld>
  <p:clrMapOvr>
    <a:masterClrMapping/>
  </p:clrMapOvr>
  <p:extLst>
    <p:ext uri="{DCECCB84-F9BA-43D5-87BE-67443E8EF086}">
      <p15:sldGuideLst xmlns:p15="http://schemas.microsoft.com/office/powerpoint/2012/main">
        <p15:guide id="2" pos="2404" userDrawn="1">
          <p15:clr>
            <a:srgbClr val="FBAE40"/>
          </p15:clr>
        </p15:guide>
        <p15:guide id="3" pos="2608" userDrawn="1">
          <p15:clr>
            <a:srgbClr val="FBAE40"/>
          </p15:clr>
        </p15:guide>
        <p15:guide id="4" pos="4649" userDrawn="1">
          <p15:clr>
            <a:srgbClr val="FBAE40"/>
          </p15:clr>
        </p15:guide>
        <p15:guide id="5" pos="485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02_Front Cov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4"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7C5657AB-1729-1F49-7D1D-4EEB097B321D}"/>
              </a:ext>
            </a:extLst>
          </p:cNvPr>
          <p:cNvSpPr/>
          <p:nvPr userDrawn="1"/>
        </p:nvSpPr>
        <p:spPr>
          <a:xfrm>
            <a:off x="0" y="22831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pic>
        <p:nvPicPr>
          <p:cNvPr id="4" name="Picture 3">
            <a:extLst>
              <a:ext uri="{FF2B5EF4-FFF2-40B4-BE49-F238E27FC236}">
                <a16:creationId xmlns:a16="http://schemas.microsoft.com/office/drawing/2014/main" id="{E134C66C-0649-3F97-585B-D8F610274364}"/>
              </a:ext>
            </a:extLst>
          </p:cNvPr>
          <p:cNvPicPr>
            <a:picLocks noChangeAspect="1"/>
          </p:cNvPicPr>
          <p:nvPr userDrawn="1"/>
        </p:nvPicPr>
        <p:blipFill>
          <a:blip r:embed="rId2"/>
          <a:stretch>
            <a:fillRect/>
          </a:stretch>
        </p:blipFill>
        <p:spPr>
          <a:xfrm>
            <a:off x="8385530" y="5910233"/>
            <a:ext cx="2606936" cy="209513"/>
          </a:xfrm>
          <a:prstGeom prst="rect">
            <a:avLst/>
          </a:prstGeom>
        </p:spPr>
      </p:pic>
    </p:spTree>
    <p:extLst>
      <p:ext uri="{BB962C8B-B14F-4D97-AF65-F5344CB8AC3E}">
        <p14:creationId xmlns:p14="http://schemas.microsoft.com/office/powerpoint/2010/main" val="420308125"/>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left / 2 row / 3 holders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3913" y="3565138"/>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3913" y="1439864"/>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312"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26698D0-2521-64ED-8751-7B6D3592AC9A}"/>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9611A02-A2DC-3B9E-5EF4-D4582A30796F}"/>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E15DFDD-E668-F9EE-59A3-742D286200DE}"/>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F7BDC071-74DE-E678-7195-C8A05BEF5C1E}"/>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DA6D802-D6D7-C2D4-610B-48FF9C7C527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751133529"/>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3" pos="3719">
          <p15:clr>
            <a:srgbClr val="FBAE40"/>
          </p15:clr>
        </p15:guide>
        <p15:guide id="4" orient="horz" pos="2154"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left / 2 row / 3 content /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0" y="3565138"/>
            <a:ext cx="5040225"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863"/>
            <a:ext cx="5040225" cy="288000"/>
          </a:xfrm>
        </p:spPr>
        <p:txBody>
          <a:bodyPr/>
          <a:lstStyle>
            <a:lvl1pPr algn="ctr">
              <a:defRPr cap="all" spc="0" baseline="0"/>
            </a:lvl1pPr>
          </a:lstStyle>
          <a:p>
            <a:pPr lvl="0"/>
            <a:r>
              <a:rPr lang="en-US" dirty="0"/>
              <a:t>Single line heading</a:t>
            </a:r>
          </a:p>
        </p:txBody>
      </p:sp>
      <p:sp>
        <p:nvSpPr>
          <p:cNvPr id="12" name="Text Placeholder 12"/>
          <p:cNvSpPr>
            <a:spLocks noGrp="1"/>
          </p:cNvSpPr>
          <p:nvPr>
            <p:ph type="body" sz="quarter" idx="32" hasCustomPrompt="1"/>
          </p:nvPr>
        </p:nvSpPr>
        <p:spPr>
          <a:xfrm>
            <a:off x="576576"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575" y="1727863"/>
            <a:ext cx="5040000"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0" y="1727863"/>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904000" y="3853138"/>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22BA321-2CD4-3A08-93E3-C8C284B7441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1DD39DFC-DD77-E691-5507-50B85487AA6E}"/>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8214A525-F2DA-6761-FEAD-E4FC7E89436A}"/>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AF7B590F-305F-13AB-92D2-6C7C60939BE8}"/>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C1083F14-78BF-C3DB-606D-CB1ACE43FF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901831669"/>
      </p:ext>
    </p:extLst>
  </p:cSld>
  <p:clrMapOvr>
    <a:masterClrMapping/>
  </p:clrMapOvr>
  <p:extLst>
    <p:ext uri="{DCECCB84-F9BA-43D5-87BE-67443E8EF086}">
      <p15:sldGuideLst xmlns:p15="http://schemas.microsoft.com/office/powerpoint/2012/main">
        <p15:guide id="1" pos="3538">
          <p15:clr>
            <a:srgbClr val="FBAE40"/>
          </p15:clr>
        </p15:guide>
        <p15:guide id="4" orient="horz" pos="2245" userDrawn="1">
          <p15:clr>
            <a:srgbClr val="FBAE40"/>
          </p15:clr>
        </p15:guide>
        <p15:guide id="5" pos="3719">
          <p15:clr>
            <a:srgbClr val="FBAE40"/>
          </p15:clr>
        </p15:guide>
        <p15:guide id="6" orient="horz" pos="2154" userDrawn="1">
          <p15:clr>
            <a:srgbClr val="FBAE40"/>
          </p15:clr>
        </p15:guide>
        <p15:guide id="7" orient="horz" pos="242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right / 2 row / 3 holders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903913" y="1439863"/>
            <a:ext cx="5040312"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Content Placeholder 3"/>
          <p:cNvSpPr>
            <a:spLocks noGrp="1"/>
          </p:cNvSpPr>
          <p:nvPr>
            <p:ph sz="quarter" idx="36"/>
          </p:nvPr>
        </p:nvSpPr>
        <p:spPr>
          <a:xfrm>
            <a:off x="576263" y="3565138"/>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76263" y="1439862"/>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0D62CA40-C446-DE3A-3F62-1CD2523FFED4}"/>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CEA01CF5-1536-7364-56D6-B82AE92DC6F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Footer Placeholder 7">
            <a:extLst>
              <a:ext uri="{FF2B5EF4-FFF2-40B4-BE49-F238E27FC236}">
                <a16:creationId xmlns:a16="http://schemas.microsoft.com/office/drawing/2014/main" id="{C909C0EF-9646-F91C-67D7-6178814578EA}"/>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3A48A4B8-29DC-BFCA-A18D-3D85857E4036}"/>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30D60C1-A2D2-7D48-E192-412E4C0CE4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918347759"/>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3" pos="3719">
          <p15:clr>
            <a:srgbClr val="FBAE40"/>
          </p15:clr>
        </p15:guide>
        <p15:guide id="4" orient="horz" pos="2154"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right / 2 row / 3 content / chart / table single head">
    <p:spTree>
      <p:nvGrpSpPr>
        <p:cNvPr id="1" name=""/>
        <p:cNvGrpSpPr/>
        <p:nvPr/>
      </p:nvGrpSpPr>
      <p:grpSpPr>
        <a:xfrm>
          <a:off x="0" y="0"/>
          <a:ext cx="0" cy="0"/>
          <a:chOff x="0" y="0"/>
          <a:chExt cx="0" cy="0"/>
        </a:xfrm>
      </p:grpSpPr>
      <p:sp>
        <p:nvSpPr>
          <p:cNvPr id="12" name="Text Placeholder 12"/>
          <p:cNvSpPr>
            <a:spLocks noGrp="1"/>
          </p:cNvSpPr>
          <p:nvPr>
            <p:ph type="body" sz="quarter" idx="31" hasCustomPrompt="1"/>
          </p:nvPr>
        </p:nvSpPr>
        <p:spPr>
          <a:xfrm>
            <a:off x="5904000" y="1439200"/>
            <a:ext cx="5040225" cy="288000"/>
          </a:xfrm>
        </p:spPr>
        <p:txBody>
          <a:bodyPr/>
          <a:lstStyle>
            <a:lvl1pPr algn="ctr">
              <a:defRPr cap="all" spc="0" baseline="0"/>
            </a:lvl1pPr>
          </a:lstStyle>
          <a:p>
            <a:pPr lvl="0"/>
            <a:r>
              <a:rPr lang="en-US" dirty="0"/>
              <a:t>Single line heading</a:t>
            </a:r>
          </a:p>
        </p:txBody>
      </p:sp>
      <p:sp>
        <p:nvSpPr>
          <p:cNvPr id="28" name="Text Placeholder 12"/>
          <p:cNvSpPr>
            <a:spLocks noGrp="1"/>
          </p:cNvSpPr>
          <p:nvPr>
            <p:ph type="body" sz="quarter" idx="25"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76262" y="1439200"/>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0" y="1727200"/>
            <a:ext cx="5040225"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76262"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E356C9DB-EDC0-8086-5F36-681E2917C961}"/>
              </a:ext>
            </a:extLst>
          </p:cNvPr>
          <p:cNvSpPr>
            <a:spLocks noGrp="1"/>
          </p:cNvSpPr>
          <p:nvPr>
            <p:ph type="title"/>
          </p:nvPr>
        </p:nvSpPr>
        <p:spPr/>
        <p:txBody>
          <a:bodyPr/>
          <a:lstStyle/>
          <a:p>
            <a:r>
              <a:rPr lang="en-US"/>
              <a:t>Click to edit Master title style</a:t>
            </a:r>
            <a:endParaRPr lang="en-GB"/>
          </a:p>
        </p:txBody>
      </p:sp>
      <p:sp>
        <p:nvSpPr>
          <p:cNvPr id="8" name="Text Placeholder 5">
            <a:extLst>
              <a:ext uri="{FF2B5EF4-FFF2-40B4-BE49-F238E27FC236}">
                <a16:creationId xmlns:a16="http://schemas.microsoft.com/office/drawing/2014/main" id="{13B50EBA-E808-3D67-C9C6-750D5B04E59D}"/>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Footer Placeholder 9">
            <a:extLst>
              <a:ext uri="{FF2B5EF4-FFF2-40B4-BE49-F238E27FC236}">
                <a16:creationId xmlns:a16="http://schemas.microsoft.com/office/drawing/2014/main" id="{4F190B68-2137-2F6A-56DD-68656101F5AA}"/>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331FD1C5-4DF1-2D95-6607-4B6653526549}"/>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6A92A633-2161-2680-45A7-DC1FDE66F17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963409546"/>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4" orient="horz" pos="2427" userDrawn="1">
          <p15:clr>
            <a:srgbClr val="FBAE40"/>
          </p15:clr>
        </p15:guide>
        <p15:guide id="5" pos="3719">
          <p15:clr>
            <a:srgbClr val="FBAE40"/>
          </p15:clr>
        </p15:guide>
        <p15:guide id="6" orient="horz" pos="215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D4096F1-C6EE-E82A-2476-9991E00C0123}"/>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47FCA9B0-2250-2F22-ACC8-2E7D0F31DF26}"/>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F9DE9AA-4E25-59F8-0E7B-E5537C5E43A3}"/>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Source">
            <a:extLst>
              <a:ext uri="{FF2B5EF4-FFF2-40B4-BE49-F238E27FC236}">
                <a16:creationId xmlns:a16="http://schemas.microsoft.com/office/drawing/2014/main" id="{119E2084-2880-8785-5465-53B08AF8A72D}"/>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9" name="Text Placeholder 7">
            <a:extLst>
              <a:ext uri="{FF2B5EF4-FFF2-40B4-BE49-F238E27FC236}">
                <a16:creationId xmlns:a16="http://schemas.microsoft.com/office/drawing/2014/main" id="{CF1AD9B8-ACD3-DB32-48E2-5DD624C9DA0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165768490"/>
      </p:ext>
    </p:extLst>
  </p:cSld>
  <p:clrMapOvr>
    <a:masterClrMapping/>
  </p:clrMapOvr>
  <p:extLst>
    <p:ext uri="{DCECCB84-F9BA-43D5-87BE-67443E8EF086}">
      <p15:sldGuideLst xmlns:p15="http://schemas.microsoft.com/office/powerpoint/2012/main">
        <p15:guide id="1" pos="1869">
          <p15:clr>
            <a:srgbClr val="FBAE40"/>
          </p15:clr>
        </p15:guide>
        <p15:guide id="2" orient="horz" pos="2245" userDrawn="1">
          <p15:clr>
            <a:srgbClr val="FBAE40"/>
          </p15:clr>
        </p15:guide>
        <p15:guide id="3" pos="2065">
          <p15:clr>
            <a:srgbClr val="FBAE40"/>
          </p15:clr>
        </p15:guide>
        <p15:guide id="4" pos="3530">
          <p15:clr>
            <a:srgbClr val="FBAE40"/>
          </p15:clr>
        </p15:guide>
        <p15:guide id="5" pos="3727">
          <p15:clr>
            <a:srgbClr val="FBAE40"/>
          </p15:clr>
        </p15:guide>
        <p15:guide id="6" pos="5216" userDrawn="1">
          <p15:clr>
            <a:srgbClr val="FBAE40"/>
          </p15:clr>
        </p15:guide>
        <p15:guide id="7" pos="5398" userDrawn="1">
          <p15:clr>
            <a:srgbClr val="FBAE40"/>
          </p15:clr>
        </p15:guide>
        <p15:guide id="8" orient="horz" pos="215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225" y="1439200"/>
            <a:ext cx="2376000" cy="4105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12"/>
          <p:cNvSpPr>
            <a:spLocks noGrp="1"/>
          </p:cNvSpPr>
          <p:nvPr>
            <p:ph type="body" sz="quarter" idx="21" hasCustomPrompt="1"/>
          </p:nvPr>
        </p:nvSpPr>
        <p:spPr>
          <a:xfrm>
            <a:off x="576262" y="3565138"/>
            <a:ext cx="7704137"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2" y="1439200"/>
            <a:ext cx="7704137"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5"/>
          </p:nvPr>
        </p:nvSpPr>
        <p:spPr>
          <a:xfrm>
            <a:off x="576262" y="1727200"/>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6"/>
          </p:nvPr>
        </p:nvSpPr>
        <p:spPr>
          <a:xfrm>
            <a:off x="576262" y="3853138"/>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F47BFAC-52D3-376D-CF45-680B0A4674B0}"/>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229D730-6FCC-941C-CFCB-0A4F3DAE9FF7}"/>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30FB3D0-FB71-BDDA-76D6-90B372FAE397}"/>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Source">
            <a:extLst>
              <a:ext uri="{FF2B5EF4-FFF2-40B4-BE49-F238E27FC236}">
                <a16:creationId xmlns:a16="http://schemas.microsoft.com/office/drawing/2014/main" id="{6B56A7E5-137C-6ADA-2257-9A462155A4CA}"/>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10" name="Text Placeholder 7">
            <a:extLst>
              <a:ext uri="{FF2B5EF4-FFF2-40B4-BE49-F238E27FC236}">
                <a16:creationId xmlns:a16="http://schemas.microsoft.com/office/drawing/2014/main" id="{88D15D27-E510-F219-B5D2-1D7FB2CD72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65896514"/>
      </p:ext>
    </p:extLst>
  </p:cSld>
  <p:clrMapOvr>
    <a:masterClrMapping/>
  </p:clrMapOvr>
  <p:extLst>
    <p:ext uri="{DCECCB84-F9BA-43D5-87BE-67443E8EF086}">
      <p15:sldGuideLst xmlns:p15="http://schemas.microsoft.com/office/powerpoint/2012/main">
        <p15:guide id="2" orient="horz" pos="2245" userDrawn="1">
          <p15:clr>
            <a:srgbClr val="FBAE40"/>
          </p15:clr>
        </p15:guide>
        <p15:guide id="4" orient="horz" pos="2427" userDrawn="1">
          <p15:clr>
            <a:srgbClr val="FBAE40"/>
          </p15:clr>
        </p15:guide>
        <p15:guide id="8" pos="5216" userDrawn="1">
          <p15:clr>
            <a:srgbClr val="FBAE40"/>
          </p15:clr>
        </p15:guide>
        <p15:guide id="9" pos="5398" userDrawn="1">
          <p15:clr>
            <a:srgbClr val="FBAE40"/>
          </p15:clr>
        </p15:guide>
        <p15:guide id="10" orient="horz" pos="215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3" y="3565138"/>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CD5C72F-2C7D-0484-5585-E551B8042C25}"/>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C1D71A4D-730A-B994-13C3-E1B7C0A18AB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98247F2-D6E2-44DE-65F6-C845DF497B30}"/>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Source">
            <a:extLst>
              <a:ext uri="{FF2B5EF4-FFF2-40B4-BE49-F238E27FC236}">
                <a16:creationId xmlns:a16="http://schemas.microsoft.com/office/drawing/2014/main" id="{4E898C1F-A15F-7377-83C0-9B2FC530B0D2}"/>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1EE486D-375B-91E9-4A72-2FC3144C8B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07766713"/>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3" pos="3719">
          <p15:clr>
            <a:srgbClr val="FBAE40"/>
          </p15:clr>
        </p15:guide>
        <p15:guide id="4" orient="horz" pos="2154"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3" y="3560159"/>
            <a:ext cx="10367962"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201"/>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1"/>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904000"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76263" y="3853138"/>
            <a:ext cx="10367962"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A56F695-75C9-CEB0-4844-E59FB0D4F535}"/>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0C1EA23C-1F59-46F2-FB9D-A572C224D02A}"/>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1C7D3DDD-BECF-464C-573A-F8FB3EEEA393}"/>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BB8658A9-1825-F55C-0874-92094A0A786D}"/>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E7819F1C-2879-E74C-536D-B739D47A25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715750679"/>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4" orient="horz" pos="2427" userDrawn="1">
          <p15:clr>
            <a:srgbClr val="FBAE40"/>
          </p15:clr>
        </p15:guide>
        <p15:guide id="5" pos="3719">
          <p15:clr>
            <a:srgbClr val="FBAE40"/>
          </p15:clr>
        </p15:guide>
        <p15:guide id="6" orient="horz" pos="2154"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ontent">
    <p:spTree>
      <p:nvGrpSpPr>
        <p:cNvPr id="1" name=""/>
        <p:cNvGrpSpPr/>
        <p:nvPr/>
      </p:nvGrpSpPr>
      <p:grpSpPr>
        <a:xfrm>
          <a:off x="0" y="0"/>
          <a:ext cx="0" cy="0"/>
          <a:chOff x="0" y="0"/>
          <a:chExt cx="0" cy="0"/>
        </a:xfrm>
      </p:grpSpPr>
      <p:sp>
        <p:nvSpPr>
          <p:cNvPr id="34" name="Content Placeholder 3"/>
          <p:cNvSpPr>
            <a:spLocks noGrp="1"/>
          </p:cNvSpPr>
          <p:nvPr>
            <p:ph sz="quarter" idx="32"/>
          </p:nvPr>
        </p:nvSpPr>
        <p:spPr>
          <a:xfrm>
            <a:off x="590391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4" y="1439863"/>
            <a:ext cx="10367961"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679BDD-CE63-1679-1833-D72D3C799438}"/>
              </a:ext>
            </a:extLst>
          </p:cNvPr>
          <p:cNvSpPr>
            <a:spLocks noGrp="1"/>
          </p:cNvSpPr>
          <p:nvPr>
            <p:ph type="body" sz="quarter" idx="36"/>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A9E188B-F8E0-A87C-3837-DF1B2648E93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4EC06F0-4A7B-FA18-062F-C29C3388B92C}"/>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3E776DF7-C740-280B-F7C2-7DE77F02EB7B}"/>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8350C8C9-58BE-0919-E49F-8ABF880FAA7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24420925"/>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3" pos="3719">
          <p15:clr>
            <a:srgbClr val="FBAE40"/>
          </p15:clr>
        </p15:guide>
        <p15:guide id="4" orient="horz" pos="215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4" y="1439200"/>
            <a:ext cx="10367961"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85686" y="1727200"/>
            <a:ext cx="10358539"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0C5BFF7-FDDA-6BAD-7A25-967E674E4BDA}"/>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436CBEA5-8C1A-8E04-4B29-172AEB8EAEB8}"/>
              </a:ext>
            </a:extLst>
          </p:cNvPr>
          <p:cNvSpPr>
            <a:spLocks noGrp="1"/>
          </p:cNvSpPr>
          <p:nvPr>
            <p:ph type="title"/>
          </p:nvPr>
        </p:nvSpPr>
        <p:spPr/>
        <p:txBody>
          <a:bodyPr/>
          <a:lstStyle/>
          <a:p>
            <a:r>
              <a:rPr lang="en-US" dirty="0"/>
              <a:t>Click to edit Master title style</a:t>
            </a:r>
            <a:endParaRPr lang="en-GB" dirty="0"/>
          </a:p>
        </p:txBody>
      </p:sp>
      <p:sp>
        <p:nvSpPr>
          <p:cNvPr id="10" name="Footer Placeholder 9">
            <a:extLst>
              <a:ext uri="{FF2B5EF4-FFF2-40B4-BE49-F238E27FC236}">
                <a16:creationId xmlns:a16="http://schemas.microsoft.com/office/drawing/2014/main" id="{1B9E25A1-1166-A0BD-2A70-C918FBC05E1A}"/>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1375F5D7-AC9E-5A84-43D2-60CD40B5184F}"/>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66374472-FEC3-5C92-BD54-BED2F780FE6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117753383"/>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4" orient="horz" pos="2427" userDrawn="1">
          <p15:clr>
            <a:srgbClr val="FBAE40"/>
          </p15:clr>
        </p15:guide>
        <p15:guide id="5" pos="3719">
          <p15:clr>
            <a:srgbClr val="FBAE40"/>
          </p15:clr>
        </p15:guide>
        <p15:guide id="6" orient="horz" pos="215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 Cov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4"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7C5657AB-1729-1F49-7D1D-4EEB097B321D}"/>
              </a:ext>
            </a:extLst>
          </p:cNvPr>
          <p:cNvSpPr/>
          <p:nvPr userDrawn="1"/>
        </p:nvSpPr>
        <p:spPr>
          <a:xfrm>
            <a:off x="0" y="22831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
        <p:nvSpPr>
          <p:cNvPr id="5" name="Source">
            <a:extLst>
              <a:ext uri="{FF2B5EF4-FFF2-40B4-BE49-F238E27FC236}">
                <a16:creationId xmlns:a16="http://schemas.microsoft.com/office/drawing/2014/main" id="{B351FF44-36B0-B641-0A76-A47FB27A66CE}"/>
              </a:ext>
            </a:extLst>
          </p:cNvPr>
          <p:cNvSpPr>
            <a:spLocks noGrp="1"/>
          </p:cNvSpPr>
          <p:nvPr>
            <p:ph sz="quarter" idx="14" hasCustomPrompt="1"/>
          </p:nvPr>
        </p:nvSpPr>
        <p:spPr>
          <a:xfrm>
            <a:off x="863599" y="4752000"/>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D95E8522-D122-E1F1-028E-C87E12296D66}"/>
              </a:ext>
            </a:extLst>
          </p:cNvPr>
          <p:cNvPicPr>
            <a:picLocks noChangeAspect="1"/>
          </p:cNvPicPr>
          <p:nvPr userDrawn="1"/>
        </p:nvPicPr>
        <p:blipFill>
          <a:blip r:embed="rId2"/>
          <a:stretch>
            <a:fillRect/>
          </a:stretch>
        </p:blipFill>
        <p:spPr>
          <a:xfrm>
            <a:off x="8385530" y="5910233"/>
            <a:ext cx="2606936" cy="209513"/>
          </a:xfrm>
          <a:prstGeom prst="rect">
            <a:avLst/>
          </a:prstGeom>
        </p:spPr>
      </p:pic>
    </p:spTree>
    <p:extLst>
      <p:ext uri="{BB962C8B-B14F-4D97-AF65-F5344CB8AC3E}">
        <p14:creationId xmlns:p14="http://schemas.microsoft.com/office/powerpoint/2010/main" val="2899903184"/>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 / 2 row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4225"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3"/>
          <p:cNvSpPr>
            <a:spLocks noGrp="1"/>
          </p:cNvSpPr>
          <p:nvPr>
            <p:ph sz="quarter" idx="34"/>
          </p:nvPr>
        </p:nvSpPr>
        <p:spPr>
          <a:xfrm>
            <a:off x="57626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70859E9E-72A3-3AEE-BFFC-E474401FC1A0}"/>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36850F0-2C40-2747-EC2B-3FD083BD086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19627788-F545-50E7-3B61-989CC0480256}"/>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0A06304F-F9CB-7C26-8FFC-76BB305578B3}"/>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074EE8B-0935-4F56-AEAC-B12D6D0D323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605324977"/>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3" pos="3719">
          <p15:clr>
            <a:srgbClr val="FBAE40"/>
          </p15:clr>
        </p15:guide>
        <p15:guide id="4" orient="horz" pos="2154"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 2 row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863"/>
            <a:ext cx="50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5904000"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5C90E72-9A82-24C3-D553-39FC04F223CE}"/>
              </a:ext>
            </a:extLst>
          </p:cNvPr>
          <p:cNvSpPr>
            <a:spLocks noGrp="1"/>
          </p:cNvSpPr>
          <p:nvPr>
            <p:ph type="body" sz="quarter" idx="43"/>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395F06EF-1414-CC23-0AA4-F4017405E091}"/>
              </a:ext>
            </a:extLst>
          </p:cNvPr>
          <p:cNvSpPr>
            <a:spLocks noGrp="1"/>
          </p:cNvSpPr>
          <p:nvPr>
            <p:ph type="title"/>
          </p:nvPr>
        </p:nvSpPr>
        <p:spPr/>
        <p:txBody>
          <a:bodyPr/>
          <a:lstStyle/>
          <a:p>
            <a:r>
              <a:rPr lang="en-US"/>
              <a:t>Click to edit Master title style</a:t>
            </a:r>
            <a:endParaRPr lang="en-GB"/>
          </a:p>
        </p:txBody>
      </p:sp>
      <p:sp>
        <p:nvSpPr>
          <p:cNvPr id="12" name="Footer Placeholder 11">
            <a:extLst>
              <a:ext uri="{FF2B5EF4-FFF2-40B4-BE49-F238E27FC236}">
                <a16:creationId xmlns:a16="http://schemas.microsoft.com/office/drawing/2014/main" id="{4DDC1A8E-AF6F-A47F-82AE-8E44033A81B4}"/>
              </a:ext>
            </a:extLst>
          </p:cNvPr>
          <p:cNvSpPr>
            <a:spLocks noGrp="1"/>
          </p:cNvSpPr>
          <p:nvPr>
            <p:ph type="ftr" sz="quarter" idx="4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6874BDB9-CA4C-0145-E2CA-07A2DBC1B7E7}"/>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13030BF9-A11C-7ED4-6186-BF09C16D35B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379684230"/>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4" orient="horz" pos="2427" userDrawn="1">
          <p15:clr>
            <a:srgbClr val="FBAE40"/>
          </p15:clr>
        </p15:guide>
        <p15:guide id="5" pos="3719">
          <p15:clr>
            <a:srgbClr val="FBAE40"/>
          </p15:clr>
        </p15:guide>
        <p15:guide id="6" orient="horz" pos="2154"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 column / 1 row content Slate">
    <p:bg>
      <p:bgPr>
        <a:solidFill>
          <a:schemeClr val="accent1"/>
        </a:solidFill>
        <a:effectLst/>
      </p:bgPr>
    </p:bg>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0"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2376000" cy="4105275"/>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400A898-523F-16FE-DBF1-D7B6AB441200}"/>
              </a:ext>
            </a:extLst>
          </p:cNvPr>
          <p:cNvSpPr>
            <a:spLocks noGrp="1"/>
          </p:cNvSpPr>
          <p:nvPr>
            <p:ph type="body" sz="quarter" idx="35"/>
          </p:nvPr>
        </p:nvSpPr>
        <p:spPr>
          <a:xfrm>
            <a:off x="576263"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F8FF0EEC-78FD-38BF-AEDF-B41F523888D5}"/>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8" name="Footer Placeholder 7">
            <a:extLst>
              <a:ext uri="{FF2B5EF4-FFF2-40B4-BE49-F238E27FC236}">
                <a16:creationId xmlns:a16="http://schemas.microsoft.com/office/drawing/2014/main" id="{31A22DBB-5BE7-C3DC-893C-A1DC2B1199B2}"/>
              </a:ext>
            </a:extLst>
          </p:cNvPr>
          <p:cNvSpPr>
            <a:spLocks noGrp="1"/>
          </p:cNvSpPr>
          <p:nvPr>
            <p:ph type="ftr" sz="quarter" idx="36"/>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ource">
            <a:extLst>
              <a:ext uri="{FF2B5EF4-FFF2-40B4-BE49-F238E27FC236}">
                <a16:creationId xmlns:a16="http://schemas.microsoft.com/office/drawing/2014/main" id="{68240A02-D897-A370-BB4D-A7DB29CA8C17}"/>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058B8C1-D147-9132-4EC2-756651BFA724}"/>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10" name="Picture 9">
            <a:extLst>
              <a:ext uri="{FF2B5EF4-FFF2-40B4-BE49-F238E27FC236}">
                <a16:creationId xmlns:a16="http://schemas.microsoft.com/office/drawing/2014/main" id="{107A1F54-8710-0216-78BA-8237598BC0E6}"/>
              </a:ext>
            </a:extLst>
          </p:cNvPr>
          <p:cNvPicPr>
            <a:picLocks noChangeAspect="1"/>
          </p:cNvPicPr>
          <p:nvPr userDrawn="1"/>
        </p:nvPicPr>
        <p:blipFill>
          <a:blip r:embed="rId2"/>
          <a:stretch>
            <a:fillRect/>
          </a:stretch>
        </p:blipFill>
        <p:spPr>
          <a:xfrm>
            <a:off x="9354396" y="6142501"/>
            <a:ext cx="1893795" cy="152200"/>
          </a:xfrm>
          <a:prstGeom prst="rect">
            <a:avLst/>
          </a:prstGeom>
        </p:spPr>
      </p:pic>
    </p:spTree>
    <p:extLst>
      <p:ext uri="{BB962C8B-B14F-4D97-AF65-F5344CB8AC3E}">
        <p14:creationId xmlns:p14="http://schemas.microsoft.com/office/powerpoint/2010/main" val="3640996480"/>
      </p:ext>
    </p:extLst>
  </p:cSld>
  <p:clrMapOvr>
    <a:masterClrMapping/>
  </p:clrMapOvr>
  <p:extLst>
    <p:ext uri="{DCECCB84-F9BA-43D5-87BE-67443E8EF086}">
      <p15:sldGuideLst xmlns:p15="http://schemas.microsoft.com/office/powerpoint/2012/main">
        <p15:guide id="1" pos="1859" userDrawn="1">
          <p15:clr>
            <a:srgbClr val="FBAE40"/>
          </p15:clr>
        </p15:guide>
        <p15:guide id="2" orient="horz" pos="2235">
          <p15:clr>
            <a:srgbClr val="FBAE40"/>
          </p15:clr>
        </p15:guide>
        <p15:guide id="3" pos="2041" userDrawn="1">
          <p15:clr>
            <a:srgbClr val="FBAE40"/>
          </p15:clr>
        </p15:guide>
        <p15:guide id="4" pos="3538">
          <p15:clr>
            <a:srgbClr val="FBAE40"/>
          </p15:clr>
        </p15:guide>
        <p15:guide id="5" pos="3719">
          <p15:clr>
            <a:srgbClr val="FBAE40"/>
          </p15:clr>
        </p15:guide>
        <p15:guide id="6" pos="5216" userDrawn="1">
          <p15:clr>
            <a:srgbClr val="FBAE40"/>
          </p15:clr>
        </p15:guide>
        <p15:guide id="7" pos="539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37"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250"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43C7749-ABE2-0F6F-FAA2-4223033AF415}"/>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A81CEA5E-40F8-4E72-AEB3-F3BB67DF8B8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A7606548-0F64-FB0E-2AD8-0732B367F0F9}"/>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848CEE5A-EE4D-136F-1650-3224F814C3C2}"/>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588C8E1B-F5BC-3818-9DE5-CDC9F288EF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825547451"/>
      </p:ext>
    </p:extLst>
  </p:cSld>
  <p:clrMapOvr>
    <a:masterClrMapping/>
  </p:clrMapOvr>
  <p:extLst>
    <p:ext uri="{DCECCB84-F9BA-43D5-87BE-67443E8EF086}">
      <p15:sldGuideLst xmlns:p15="http://schemas.microsoft.com/office/powerpoint/2012/main">
        <p15:guide id="1" pos="1859" userDrawn="1">
          <p15:clr>
            <a:srgbClr val="FBAE40"/>
          </p15:clr>
        </p15:guide>
        <p15:guide id="2" orient="horz" pos="2235">
          <p15:clr>
            <a:srgbClr val="FBAE40"/>
          </p15:clr>
        </p15:guide>
        <p15:guide id="3" pos="2041" userDrawn="1">
          <p15:clr>
            <a:srgbClr val="FBAE40"/>
          </p15:clr>
        </p15:guide>
        <p15:guide id="4" pos="3538">
          <p15:clr>
            <a:srgbClr val="FBAE40"/>
          </p15:clr>
        </p15:guide>
        <p15:guide id="5" pos="3719">
          <p15:clr>
            <a:srgbClr val="FBAE40"/>
          </p15:clr>
        </p15:guide>
        <p15:guide id="6" pos="5216" userDrawn="1">
          <p15:clr>
            <a:srgbClr val="FBAE40"/>
          </p15:clr>
        </p15:guide>
        <p15:guide id="7" pos="5398"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8568225" y="1439200"/>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237" y="1439200"/>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250" y="1439200"/>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0"/>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3240250"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904237" y="1727200"/>
            <a:ext cx="2376000"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8568225" y="1727200"/>
            <a:ext cx="2376000" cy="3817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85B2BD3-D748-272B-4A4E-A704340EBC25}"/>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32F7E86B-6E5F-A86B-F551-51EFE4852A14}"/>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2C1748F9-1B8B-9EFA-5928-811C8B33ED55}"/>
              </a:ext>
            </a:extLst>
          </p:cNvPr>
          <p:cNvSpPr>
            <a:spLocks noGrp="1"/>
          </p:cNvSpPr>
          <p:nvPr>
            <p:ph type="ftr" sz="quarter" idx="4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3A709156-BE06-51CE-81F9-B38D1C65D4C6}"/>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31DA3D94-D8A6-2244-551F-C387680E40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75601246"/>
      </p:ext>
    </p:extLst>
  </p:cSld>
  <p:clrMapOvr>
    <a:masterClrMapping/>
  </p:clrMapOvr>
  <p:extLst>
    <p:ext uri="{DCECCB84-F9BA-43D5-87BE-67443E8EF086}">
      <p15:sldGuideLst xmlns:p15="http://schemas.microsoft.com/office/powerpoint/2012/main">
        <p15:guide id="1" pos="3538">
          <p15:clr>
            <a:srgbClr val="FBAE40"/>
          </p15:clr>
        </p15:guide>
        <p15:guide id="2" orient="horz" pos="2200">
          <p15:clr>
            <a:srgbClr val="FBAE40"/>
          </p15:clr>
        </p15:guide>
        <p15:guide id="4" orient="horz" pos="2381">
          <p15:clr>
            <a:srgbClr val="FBAE40"/>
          </p15:clr>
        </p15:guide>
        <p15:guide id="5" pos="1859" userDrawn="1">
          <p15:clr>
            <a:srgbClr val="FBAE40"/>
          </p15:clr>
        </p15:guide>
        <p15:guide id="6" pos="2041" userDrawn="1">
          <p15:clr>
            <a:srgbClr val="FBAE40"/>
          </p15:clr>
        </p15:guide>
        <p15:guide id="7" pos="3719">
          <p15:clr>
            <a:srgbClr val="FBAE40"/>
          </p15:clr>
        </p15:guide>
        <p15:guide id="8" pos="5216" userDrawn="1">
          <p15:clr>
            <a:srgbClr val="FBAE40"/>
          </p15:clr>
        </p15:guide>
        <p15:guide id="9" pos="5398"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lumn / 2 row content / 5 items">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0573"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38418"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38418"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20C087E-0CC4-E5AC-6F3F-ED16E3693240}"/>
              </a:ext>
            </a:extLst>
          </p:cNvPr>
          <p:cNvSpPr>
            <a:spLocks noGrp="1"/>
          </p:cNvSpPr>
          <p:nvPr>
            <p:ph type="body" sz="quarter" idx="37"/>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6525F31-1DCC-8491-B1E1-D86991ADF42B}"/>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116776B-1056-9E16-B9AD-59FAD6163890}"/>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4F26AD23-0C5A-8AF4-1FFC-1BEC4909E3C3}"/>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EF9B7F4C-9231-FA3F-46CB-59DCE145B05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528352224"/>
      </p:ext>
    </p:extLst>
  </p:cSld>
  <p:clrMapOvr>
    <a:masterClrMapping/>
  </p:clrMapOvr>
  <p:extLst>
    <p:ext uri="{DCECCB84-F9BA-43D5-87BE-67443E8EF086}">
      <p15:sldGuideLst xmlns:p15="http://schemas.microsoft.com/office/powerpoint/2012/main">
        <p15:guide id="1" pos="2404" userDrawn="1">
          <p15:clr>
            <a:srgbClr val="FBAE40"/>
          </p15:clr>
        </p15:guide>
        <p15:guide id="2" orient="horz" pos="2200">
          <p15:clr>
            <a:srgbClr val="FBAE40"/>
          </p15:clr>
        </p15:guide>
        <p15:guide id="3" pos="2608" userDrawn="1">
          <p15:clr>
            <a:srgbClr val="FBAE40"/>
          </p15:clr>
        </p15:guide>
        <p15:guide id="4" pos="4649" userDrawn="1">
          <p15:clr>
            <a:srgbClr val="FBAE40"/>
          </p15:clr>
        </p15:guide>
        <p15:guide id="5" pos="4853" userDrawn="1">
          <p15:clr>
            <a:srgbClr val="FBAE40"/>
          </p15:clr>
        </p15:guide>
        <p15:guide id="6" orient="horz" pos="20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 2 row / 5 item / chart / table single head">
    <p:spTree>
      <p:nvGrpSpPr>
        <p:cNvPr id="1" name=""/>
        <p:cNvGrpSpPr/>
        <p:nvPr/>
      </p:nvGrpSpPr>
      <p:grpSpPr>
        <a:xfrm>
          <a:off x="0" y="0"/>
          <a:ext cx="0" cy="0"/>
          <a:chOff x="0" y="0"/>
          <a:chExt cx="0" cy="0"/>
        </a:xfrm>
      </p:grpSpPr>
      <p:sp>
        <p:nvSpPr>
          <p:cNvPr id="19" name="Content Placeholder 3"/>
          <p:cNvSpPr>
            <a:spLocks noGrp="1"/>
          </p:cNvSpPr>
          <p:nvPr>
            <p:ph sz="quarter" idx="33"/>
          </p:nvPr>
        </p:nvSpPr>
        <p:spPr>
          <a:xfrm>
            <a:off x="7704225"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Text Placeholder 12"/>
          <p:cNvSpPr>
            <a:spLocks noGrp="1"/>
          </p:cNvSpPr>
          <p:nvPr>
            <p:ph type="body" sz="quarter" idx="23" hasCustomPrompt="1"/>
          </p:nvPr>
        </p:nvSpPr>
        <p:spPr>
          <a:xfrm>
            <a:off x="4140244" y="3565138"/>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4"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4140244"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4140244"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E9A58C0-E392-BBF3-1FD1-DE77814CF82F}"/>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4542836C-6418-14AF-8CCB-D1C6B641AA27}"/>
              </a:ext>
            </a:extLst>
          </p:cNvPr>
          <p:cNvSpPr>
            <a:spLocks noGrp="1"/>
          </p:cNvSpPr>
          <p:nvPr>
            <p:ph type="title"/>
          </p:nvPr>
        </p:nvSpPr>
        <p:spPr/>
        <p:txBody>
          <a:bodyPr/>
          <a:lstStyle/>
          <a:p>
            <a:r>
              <a:rPr lang="en-US"/>
              <a:t>Click to edit Master title style</a:t>
            </a:r>
            <a:endParaRPr lang="en-GB"/>
          </a:p>
        </p:txBody>
      </p:sp>
      <p:sp>
        <p:nvSpPr>
          <p:cNvPr id="12" name="Footer Placeholder 11">
            <a:extLst>
              <a:ext uri="{FF2B5EF4-FFF2-40B4-BE49-F238E27FC236}">
                <a16:creationId xmlns:a16="http://schemas.microsoft.com/office/drawing/2014/main" id="{6DB40021-CE86-0741-F68D-4F4ACF75EC08}"/>
              </a:ext>
            </a:extLst>
          </p:cNvPr>
          <p:cNvSpPr>
            <a:spLocks noGrp="1"/>
          </p:cNvSpPr>
          <p:nvPr>
            <p:ph type="ftr" sz="quarter" idx="4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FDB5D49E-B03F-7822-90D9-87F926790871}"/>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998637D5-81E7-8AC5-570C-520E73AC7EA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924451852"/>
      </p:ext>
    </p:extLst>
  </p:cSld>
  <p:clrMapOvr>
    <a:masterClrMapping/>
  </p:clrMapOvr>
  <p:extLst>
    <p:ext uri="{DCECCB84-F9BA-43D5-87BE-67443E8EF086}">
      <p15:sldGuideLst xmlns:p15="http://schemas.microsoft.com/office/powerpoint/2012/main">
        <p15:guide id="1" pos="2404" userDrawn="1">
          <p15:clr>
            <a:srgbClr val="FBAE40"/>
          </p15:clr>
        </p15:guide>
        <p15:guide id="2" orient="horz" pos="2245" userDrawn="1">
          <p15:clr>
            <a:srgbClr val="FBAE40"/>
          </p15:clr>
        </p15:guide>
        <p15:guide id="4" orient="horz" pos="2427" userDrawn="1">
          <p15:clr>
            <a:srgbClr val="FBAE40"/>
          </p15:clr>
        </p15:guide>
        <p15:guide id="5" pos="2608" userDrawn="1">
          <p15:clr>
            <a:srgbClr val="FBAE40"/>
          </p15:clr>
        </p15:guide>
        <p15:guide id="6" pos="4649" userDrawn="1">
          <p15:clr>
            <a:srgbClr val="FBAE40"/>
          </p15:clr>
        </p15:guide>
        <p15:guide id="7" pos="4853" userDrawn="1">
          <p15:clr>
            <a:srgbClr val="FBAE40"/>
          </p15:clr>
        </p15:guide>
        <p15:guide id="8" orient="horz" pos="2154"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 / 2 row content">
    <p:spTree>
      <p:nvGrpSpPr>
        <p:cNvPr id="1" name=""/>
        <p:cNvGrpSpPr/>
        <p:nvPr/>
      </p:nvGrpSpPr>
      <p:grpSpPr>
        <a:xfrm>
          <a:off x="0" y="0"/>
          <a:ext cx="0" cy="0"/>
          <a:chOff x="0" y="0"/>
          <a:chExt cx="0" cy="0"/>
        </a:xfrm>
      </p:grpSpPr>
      <p:sp>
        <p:nvSpPr>
          <p:cNvPr id="39" name="Content Placeholder 3"/>
          <p:cNvSpPr>
            <a:spLocks noGrp="1"/>
          </p:cNvSpPr>
          <p:nvPr>
            <p:ph sz="quarter" idx="37"/>
          </p:nvPr>
        </p:nvSpPr>
        <p:spPr>
          <a:xfrm>
            <a:off x="7704225"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4140200"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3" y="3565138"/>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7704225"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4"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32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8"/>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62D95A3-636B-B1E7-CE1C-E12E4CA42FE2}"/>
              </a:ext>
            </a:extLst>
          </p:cNvPr>
          <p:cNvSpPr>
            <a:spLocks noGrp="1"/>
          </p:cNvSpPr>
          <p:nvPr>
            <p:ph type="body" sz="quarter" idx="39"/>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77ECED5-F948-E980-2E0B-F1787C1E4EF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5D4CCE17-52CA-6BAF-BBB5-14CE94BF7DEB}"/>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Source">
            <a:extLst>
              <a:ext uri="{FF2B5EF4-FFF2-40B4-BE49-F238E27FC236}">
                <a16:creationId xmlns:a16="http://schemas.microsoft.com/office/drawing/2014/main" id="{7F7069ED-3DC3-15C8-6CCA-BB5A7AD1B919}"/>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39E48406-FCC2-F450-654D-02A70FD058C6}"/>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600393593"/>
      </p:ext>
    </p:extLst>
  </p:cSld>
  <p:clrMapOvr>
    <a:masterClrMapping/>
  </p:clrMapOvr>
  <p:extLst>
    <p:ext uri="{DCECCB84-F9BA-43D5-87BE-67443E8EF086}">
      <p15:sldGuideLst xmlns:p15="http://schemas.microsoft.com/office/powerpoint/2012/main">
        <p15:guide id="1" pos="2404" userDrawn="1">
          <p15:clr>
            <a:srgbClr val="FBAE40"/>
          </p15:clr>
        </p15:guide>
        <p15:guide id="2" orient="horz" pos="2245" userDrawn="1">
          <p15:clr>
            <a:srgbClr val="FBAE40"/>
          </p15:clr>
        </p15:guide>
        <p15:guide id="3" pos="2608" userDrawn="1">
          <p15:clr>
            <a:srgbClr val="FBAE40"/>
          </p15:clr>
        </p15:guide>
        <p15:guide id="4" pos="4649" userDrawn="1">
          <p15:clr>
            <a:srgbClr val="FBAE40"/>
          </p15:clr>
        </p15:guide>
        <p15:guide id="5" pos="4853" userDrawn="1">
          <p15:clr>
            <a:srgbClr val="FBAE40"/>
          </p15:clr>
        </p15:guide>
        <p15:guide id="6" orient="horz" pos="2154"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 2 row chart / table single head">
    <p:spTree>
      <p:nvGrpSpPr>
        <p:cNvPr id="1" name=""/>
        <p:cNvGrpSpPr/>
        <p:nvPr/>
      </p:nvGrpSpPr>
      <p:grpSpPr>
        <a:xfrm>
          <a:off x="0" y="0"/>
          <a:ext cx="0" cy="0"/>
          <a:chOff x="0" y="0"/>
          <a:chExt cx="0" cy="0"/>
        </a:xfrm>
      </p:grpSpPr>
      <p:sp>
        <p:nvSpPr>
          <p:cNvPr id="30" name="Text Placeholder 12"/>
          <p:cNvSpPr>
            <a:spLocks noGrp="1"/>
          </p:cNvSpPr>
          <p:nvPr>
            <p:ph type="body" sz="quarter" idx="27" hasCustomPrompt="1"/>
          </p:nvPr>
        </p:nvSpPr>
        <p:spPr>
          <a:xfrm>
            <a:off x="7704225" y="3560159"/>
            <a:ext cx="3240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4140244" y="3560159"/>
            <a:ext cx="32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0159"/>
            <a:ext cx="3240000" cy="288000"/>
          </a:xfrm>
        </p:spPr>
        <p:txBody>
          <a:bodyPr/>
          <a:lstStyle>
            <a:lvl1pPr algn="ctr">
              <a:defRPr cap="all" spc="0" baseline="0"/>
            </a:lvl1pPr>
          </a:lstStyle>
          <a:p>
            <a:pPr lvl="0"/>
            <a:r>
              <a:rPr lang="en-US" dirty="0"/>
              <a:t>Single line heading</a:t>
            </a:r>
          </a:p>
        </p:txBody>
      </p:sp>
      <p:sp>
        <p:nvSpPr>
          <p:cNvPr id="22" name="Text Placeholder 12"/>
          <p:cNvSpPr>
            <a:spLocks noGrp="1"/>
          </p:cNvSpPr>
          <p:nvPr>
            <p:ph type="body" sz="quarter" idx="19" hasCustomPrompt="1"/>
          </p:nvPr>
        </p:nvSpPr>
        <p:spPr>
          <a:xfrm>
            <a:off x="7704225"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244"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3"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4140244"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7704225" y="1727863"/>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76263"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4140244" y="3853138"/>
            <a:ext cx="32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p:cNvSpPr>
            <a:spLocks noGrp="1"/>
          </p:cNvSpPr>
          <p:nvPr>
            <p:ph sz="quarter" idx="45"/>
          </p:nvPr>
        </p:nvSpPr>
        <p:spPr>
          <a:xfrm>
            <a:off x="7704225" y="3853138"/>
            <a:ext cx="3240000" cy="169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7BF3E6-02F1-6F60-92F0-9DD9CFC6A70D}"/>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FEA91FC2-FFA8-9703-74AF-414BB5C4AA72}"/>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7ED0CC5F-6931-A71A-B377-4EDAFF888DAB}"/>
              </a:ext>
            </a:extLst>
          </p:cNvPr>
          <p:cNvSpPr>
            <a:spLocks noGrp="1"/>
          </p:cNvSpPr>
          <p:nvPr>
            <p:ph type="ftr" sz="quarter" idx="4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966259E3-6280-EC65-6D21-72343AF24C1F}"/>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BC9CD2A4-22E5-327B-51E6-78F8F2077672}"/>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975834951"/>
      </p:ext>
    </p:extLst>
  </p:cSld>
  <p:clrMapOvr>
    <a:masterClrMapping/>
  </p:clrMapOvr>
  <p:extLst>
    <p:ext uri="{DCECCB84-F9BA-43D5-87BE-67443E8EF086}">
      <p15:sldGuideLst xmlns:p15="http://schemas.microsoft.com/office/powerpoint/2012/main">
        <p15:guide id="1" pos="2404" userDrawn="1">
          <p15:clr>
            <a:srgbClr val="FBAE40"/>
          </p15:clr>
        </p15:guide>
        <p15:guide id="2" orient="horz" pos="2245" userDrawn="1">
          <p15:clr>
            <a:srgbClr val="FBAE40"/>
          </p15:clr>
        </p15:guide>
        <p15:guide id="4" orient="horz" pos="2427" userDrawn="1">
          <p15:clr>
            <a:srgbClr val="FBAE40"/>
          </p15:clr>
        </p15:guide>
        <p15:guide id="5" pos="2608" userDrawn="1">
          <p15:clr>
            <a:srgbClr val="FBAE40"/>
          </p15:clr>
        </p15:guide>
        <p15:guide id="6" pos="4649" userDrawn="1">
          <p15:clr>
            <a:srgbClr val="FBAE40"/>
          </p15:clr>
        </p15:guide>
        <p15:guide id="7" pos="4853" userDrawn="1">
          <p15:clr>
            <a:srgbClr val="FBAE40"/>
          </p15:clr>
        </p15:guide>
        <p15:guide id="8" orient="horz" pos="2154"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column / 2 row / 7 item /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8" name="Content Placeholder 3"/>
          <p:cNvSpPr>
            <a:spLocks noGrp="1"/>
          </p:cNvSpPr>
          <p:nvPr>
            <p:ph sz="quarter" idx="36"/>
          </p:nvPr>
        </p:nvSpPr>
        <p:spPr>
          <a:xfrm>
            <a:off x="5904150"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7" name="Content Placeholder 3"/>
          <p:cNvSpPr>
            <a:spLocks noGrp="1"/>
          </p:cNvSpPr>
          <p:nvPr>
            <p:ph sz="quarter" idx="35"/>
          </p:nvPr>
        </p:nvSpPr>
        <p:spPr>
          <a:xfrm>
            <a:off x="3240075"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000" y="3565138"/>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15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3240075"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000" y="1439863"/>
            <a:ext cx="2376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9B4A88B1-F214-B25E-D4FF-16FB3C0449FE}"/>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B7BC8288-C4F6-CB1A-B9CF-291BD65A6075}"/>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B94E8C6-6CD0-2895-B258-9F766FE6896D}"/>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AC791DDA-FFC4-DF7F-F677-316753269394}"/>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290C6A47-C366-D49D-E65A-779CA58CFA2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22673170"/>
      </p:ext>
    </p:extLst>
  </p:cSld>
  <p:clrMapOvr>
    <a:masterClrMapping/>
  </p:clrMapOvr>
  <p:extLst>
    <p:ext uri="{DCECCB84-F9BA-43D5-87BE-67443E8EF086}">
      <p15:sldGuideLst xmlns:p15="http://schemas.microsoft.com/office/powerpoint/2012/main">
        <p15:guide id="1" pos="1859" userDrawn="1">
          <p15:clr>
            <a:srgbClr val="FBAE40"/>
          </p15:clr>
        </p15:guide>
        <p15:guide id="2" orient="horz" pos="2245" userDrawn="1">
          <p15:clr>
            <a:srgbClr val="FBAE40"/>
          </p15:clr>
        </p15:guide>
        <p15:guide id="3" pos="2041" userDrawn="1">
          <p15:clr>
            <a:srgbClr val="FBAE40"/>
          </p15:clr>
        </p15:guide>
        <p15:guide id="4" pos="3538">
          <p15:clr>
            <a:srgbClr val="FBAE40"/>
          </p15:clr>
        </p15:guide>
        <p15:guide id="5" pos="3719">
          <p15:clr>
            <a:srgbClr val="FBAE40"/>
          </p15:clr>
        </p15:guide>
        <p15:guide id="6" pos="5216" userDrawn="1">
          <p15:clr>
            <a:srgbClr val="FBAE40"/>
          </p15:clr>
        </p15:guide>
        <p15:guide id="7" pos="5398" userDrawn="1">
          <p15:clr>
            <a:srgbClr val="FBAE40"/>
          </p15:clr>
        </p15:guide>
        <p15:guide id="8" orient="horz" pos="215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03_Formal_Front Cover with vertical image">
    <p:bg>
      <p:bgPr>
        <a:solidFill>
          <a:schemeClr val="accent1"/>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73665A-772F-5504-CD26-D905BA5A2CB5}"/>
              </a:ext>
            </a:extLst>
          </p:cNvPr>
          <p:cNvSpPr>
            <a:spLocks noGrp="1"/>
          </p:cNvSpPr>
          <p:nvPr>
            <p:ph type="pic" sz="quarter" idx="14"/>
          </p:nvPr>
        </p:nvSpPr>
        <p:spPr>
          <a:xfrm>
            <a:off x="8459788" y="0"/>
            <a:ext cx="3060700" cy="6480175"/>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6264" y="4068000"/>
            <a:ext cx="10367962"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8840" y="1584000"/>
            <a:ext cx="10365385" cy="467291"/>
          </a:xfrm>
          <a:prstGeom prst="rect">
            <a:avLst/>
          </a:prstGeom>
        </p:spPr>
        <p:txBody>
          <a:bodyPr lIns="0" anchor="b" anchorCtr="0"/>
          <a:lstStyle>
            <a:lvl1pPr marL="0" indent="0">
              <a:lnSpc>
                <a:spcPts val="5400"/>
              </a:lnSpc>
              <a:buNone/>
              <a:defRPr sz="2800" b="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3" name="Title 1">
            <a:extLst>
              <a:ext uri="{FF2B5EF4-FFF2-40B4-BE49-F238E27FC236}">
                <a16:creationId xmlns:a16="http://schemas.microsoft.com/office/drawing/2014/main" id="{63DBA295-28D4-8AC2-A905-46C2F9635851}"/>
              </a:ext>
            </a:extLst>
          </p:cNvPr>
          <p:cNvSpPr>
            <a:spLocks noGrp="1"/>
          </p:cNvSpPr>
          <p:nvPr>
            <p:ph type="title" hasCustomPrompt="1"/>
          </p:nvPr>
        </p:nvSpPr>
        <p:spPr>
          <a:xfrm>
            <a:off x="578840" y="2127956"/>
            <a:ext cx="7509649"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pic>
        <p:nvPicPr>
          <p:cNvPr id="4" name="Picture 3">
            <a:extLst>
              <a:ext uri="{FF2B5EF4-FFF2-40B4-BE49-F238E27FC236}">
                <a16:creationId xmlns:a16="http://schemas.microsoft.com/office/drawing/2014/main" id="{EEA20B47-C057-76F3-E850-3A826BE06282}"/>
              </a:ext>
            </a:extLst>
          </p:cNvPr>
          <p:cNvPicPr>
            <a:picLocks noChangeAspect="1"/>
          </p:cNvPicPr>
          <p:nvPr userDrawn="1"/>
        </p:nvPicPr>
        <p:blipFill>
          <a:blip r:embed="rId2"/>
          <a:stretch>
            <a:fillRect/>
          </a:stretch>
        </p:blipFill>
        <p:spPr>
          <a:xfrm>
            <a:off x="5415940" y="5910233"/>
            <a:ext cx="2606936" cy="209513"/>
          </a:xfrm>
          <a:prstGeom prst="rect">
            <a:avLst/>
          </a:prstGeom>
        </p:spPr>
      </p:pic>
    </p:spTree>
    <p:extLst>
      <p:ext uri="{BB962C8B-B14F-4D97-AF65-F5344CB8AC3E}">
        <p14:creationId xmlns:p14="http://schemas.microsoft.com/office/powerpoint/2010/main" val="2160875784"/>
      </p:ext>
    </p:extLst>
  </p:cSld>
  <p:clrMapOvr>
    <a:masterClrMapping/>
  </p:clrMapOvr>
  <p:extLst>
    <p:ext uri="{DCECCB84-F9BA-43D5-87BE-67443E8EF086}">
      <p15:sldGuideLst xmlns:p15="http://schemas.microsoft.com/office/powerpoint/2012/main">
        <p15:guide id="1" pos="544">
          <p15:clr>
            <a:srgbClr val="FBAE40"/>
          </p15:clr>
        </p15:guide>
        <p15:guide id="2" pos="5329">
          <p15:clr>
            <a:srgbClr val="FBAE40"/>
          </p15:clr>
        </p15:guide>
        <p15:guide id="3" pos="514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 / 2 row / 7 item /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000"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8" name="Text Placeholder 12"/>
          <p:cNvSpPr>
            <a:spLocks noGrp="1"/>
          </p:cNvSpPr>
          <p:nvPr>
            <p:ph type="body" sz="quarter" idx="25" hasCustomPrompt="1"/>
          </p:nvPr>
        </p:nvSpPr>
        <p:spPr>
          <a:xfrm>
            <a:off x="5904087" y="3565138"/>
            <a:ext cx="2376000" cy="288000"/>
          </a:xfrm>
        </p:spPr>
        <p:txBody>
          <a:bodyPr/>
          <a:lstStyle>
            <a:lvl1pPr algn="ctr">
              <a:defRPr cap="all" spc="0" baseline="0"/>
            </a:lvl1pPr>
          </a:lstStyle>
          <a:p>
            <a:pPr lvl="0"/>
            <a:r>
              <a:rPr lang="en-US" dirty="0"/>
              <a:t>Single line heading</a:t>
            </a:r>
          </a:p>
        </p:txBody>
      </p:sp>
      <p:sp>
        <p:nvSpPr>
          <p:cNvPr id="26" name="Text Placeholder 12"/>
          <p:cNvSpPr>
            <a:spLocks noGrp="1"/>
          </p:cNvSpPr>
          <p:nvPr>
            <p:ph type="body" sz="quarter" idx="23" hasCustomPrompt="1"/>
          </p:nvPr>
        </p:nvSpPr>
        <p:spPr>
          <a:xfrm>
            <a:off x="3240175" y="3565138"/>
            <a:ext cx="2376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2376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87" y="1439863"/>
            <a:ext cx="2376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3240175" y="1439863"/>
            <a:ext cx="2376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2376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40"/>
          </p:nvPr>
        </p:nvSpPr>
        <p:spPr>
          <a:xfrm>
            <a:off x="576263"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41"/>
          </p:nvPr>
        </p:nvSpPr>
        <p:spPr>
          <a:xfrm>
            <a:off x="576263"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2"/>
          </p:nvPr>
        </p:nvSpPr>
        <p:spPr>
          <a:xfrm>
            <a:off x="3240175"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3"/>
          </p:nvPr>
        </p:nvSpPr>
        <p:spPr>
          <a:xfrm>
            <a:off x="5904087" y="1727863"/>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44"/>
          </p:nvPr>
        </p:nvSpPr>
        <p:spPr>
          <a:xfrm>
            <a:off x="3240175"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15"/>
          <p:cNvSpPr>
            <a:spLocks noGrp="1"/>
          </p:cNvSpPr>
          <p:nvPr>
            <p:ph sz="quarter" idx="45"/>
          </p:nvPr>
        </p:nvSpPr>
        <p:spPr>
          <a:xfrm>
            <a:off x="5904087" y="3853138"/>
            <a:ext cx="2376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6"/>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3E0F789-4C85-098B-2913-DF18D3C2F053}"/>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71C073C4-C915-1742-F81F-6BC472F7D02C}"/>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72058CE7-567F-A9F5-D15E-4CB75F510B65}"/>
              </a:ext>
            </a:extLst>
          </p:cNvPr>
          <p:cNvSpPr>
            <a:spLocks noGrp="1"/>
          </p:cNvSpPr>
          <p:nvPr>
            <p:ph type="ftr" sz="quarter" idx="4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2" name="Source">
            <a:extLst>
              <a:ext uri="{FF2B5EF4-FFF2-40B4-BE49-F238E27FC236}">
                <a16:creationId xmlns:a16="http://schemas.microsoft.com/office/drawing/2014/main" id="{EEC21B44-DE5E-BBB5-B868-E62B664735D2}"/>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101452B0-949B-D57D-4EEF-A589BCB8316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34151735"/>
      </p:ext>
    </p:extLst>
  </p:cSld>
  <p:clrMapOvr>
    <a:masterClrMapping/>
  </p:clrMapOvr>
  <p:extLst>
    <p:ext uri="{DCECCB84-F9BA-43D5-87BE-67443E8EF086}">
      <p15:sldGuideLst xmlns:p15="http://schemas.microsoft.com/office/powerpoint/2012/main">
        <p15:guide id="1" pos="3538">
          <p15:clr>
            <a:srgbClr val="FBAE40"/>
          </p15:clr>
        </p15:guide>
        <p15:guide id="2" orient="horz" pos="2245" userDrawn="1">
          <p15:clr>
            <a:srgbClr val="FBAE40"/>
          </p15:clr>
        </p15:guide>
        <p15:guide id="4" orient="horz" pos="2427" userDrawn="1">
          <p15:clr>
            <a:srgbClr val="FBAE40"/>
          </p15:clr>
        </p15:guide>
        <p15:guide id="5" pos="1859" userDrawn="1">
          <p15:clr>
            <a:srgbClr val="FBAE40"/>
          </p15:clr>
        </p15:guide>
        <p15:guide id="6" pos="2041" userDrawn="1">
          <p15:clr>
            <a:srgbClr val="FBAE40"/>
          </p15:clr>
        </p15:guide>
        <p15:guide id="7" pos="3719">
          <p15:clr>
            <a:srgbClr val="FBAE40"/>
          </p15:clr>
        </p15:guide>
        <p15:guide id="8" pos="5216" userDrawn="1">
          <p15:clr>
            <a:srgbClr val="FBAE40"/>
          </p15:clr>
        </p15:guide>
        <p15:guide id="9" pos="5398" userDrawn="1">
          <p15:clr>
            <a:srgbClr val="FBAE40"/>
          </p15:clr>
        </p15:guide>
        <p15:guide id="10" orient="horz" pos="2154"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claimer Copy">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2" y="1044575"/>
            <a:ext cx="10367963" cy="4859337"/>
          </a:xfrm>
        </p:spPr>
        <p:txBody>
          <a:bodyPr numCol="1" spcCol="288000"/>
          <a:lstStyle>
            <a:lvl1pPr>
              <a:spcBef>
                <a:spcPts val="600"/>
              </a:spcBef>
              <a:spcAft>
                <a:spcPts val="300"/>
              </a:spcAft>
              <a:defRPr sz="800">
                <a:latin typeface="+mn-lt"/>
              </a:defRPr>
            </a:lvl1pPr>
            <a:lvl2pPr>
              <a:spcAft>
                <a:spcPts val="300"/>
              </a:spcAft>
              <a:defRPr sz="700">
                <a:latin typeface="+mn-lt"/>
              </a:defRPr>
            </a:lvl2pPr>
            <a:lvl3pPr marL="108000" indent="-108000">
              <a:spcAft>
                <a:spcPts val="300"/>
              </a:spcAft>
              <a:defRPr sz="700">
                <a:latin typeface="+mn-lt"/>
              </a:defRPr>
            </a:lvl3pPr>
            <a:lvl4pPr marL="216000" indent="-108000">
              <a:spcAft>
                <a:spcPts val="300"/>
              </a:spcAft>
              <a:defRPr sz="700">
                <a:latin typeface="+mn-lt"/>
              </a:defRPr>
            </a:lvl4pPr>
            <a:lvl5pPr marL="324000" indent="-108000">
              <a:spcAft>
                <a:spcPts val="300"/>
              </a:spcAft>
              <a:defRPr sz="7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8" name="Title 7">
            <a:extLst>
              <a:ext uri="{FF2B5EF4-FFF2-40B4-BE49-F238E27FC236}">
                <a16:creationId xmlns:a16="http://schemas.microsoft.com/office/drawing/2014/main" id="{BCB4F65F-0244-3136-FFC1-A9F33947D660}"/>
              </a:ext>
            </a:extLst>
          </p:cNvPr>
          <p:cNvSpPr>
            <a:spLocks noGrp="1"/>
          </p:cNvSpPr>
          <p:nvPr>
            <p:ph type="title" hasCustomPrompt="1"/>
          </p:nvPr>
        </p:nvSpPr>
        <p:spPr/>
        <p:txBody>
          <a:bodyPr/>
          <a:lstStyle/>
          <a:p>
            <a:r>
              <a:rPr lang="en-US" dirty="0"/>
              <a:t>Important Information</a:t>
            </a:r>
            <a:endParaRPr lang="en-GB" dirty="0"/>
          </a:p>
        </p:txBody>
      </p:sp>
      <p:sp>
        <p:nvSpPr>
          <p:cNvPr id="10" name="Footer Placeholder 9">
            <a:extLst>
              <a:ext uri="{FF2B5EF4-FFF2-40B4-BE49-F238E27FC236}">
                <a16:creationId xmlns:a16="http://schemas.microsoft.com/office/drawing/2014/main" id="{50C85F7B-68F3-3EB6-ACA6-675A32305408}"/>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5" name="Source">
            <a:extLst>
              <a:ext uri="{FF2B5EF4-FFF2-40B4-BE49-F238E27FC236}">
                <a16:creationId xmlns:a16="http://schemas.microsoft.com/office/drawing/2014/main" id="{B134438C-4A43-A027-CD91-F92B71CC35EA}"/>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6" name="Text Placeholder 7">
            <a:extLst>
              <a:ext uri="{FF2B5EF4-FFF2-40B4-BE49-F238E27FC236}">
                <a16:creationId xmlns:a16="http://schemas.microsoft.com/office/drawing/2014/main" id="{90F3C6B4-940C-3D05-7E52-C00A7B7EDE6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73965951"/>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2 column / 2 row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4225"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3"/>
          <p:cNvSpPr>
            <a:spLocks noGrp="1"/>
          </p:cNvSpPr>
          <p:nvPr>
            <p:ph sz="quarter" idx="34"/>
          </p:nvPr>
        </p:nvSpPr>
        <p:spPr>
          <a:xfrm>
            <a:off x="576263" y="3565138"/>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16F67BE6-FB3F-00B6-B618-A0F8125DA1DE}"/>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70859E9E-72A3-3AEE-BFFC-E474401FC1A0}"/>
              </a:ext>
            </a:extLst>
          </p:cNvPr>
          <p:cNvSpPr>
            <a:spLocks noGrp="1"/>
          </p:cNvSpPr>
          <p:nvPr>
            <p:ph type="body" sz="quarter" idx="38"/>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36850F0-2C40-2747-EC2B-3FD083BD086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19627788-F545-50E7-3B61-989CC0480256}"/>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9D641272-9802-9CDC-A337-03A0A7BE49B6}"/>
              </a:ext>
            </a:extLst>
          </p:cNvPr>
          <p:cNvSpPr>
            <a:spLocks noGrp="1"/>
          </p:cNvSpPr>
          <p:nvPr>
            <p:ph type="body" sz="quarter" idx="14" hasCustomPrompt="1"/>
          </p:nvPr>
        </p:nvSpPr>
        <p:spPr>
          <a:xfrm>
            <a:off x="576263" y="288000"/>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52121671"/>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5"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4"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0"/>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FC948D56-CA2B-1F32-1A1D-F64C6DDC1DF7}"/>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4B137546-4981-7744-91DC-2E34648D15BD}"/>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093533E0-CB75-2B41-6F1F-2D2453655739}"/>
              </a:ext>
            </a:extLst>
          </p:cNvPr>
          <p:cNvSpPr>
            <a:spLocks noGrp="1"/>
          </p:cNvSpPr>
          <p:nvPr>
            <p:ph type="body" sz="quarter" idx="14" hasCustomPrompt="1"/>
          </p:nvPr>
        </p:nvSpPr>
        <p:spPr>
          <a:xfrm>
            <a:off x="576263" y="288000"/>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1647799834"/>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2 column / 1 row chart / table single head">
    <p:spTree>
      <p:nvGrpSpPr>
        <p:cNvPr id="1" name=""/>
        <p:cNvGrpSpPr/>
        <p:nvPr/>
      </p:nvGrpSpPr>
      <p:grpSpPr>
        <a:xfrm>
          <a:off x="0" y="0"/>
          <a:ext cx="0" cy="0"/>
          <a:chOff x="0" y="0"/>
          <a:chExt cx="0" cy="0"/>
        </a:xfrm>
      </p:grpSpPr>
      <p:sp>
        <p:nvSpPr>
          <p:cNvPr id="20" name="Text Placeholder 12"/>
          <p:cNvSpPr>
            <a:spLocks noGrp="1"/>
          </p:cNvSpPr>
          <p:nvPr>
            <p:ph type="body" sz="quarter" idx="17" hasCustomPrompt="1"/>
          </p:nvPr>
        </p:nvSpPr>
        <p:spPr>
          <a:xfrm>
            <a:off x="5904000" y="1439863"/>
            <a:ext cx="5040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2" y="1439863"/>
            <a:ext cx="5039737" cy="288000"/>
          </a:xfrm>
        </p:spPr>
        <p:txBody>
          <a:bodyPr/>
          <a:lstStyle>
            <a:lvl1pPr algn="ctr">
              <a:defRPr cap="all" spc="0" baseline="0"/>
            </a:lvl1pPr>
          </a:lstStyle>
          <a:p>
            <a:pPr lvl="0"/>
            <a:r>
              <a:rPr lang="en-US" dirty="0"/>
              <a:t>Single line heading</a:t>
            </a:r>
          </a:p>
        </p:txBody>
      </p:sp>
      <p:sp>
        <p:nvSpPr>
          <p:cNvPr id="9" name="Content Placeholder 3"/>
          <p:cNvSpPr>
            <a:spLocks noGrp="1"/>
          </p:cNvSpPr>
          <p:nvPr>
            <p:ph sz="quarter" idx="31"/>
          </p:nvPr>
        </p:nvSpPr>
        <p:spPr>
          <a:xfrm>
            <a:off x="5904000" y="1727863"/>
            <a:ext cx="5040225"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p:cNvSpPr>
            <a:spLocks noGrp="1"/>
          </p:cNvSpPr>
          <p:nvPr>
            <p:ph sz="quarter" idx="30"/>
          </p:nvPr>
        </p:nvSpPr>
        <p:spPr>
          <a:xfrm>
            <a:off x="576262" y="1727863"/>
            <a:ext cx="5039737"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4" name="Source">
            <a:extLst>
              <a:ext uri="{FF2B5EF4-FFF2-40B4-BE49-F238E27FC236}">
                <a16:creationId xmlns:a16="http://schemas.microsoft.com/office/drawing/2014/main" id="{8A7A820F-602B-DD20-8A57-3060E9DA086B}"/>
              </a:ext>
            </a:extLst>
          </p:cNvPr>
          <p:cNvSpPr>
            <a:spLocks noGrp="1"/>
          </p:cNvSpPr>
          <p:nvPr>
            <p:ph sz="quarter" idx="12" hasCustomPrompt="1"/>
          </p:nvPr>
        </p:nvSpPr>
        <p:spPr>
          <a:xfrm>
            <a:off x="576263"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5" name="Text Placeholder 5">
            <a:extLst>
              <a:ext uri="{FF2B5EF4-FFF2-40B4-BE49-F238E27FC236}">
                <a16:creationId xmlns:a16="http://schemas.microsoft.com/office/drawing/2014/main" id="{3F1F6191-C141-F56A-C562-D9E21219F6D5}"/>
              </a:ext>
            </a:extLst>
          </p:cNvPr>
          <p:cNvSpPr>
            <a:spLocks noGrp="1"/>
          </p:cNvSpPr>
          <p:nvPr>
            <p:ph type="body" sz="quarter" idx="11"/>
          </p:nvPr>
        </p:nvSpPr>
        <p:spPr>
          <a:xfrm>
            <a:off x="576263"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6" name="Title 5">
            <a:extLst>
              <a:ext uri="{FF2B5EF4-FFF2-40B4-BE49-F238E27FC236}">
                <a16:creationId xmlns:a16="http://schemas.microsoft.com/office/drawing/2014/main" id="{52AFD575-D302-2CB9-CA0D-54A12888A8C8}"/>
              </a:ext>
            </a:extLst>
          </p:cNvPr>
          <p:cNvSpPr>
            <a:spLocks noGrp="1"/>
          </p:cNvSpPr>
          <p:nvPr>
            <p:ph type="title"/>
          </p:nvPr>
        </p:nvSpPr>
        <p:spPr/>
        <p:txBody>
          <a:bodyPr/>
          <a:lstStyle/>
          <a:p>
            <a:r>
              <a:rPr lang="en-US"/>
              <a:t>Click to edit Master title style</a:t>
            </a:r>
            <a:endParaRPr lang="en-GB"/>
          </a:p>
        </p:txBody>
      </p:sp>
      <p:sp>
        <p:nvSpPr>
          <p:cNvPr id="7" name="Footer Placeholder 6">
            <a:extLst>
              <a:ext uri="{FF2B5EF4-FFF2-40B4-BE49-F238E27FC236}">
                <a16:creationId xmlns:a16="http://schemas.microsoft.com/office/drawing/2014/main" id="{B2751788-372A-C602-1384-0F5E60AF9F33}"/>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E8A2ABC6-FD2E-D0DC-860D-408AEA26CB8F}"/>
              </a:ext>
            </a:extLst>
          </p:cNvPr>
          <p:cNvSpPr>
            <a:spLocks noGrp="1"/>
          </p:cNvSpPr>
          <p:nvPr>
            <p:ph type="body" sz="quarter" idx="14" hasCustomPrompt="1"/>
          </p:nvPr>
        </p:nvSpPr>
        <p:spPr>
          <a:xfrm>
            <a:off x="576263" y="288000"/>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4013933585"/>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4"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3"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4" name="Source">
            <a:extLst>
              <a:ext uri="{FF2B5EF4-FFF2-40B4-BE49-F238E27FC236}">
                <a16:creationId xmlns:a16="http://schemas.microsoft.com/office/drawing/2014/main" id="{2E2A37C5-50B6-44E9-B421-1E3D7DD3C6A4}"/>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B1606E74-C774-873E-BFDD-28CF4EA435C3}"/>
              </a:ext>
            </a:extLst>
          </p:cNvPr>
          <p:cNvSpPr>
            <a:spLocks noGrp="1"/>
          </p:cNvSpPr>
          <p:nvPr>
            <p:ph type="ftr" sz="quarter" idx="16"/>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40FFD75F-8879-D799-AE9A-B07A68B64A23}"/>
              </a:ext>
            </a:extLst>
          </p:cNvPr>
          <p:cNvSpPr>
            <a:spLocks noGrp="1"/>
          </p:cNvSpPr>
          <p:nvPr>
            <p:ph type="body" sz="quarter" idx="17"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393873845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8" name="Source"/>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8E82600F-EA60-1E7B-8DEB-0F7F0075A3F4}"/>
              </a:ext>
            </a:extLst>
          </p:cNvPr>
          <p:cNvSpPr>
            <a:spLocks noGrp="1"/>
          </p:cNvSpPr>
          <p:nvPr>
            <p:ph type="ftr" sz="quarter" idx="14"/>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6444DFA0-FC0E-B6BE-E421-AC2359DFFDDA}"/>
              </a:ext>
            </a:extLst>
          </p:cNvPr>
          <p:cNvSpPr>
            <a:spLocks noGrp="1"/>
          </p:cNvSpPr>
          <p:nvPr>
            <p:ph type="body" sz="quarter" idx="15"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1872190145"/>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5" name="Source">
            <a:extLst>
              <a:ext uri="{FF2B5EF4-FFF2-40B4-BE49-F238E27FC236}">
                <a16:creationId xmlns:a16="http://schemas.microsoft.com/office/drawing/2014/main" id="{B5FBA745-38C1-7E46-53C7-9482014134A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Source text if required</a:t>
            </a:r>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F149AD40-D7D1-7EA5-3220-97B9C147E5B2}"/>
              </a:ext>
            </a:extLst>
          </p:cNvPr>
          <p:cNvSpPr>
            <a:spLocks noGrp="1"/>
          </p:cNvSpPr>
          <p:nvPr>
            <p:ph type="ftr" sz="quarter" idx="32"/>
          </p:nvPr>
        </p:nvSpPr>
        <p:spPr/>
        <p:txBody>
          <a:bodyPr/>
          <a:lstStyle/>
          <a:p>
            <a:r>
              <a:rPr lang="en-GB" i="1">
                <a:solidFill>
                  <a:schemeClr val="accent1"/>
                </a:solidFill>
                <a:latin typeface="AvenirNext LT Pro Bold" panose="020B0504020202020204" pitchFamily="34" charset="77"/>
              </a:rPr>
              <a:t>For Use with Financial Professionals Only. Not for Use with the General Public.</a:t>
            </a:r>
            <a:endParaRPr lang="en-GB" i="1" dirty="0">
              <a:solidFill>
                <a:schemeClr val="accent1"/>
              </a:solidFill>
              <a:latin typeface="AvenirNext LT Pro Bold" panose="020B0504020202020204" pitchFamily="34" charset="77"/>
            </a:endParaRPr>
          </a:p>
        </p:txBody>
      </p:sp>
      <p:sp>
        <p:nvSpPr>
          <p:cNvPr id="2" name="Text Placeholder 5">
            <a:extLst>
              <a:ext uri="{FF2B5EF4-FFF2-40B4-BE49-F238E27FC236}">
                <a16:creationId xmlns:a16="http://schemas.microsoft.com/office/drawing/2014/main" id="{5A8B1959-9BAC-198B-C7AA-7973A6674E29}"/>
              </a:ext>
            </a:extLst>
          </p:cNvPr>
          <p:cNvSpPr>
            <a:spLocks noGrp="1"/>
          </p:cNvSpPr>
          <p:nvPr>
            <p:ph type="body" sz="quarter" idx="14" hasCustomPrompt="1"/>
          </p:nvPr>
        </p:nvSpPr>
        <p:spPr>
          <a:xfrm>
            <a:off x="576264" y="288001"/>
            <a:ext cx="10368000" cy="180000"/>
          </a:xfrm>
        </p:spPr>
        <p:txBody>
          <a:bodyPr/>
          <a:lstStyle>
            <a:lvl1pPr>
              <a:defRPr sz="900" b="0" cap="all" spc="300" baseline="0">
                <a:solidFill>
                  <a:srgbClr val="676867"/>
                </a:solidFill>
                <a:latin typeface="+mn-lt"/>
              </a:defRPr>
            </a:lvl1pPr>
          </a:lstStyle>
          <a:p>
            <a:pPr lvl="0"/>
            <a:r>
              <a:rPr lang="en-GB" dirty="0"/>
              <a:t>LOB OR SECTION TITLE (ALL CAPS) – AVENIR NEXT 9PT</a:t>
            </a:r>
          </a:p>
        </p:txBody>
      </p:sp>
    </p:spTree>
    <p:extLst>
      <p:ext uri="{BB962C8B-B14F-4D97-AF65-F5344CB8AC3E}">
        <p14:creationId xmlns:p14="http://schemas.microsoft.com/office/powerpoint/2010/main" val="809351202"/>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Formal_Back Cover">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0720F4-371A-74B6-217A-9F369AADB449}"/>
              </a:ext>
            </a:extLst>
          </p:cNvPr>
          <p:cNvSpPr/>
          <p:nvPr userDrawn="1"/>
        </p:nvSpPr>
        <p:spPr>
          <a:xfrm>
            <a:off x="10944226" y="1"/>
            <a:ext cx="576263" cy="6480175"/>
          </a:xfrm>
          <a:prstGeom prst="rect">
            <a:avLst/>
          </a:prstGeom>
          <a:pattFill prst="wdUpDiag">
            <a:fgClr>
              <a:schemeClr val="accent3"/>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p>
        </p:txBody>
      </p:sp>
      <p:pic>
        <p:nvPicPr>
          <p:cNvPr id="4" name="Graphic 3">
            <a:extLst>
              <a:ext uri="{FF2B5EF4-FFF2-40B4-BE49-F238E27FC236}">
                <a16:creationId xmlns:a16="http://schemas.microsoft.com/office/drawing/2014/main" id="{6D01FD1F-225F-F993-FFAA-8477C449884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931685" y="6013480"/>
            <a:ext cx="3817323" cy="395557"/>
          </a:xfrm>
          <a:prstGeom prst="rect">
            <a:avLst/>
          </a:prstGeom>
        </p:spPr>
      </p:pic>
      <p:sp>
        <p:nvSpPr>
          <p:cNvPr id="3" name="Text Placeholder 6">
            <a:extLst>
              <a:ext uri="{FF2B5EF4-FFF2-40B4-BE49-F238E27FC236}">
                <a16:creationId xmlns:a16="http://schemas.microsoft.com/office/drawing/2014/main" id="{F446116A-3180-9A4B-D0E9-0734C7719406}"/>
              </a:ext>
            </a:extLst>
          </p:cNvPr>
          <p:cNvSpPr>
            <a:spLocks noGrp="1"/>
          </p:cNvSpPr>
          <p:nvPr>
            <p:ph type="body" sz="quarter" idx="11" hasCustomPrompt="1"/>
          </p:nvPr>
        </p:nvSpPr>
        <p:spPr>
          <a:xfrm>
            <a:off x="576264" y="4136227"/>
            <a:ext cx="6154398"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5" name="Title 1">
            <a:extLst>
              <a:ext uri="{FF2B5EF4-FFF2-40B4-BE49-F238E27FC236}">
                <a16:creationId xmlns:a16="http://schemas.microsoft.com/office/drawing/2014/main" id="{4D84FAD1-A4CC-A3C8-F6FD-1D25101BD0B6}"/>
              </a:ext>
            </a:extLst>
          </p:cNvPr>
          <p:cNvSpPr>
            <a:spLocks noGrp="1"/>
          </p:cNvSpPr>
          <p:nvPr>
            <p:ph type="title" hasCustomPrompt="1"/>
          </p:nvPr>
        </p:nvSpPr>
        <p:spPr>
          <a:xfrm>
            <a:off x="576263" y="2239636"/>
            <a:ext cx="6829378" cy="1563189"/>
          </a:xfrm>
        </p:spPr>
        <p:txBody>
          <a:bodyPr anchor="b" anchorCtr="0"/>
          <a:lstStyle>
            <a:lvl1pPr>
              <a:lnSpc>
                <a:spcPct val="80000"/>
              </a:lnSpc>
              <a:defRPr sz="5400" cap="all" baseline="0">
                <a:solidFill>
                  <a:schemeClr val="bg1"/>
                </a:solidFill>
              </a:defRPr>
            </a:lvl1pPr>
          </a:lstStyle>
          <a:p>
            <a:r>
              <a:rPr lang="en-US" dirty="0"/>
              <a:t>Back Cover</a:t>
            </a:r>
            <a:endParaRPr lang="en-GB" dirty="0"/>
          </a:p>
        </p:txBody>
      </p:sp>
      <p:sp>
        <p:nvSpPr>
          <p:cNvPr id="6" name="Footer Placeholder 5">
            <a:extLst>
              <a:ext uri="{FF2B5EF4-FFF2-40B4-BE49-F238E27FC236}">
                <a16:creationId xmlns:a16="http://schemas.microsoft.com/office/drawing/2014/main" id="{0F0D1A19-3DD5-0885-3B32-C007121C8E4B}"/>
              </a:ext>
            </a:extLst>
          </p:cNvPr>
          <p:cNvSpPr>
            <a:spLocks noGrp="1"/>
          </p:cNvSpPr>
          <p:nvPr>
            <p:ph type="ftr" sz="quarter" idx="12"/>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Only. Not for Use with the General Public.</a:t>
            </a:r>
            <a:endParaRPr lang="en-GB" i="1" dirty="0">
              <a:latin typeface="AvenirNext LT Pro Bold" panose="020B0504020202020204" pitchFamily="34" charset="77"/>
            </a:endParaRPr>
          </a:p>
        </p:txBody>
      </p:sp>
      <p:sp>
        <p:nvSpPr>
          <p:cNvPr id="7" name="Slide Number Placeholder 6">
            <a:extLst>
              <a:ext uri="{FF2B5EF4-FFF2-40B4-BE49-F238E27FC236}">
                <a16:creationId xmlns:a16="http://schemas.microsoft.com/office/drawing/2014/main" id="{ABCF9E85-276F-6763-156C-A0E76A373261}"/>
              </a:ext>
            </a:extLst>
          </p:cNvPr>
          <p:cNvSpPr>
            <a:spLocks noGrp="1"/>
          </p:cNvSpPr>
          <p:nvPr>
            <p:ph type="sldNum" sz="quarter" idx="13"/>
          </p:nvPr>
        </p:nvSpPr>
        <p:spPr/>
        <p:txBody>
          <a:bodyPr/>
          <a:lstStyle>
            <a:lvl1pPr>
              <a:defRPr>
                <a:solidFill>
                  <a:schemeClr val="bg1"/>
                </a:solidFill>
              </a:defRPr>
            </a:lvl1pPr>
          </a:lstStyle>
          <a:p>
            <a:fld id="{0F961903-03AF-4EAC-BF2C-945F8C5557D1}" type="slidenum">
              <a:rPr lang="en-GB" smtClean="0"/>
              <a:pPr/>
              <a:t>‹#›</a:t>
            </a:fld>
            <a:endParaRPr lang="en-GB" dirty="0"/>
          </a:p>
        </p:txBody>
      </p:sp>
    </p:spTree>
    <p:extLst>
      <p:ext uri="{BB962C8B-B14F-4D97-AF65-F5344CB8AC3E}">
        <p14:creationId xmlns:p14="http://schemas.microsoft.com/office/powerpoint/2010/main" val="1655023471"/>
      </p:ext>
    </p:extLst>
  </p:cSld>
  <p:clrMapOvr>
    <a:masterClrMapping/>
  </p:clrMapOvr>
  <p:extLst>
    <p:ext uri="{DCECCB84-F9BA-43D5-87BE-67443E8EF086}">
      <p15:sldGuideLst xmlns:p15="http://schemas.microsoft.com/office/powerpoint/2012/main">
        <p15:guide id="1" pos="544">
          <p15:clr>
            <a:srgbClr val="FBAE40"/>
          </p15:clr>
        </p15:guide>
        <p15:guide id="2" pos="671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5"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864001" y="1636385"/>
            <a:ext cx="10080225" cy="467291"/>
          </a:xfrm>
          <a:prstGeom prst="rect">
            <a:avLst/>
          </a:prstGeom>
        </p:spPr>
        <p:txBody>
          <a:bodyPr lIns="0" anchor="b" anchorCtr="0"/>
          <a:lstStyle>
            <a:lvl1pPr marL="0" indent="0">
              <a:lnSpc>
                <a:spcPts val="5400"/>
              </a:lnSpc>
              <a:buNone/>
              <a:defRPr sz="3200" b="0" spc="0" baseline="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A Formal and Expressiv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D15A86B2-FFF4-FDA9-2F29-CFCB02579D1B}"/>
              </a:ext>
            </a:extLst>
          </p:cNvPr>
          <p:cNvSpPr/>
          <p:nvPr userDrawn="1"/>
        </p:nvSpPr>
        <p:spPr>
          <a:xfrm>
            <a:off x="0" y="1727201"/>
            <a:ext cx="576000" cy="1735191"/>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pic>
        <p:nvPicPr>
          <p:cNvPr id="4" name="Picture 3">
            <a:extLst>
              <a:ext uri="{FF2B5EF4-FFF2-40B4-BE49-F238E27FC236}">
                <a16:creationId xmlns:a16="http://schemas.microsoft.com/office/drawing/2014/main" id="{E648F4EB-5E17-F491-6DB4-3BF4CBCA71FB}"/>
              </a:ext>
            </a:extLst>
          </p:cNvPr>
          <p:cNvPicPr>
            <a:picLocks noChangeAspect="1"/>
          </p:cNvPicPr>
          <p:nvPr userDrawn="1"/>
        </p:nvPicPr>
        <p:blipFill>
          <a:blip r:embed="rId2"/>
          <a:stretch>
            <a:fillRect/>
          </a:stretch>
        </p:blipFill>
        <p:spPr>
          <a:xfrm>
            <a:off x="8385530" y="5910234"/>
            <a:ext cx="2606936" cy="209513"/>
          </a:xfrm>
          <a:prstGeom prst="rect">
            <a:avLst/>
          </a:prstGeom>
        </p:spPr>
      </p:pic>
    </p:spTree>
    <p:extLst>
      <p:ext uri="{BB962C8B-B14F-4D97-AF65-F5344CB8AC3E}">
        <p14:creationId xmlns:p14="http://schemas.microsoft.com/office/powerpoint/2010/main" val="1895737187"/>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with vertical image (disclaimer)">
    <p:bg>
      <p:bgPr>
        <a:solidFill>
          <a:schemeClr val="accent1"/>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73665A-772F-5504-CD26-D905BA5A2CB5}"/>
              </a:ext>
            </a:extLst>
          </p:cNvPr>
          <p:cNvSpPr>
            <a:spLocks noGrp="1"/>
          </p:cNvSpPr>
          <p:nvPr>
            <p:ph type="pic" sz="quarter" idx="14"/>
          </p:nvPr>
        </p:nvSpPr>
        <p:spPr>
          <a:xfrm>
            <a:off x="8459788" y="0"/>
            <a:ext cx="3060700" cy="6480175"/>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6264" y="4068000"/>
            <a:ext cx="10367962"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8840" y="1584000"/>
            <a:ext cx="10365385" cy="467291"/>
          </a:xfrm>
          <a:prstGeom prst="rect">
            <a:avLst/>
          </a:prstGeom>
        </p:spPr>
        <p:txBody>
          <a:bodyPr lIns="0" anchor="b" anchorCtr="0"/>
          <a:lstStyle>
            <a:lvl1pPr marL="0" indent="0">
              <a:lnSpc>
                <a:spcPts val="5400"/>
              </a:lnSpc>
              <a:buNone/>
              <a:defRPr sz="2800" b="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3" name="Title 1">
            <a:extLst>
              <a:ext uri="{FF2B5EF4-FFF2-40B4-BE49-F238E27FC236}">
                <a16:creationId xmlns:a16="http://schemas.microsoft.com/office/drawing/2014/main" id="{63DBA295-28D4-8AC2-A905-46C2F9635851}"/>
              </a:ext>
            </a:extLst>
          </p:cNvPr>
          <p:cNvSpPr>
            <a:spLocks noGrp="1"/>
          </p:cNvSpPr>
          <p:nvPr>
            <p:ph type="title" hasCustomPrompt="1"/>
          </p:nvPr>
        </p:nvSpPr>
        <p:spPr>
          <a:xfrm>
            <a:off x="578840" y="2127956"/>
            <a:ext cx="7509649"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5" name="Source">
            <a:extLst>
              <a:ext uri="{FF2B5EF4-FFF2-40B4-BE49-F238E27FC236}">
                <a16:creationId xmlns:a16="http://schemas.microsoft.com/office/drawing/2014/main" id="{6F0EAF58-2CCD-3F45-7DD3-516259DA0254}"/>
              </a:ext>
            </a:extLst>
          </p:cNvPr>
          <p:cNvSpPr>
            <a:spLocks noGrp="1"/>
          </p:cNvSpPr>
          <p:nvPr>
            <p:ph sz="quarter" idx="15" hasCustomPrompt="1"/>
          </p:nvPr>
        </p:nvSpPr>
        <p:spPr>
          <a:xfrm>
            <a:off x="576263" y="4752000"/>
            <a:ext cx="7596187"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9399D82E-62B3-9A66-2EAF-3A015989DCC0}"/>
              </a:ext>
            </a:extLst>
          </p:cNvPr>
          <p:cNvPicPr>
            <a:picLocks noChangeAspect="1"/>
          </p:cNvPicPr>
          <p:nvPr userDrawn="1"/>
        </p:nvPicPr>
        <p:blipFill>
          <a:blip r:embed="rId2"/>
          <a:stretch>
            <a:fillRect/>
          </a:stretch>
        </p:blipFill>
        <p:spPr>
          <a:xfrm>
            <a:off x="5415940" y="5910233"/>
            <a:ext cx="2606936" cy="209513"/>
          </a:xfrm>
          <a:prstGeom prst="rect">
            <a:avLst/>
          </a:prstGeom>
        </p:spPr>
      </p:pic>
    </p:spTree>
    <p:extLst>
      <p:ext uri="{BB962C8B-B14F-4D97-AF65-F5344CB8AC3E}">
        <p14:creationId xmlns:p14="http://schemas.microsoft.com/office/powerpoint/2010/main" val="3872169674"/>
      </p:ext>
    </p:extLst>
  </p:cSld>
  <p:clrMapOvr>
    <a:masterClrMapping/>
  </p:clrMapOvr>
  <p:extLst>
    <p:ext uri="{DCECCB84-F9BA-43D5-87BE-67443E8EF086}">
      <p15:sldGuideLst xmlns:p15="http://schemas.microsoft.com/office/powerpoint/2012/main">
        <p15:guide id="1" pos="544">
          <p15:clr>
            <a:srgbClr val="FBAE40"/>
          </p15:clr>
        </p15:guide>
        <p15:guide id="2" pos="5329">
          <p15:clr>
            <a:srgbClr val="FBAE40"/>
          </p15:clr>
        </p15:guide>
        <p15:guide id="3" pos="514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5"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864001" y="1636385"/>
            <a:ext cx="10080225" cy="467291"/>
          </a:xfrm>
          <a:prstGeom prst="rect">
            <a:avLst/>
          </a:prstGeom>
        </p:spPr>
        <p:txBody>
          <a:bodyPr lIns="0" anchor="b" anchorCtr="0"/>
          <a:lstStyle>
            <a:lvl1pPr marL="0" indent="0">
              <a:lnSpc>
                <a:spcPts val="5400"/>
              </a:lnSpc>
              <a:buNone/>
              <a:defRPr sz="3200" b="0" spc="0" baseline="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A Formal and Expressiv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D15A86B2-FFF4-FDA9-2F29-CFCB02579D1B}"/>
              </a:ext>
            </a:extLst>
          </p:cNvPr>
          <p:cNvSpPr/>
          <p:nvPr userDrawn="1"/>
        </p:nvSpPr>
        <p:spPr>
          <a:xfrm>
            <a:off x="0" y="1727201"/>
            <a:ext cx="576000" cy="1735191"/>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
        <p:nvSpPr>
          <p:cNvPr id="5" name="Source">
            <a:extLst>
              <a:ext uri="{FF2B5EF4-FFF2-40B4-BE49-F238E27FC236}">
                <a16:creationId xmlns:a16="http://schemas.microsoft.com/office/drawing/2014/main" id="{C4FFF66D-DFB9-511F-FC1C-94DBD1CD612E}"/>
              </a:ext>
            </a:extLst>
          </p:cNvPr>
          <p:cNvSpPr>
            <a:spLocks noGrp="1"/>
          </p:cNvSpPr>
          <p:nvPr>
            <p:ph sz="quarter" idx="14" hasCustomPrompt="1"/>
          </p:nvPr>
        </p:nvSpPr>
        <p:spPr>
          <a:xfrm>
            <a:off x="863599" y="4752000"/>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13C149E9-955A-56BF-F534-80B0D096BCFE}"/>
              </a:ext>
            </a:extLst>
          </p:cNvPr>
          <p:cNvPicPr>
            <a:picLocks noChangeAspect="1"/>
          </p:cNvPicPr>
          <p:nvPr userDrawn="1"/>
        </p:nvPicPr>
        <p:blipFill>
          <a:blip r:embed="rId2"/>
          <a:stretch>
            <a:fillRect/>
          </a:stretch>
        </p:blipFill>
        <p:spPr>
          <a:xfrm>
            <a:off x="8385530" y="5910234"/>
            <a:ext cx="2606936" cy="209513"/>
          </a:xfrm>
          <a:prstGeom prst="rect">
            <a:avLst/>
          </a:prstGeom>
        </p:spPr>
      </p:pic>
    </p:spTree>
    <p:extLst>
      <p:ext uri="{BB962C8B-B14F-4D97-AF65-F5344CB8AC3E}">
        <p14:creationId xmlns:p14="http://schemas.microsoft.com/office/powerpoint/2010/main" val="3671311079"/>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02_Front Cov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5"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7C5657AB-1729-1F49-7D1D-4EEB097B321D}"/>
              </a:ext>
            </a:extLst>
          </p:cNvPr>
          <p:cNvSpPr/>
          <p:nvPr userDrawn="1"/>
        </p:nvSpPr>
        <p:spPr>
          <a:xfrm>
            <a:off x="0" y="22831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pic>
        <p:nvPicPr>
          <p:cNvPr id="4" name="Picture 3">
            <a:extLst>
              <a:ext uri="{FF2B5EF4-FFF2-40B4-BE49-F238E27FC236}">
                <a16:creationId xmlns:a16="http://schemas.microsoft.com/office/drawing/2014/main" id="{E134C66C-0649-3F97-585B-D8F610274364}"/>
              </a:ext>
            </a:extLst>
          </p:cNvPr>
          <p:cNvPicPr>
            <a:picLocks noChangeAspect="1"/>
          </p:cNvPicPr>
          <p:nvPr userDrawn="1"/>
        </p:nvPicPr>
        <p:blipFill>
          <a:blip r:embed="rId2"/>
          <a:stretch>
            <a:fillRect/>
          </a:stretch>
        </p:blipFill>
        <p:spPr>
          <a:xfrm>
            <a:off x="8385530" y="5910234"/>
            <a:ext cx="2606936" cy="209513"/>
          </a:xfrm>
          <a:prstGeom prst="rect">
            <a:avLst/>
          </a:prstGeom>
        </p:spPr>
      </p:pic>
    </p:spTree>
    <p:extLst>
      <p:ext uri="{BB962C8B-B14F-4D97-AF65-F5344CB8AC3E}">
        <p14:creationId xmlns:p14="http://schemas.microsoft.com/office/powerpoint/2010/main" val="1866293441"/>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ront Cov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1495" y="4068000"/>
            <a:ext cx="10082731"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Title 1">
            <a:extLst>
              <a:ext uri="{FF2B5EF4-FFF2-40B4-BE49-F238E27FC236}">
                <a16:creationId xmlns:a16="http://schemas.microsoft.com/office/drawing/2014/main" id="{50E8B23C-DB15-A03D-29DA-2BF601F399D5}"/>
              </a:ext>
            </a:extLst>
          </p:cNvPr>
          <p:cNvSpPr>
            <a:spLocks noGrp="1"/>
          </p:cNvSpPr>
          <p:nvPr>
            <p:ph type="title" hasCustomPrompt="1"/>
          </p:nvPr>
        </p:nvSpPr>
        <p:spPr>
          <a:xfrm>
            <a:off x="864000" y="2127956"/>
            <a:ext cx="10086222"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3" name="Rectangle 2">
            <a:extLst>
              <a:ext uri="{FF2B5EF4-FFF2-40B4-BE49-F238E27FC236}">
                <a16:creationId xmlns:a16="http://schemas.microsoft.com/office/drawing/2014/main" id="{7C5657AB-1729-1F49-7D1D-4EEB097B321D}"/>
              </a:ext>
            </a:extLst>
          </p:cNvPr>
          <p:cNvSpPr/>
          <p:nvPr userDrawn="1"/>
        </p:nvSpPr>
        <p:spPr>
          <a:xfrm>
            <a:off x="0" y="22831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
        <p:nvSpPr>
          <p:cNvPr id="5" name="Source">
            <a:extLst>
              <a:ext uri="{FF2B5EF4-FFF2-40B4-BE49-F238E27FC236}">
                <a16:creationId xmlns:a16="http://schemas.microsoft.com/office/drawing/2014/main" id="{B351FF44-36B0-B641-0A76-A47FB27A66CE}"/>
              </a:ext>
            </a:extLst>
          </p:cNvPr>
          <p:cNvSpPr>
            <a:spLocks noGrp="1"/>
          </p:cNvSpPr>
          <p:nvPr>
            <p:ph sz="quarter" idx="14" hasCustomPrompt="1"/>
          </p:nvPr>
        </p:nvSpPr>
        <p:spPr>
          <a:xfrm>
            <a:off x="863599" y="4752000"/>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D95E8522-D122-E1F1-028E-C87E12296D66}"/>
              </a:ext>
            </a:extLst>
          </p:cNvPr>
          <p:cNvPicPr>
            <a:picLocks noChangeAspect="1"/>
          </p:cNvPicPr>
          <p:nvPr userDrawn="1"/>
        </p:nvPicPr>
        <p:blipFill>
          <a:blip r:embed="rId2"/>
          <a:stretch>
            <a:fillRect/>
          </a:stretch>
        </p:blipFill>
        <p:spPr>
          <a:xfrm>
            <a:off x="8385530" y="5910234"/>
            <a:ext cx="2606936" cy="209513"/>
          </a:xfrm>
          <a:prstGeom prst="rect">
            <a:avLst/>
          </a:prstGeom>
        </p:spPr>
      </p:pic>
    </p:spTree>
    <p:extLst>
      <p:ext uri="{BB962C8B-B14F-4D97-AF65-F5344CB8AC3E}">
        <p14:creationId xmlns:p14="http://schemas.microsoft.com/office/powerpoint/2010/main" val="3898624556"/>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03_Formal_Front Cover with vertical image">
    <p:bg>
      <p:bgPr>
        <a:solidFill>
          <a:schemeClr val="accent1"/>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73665A-772F-5504-CD26-D905BA5A2CB5}"/>
              </a:ext>
            </a:extLst>
          </p:cNvPr>
          <p:cNvSpPr>
            <a:spLocks noGrp="1"/>
          </p:cNvSpPr>
          <p:nvPr>
            <p:ph type="pic" sz="quarter" idx="14"/>
          </p:nvPr>
        </p:nvSpPr>
        <p:spPr>
          <a:xfrm>
            <a:off x="8459788" y="1"/>
            <a:ext cx="3060700" cy="6480175"/>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6265" y="4068000"/>
            <a:ext cx="10367962"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8840" y="1584000"/>
            <a:ext cx="10365385" cy="467291"/>
          </a:xfrm>
          <a:prstGeom prst="rect">
            <a:avLst/>
          </a:prstGeom>
        </p:spPr>
        <p:txBody>
          <a:bodyPr lIns="0" anchor="b" anchorCtr="0"/>
          <a:lstStyle>
            <a:lvl1pPr marL="0" indent="0">
              <a:lnSpc>
                <a:spcPts val="5400"/>
              </a:lnSpc>
              <a:buNone/>
              <a:defRPr sz="2800" b="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3" name="Title 1">
            <a:extLst>
              <a:ext uri="{FF2B5EF4-FFF2-40B4-BE49-F238E27FC236}">
                <a16:creationId xmlns:a16="http://schemas.microsoft.com/office/drawing/2014/main" id="{63DBA295-28D4-8AC2-A905-46C2F9635851}"/>
              </a:ext>
            </a:extLst>
          </p:cNvPr>
          <p:cNvSpPr>
            <a:spLocks noGrp="1"/>
          </p:cNvSpPr>
          <p:nvPr>
            <p:ph type="title" hasCustomPrompt="1"/>
          </p:nvPr>
        </p:nvSpPr>
        <p:spPr>
          <a:xfrm>
            <a:off x="578841" y="2127956"/>
            <a:ext cx="7509649"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pic>
        <p:nvPicPr>
          <p:cNvPr id="4" name="Picture 3">
            <a:extLst>
              <a:ext uri="{FF2B5EF4-FFF2-40B4-BE49-F238E27FC236}">
                <a16:creationId xmlns:a16="http://schemas.microsoft.com/office/drawing/2014/main" id="{EEA20B47-C057-76F3-E850-3A826BE06282}"/>
              </a:ext>
            </a:extLst>
          </p:cNvPr>
          <p:cNvPicPr>
            <a:picLocks noChangeAspect="1"/>
          </p:cNvPicPr>
          <p:nvPr userDrawn="1"/>
        </p:nvPicPr>
        <p:blipFill>
          <a:blip r:embed="rId2"/>
          <a:stretch>
            <a:fillRect/>
          </a:stretch>
        </p:blipFill>
        <p:spPr>
          <a:xfrm>
            <a:off x="5415940" y="5910234"/>
            <a:ext cx="2606936" cy="209513"/>
          </a:xfrm>
          <a:prstGeom prst="rect">
            <a:avLst/>
          </a:prstGeom>
        </p:spPr>
      </p:pic>
    </p:spTree>
    <p:extLst>
      <p:ext uri="{BB962C8B-B14F-4D97-AF65-F5344CB8AC3E}">
        <p14:creationId xmlns:p14="http://schemas.microsoft.com/office/powerpoint/2010/main" val="1467450530"/>
      </p:ext>
    </p:extLst>
  </p:cSld>
  <p:clrMapOvr>
    <a:masterClrMapping/>
  </p:clrMapOvr>
  <p:extLst>
    <p:ext uri="{DCECCB84-F9BA-43D5-87BE-67443E8EF086}">
      <p15:sldGuideLst xmlns:p15="http://schemas.microsoft.com/office/powerpoint/2012/main">
        <p15:guide id="1" pos="544">
          <p15:clr>
            <a:srgbClr val="FBAE40"/>
          </p15:clr>
        </p15:guide>
        <p15:guide id="2" pos="5329">
          <p15:clr>
            <a:srgbClr val="FBAE40"/>
          </p15:clr>
        </p15:guide>
        <p15:guide id="3" pos="514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with vertical image (disclaimer)">
    <p:bg>
      <p:bgPr>
        <a:solidFill>
          <a:schemeClr val="accent1"/>
        </a:solidFill>
        <a:effectLst/>
      </p:bgPr>
    </p:bg>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3573665A-772F-5504-CD26-D905BA5A2CB5}"/>
              </a:ext>
            </a:extLst>
          </p:cNvPr>
          <p:cNvSpPr>
            <a:spLocks noGrp="1"/>
          </p:cNvSpPr>
          <p:nvPr>
            <p:ph type="pic" sz="quarter" idx="14"/>
          </p:nvPr>
        </p:nvSpPr>
        <p:spPr>
          <a:xfrm>
            <a:off x="8459788" y="1"/>
            <a:ext cx="3060700" cy="6480175"/>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6265" y="4068000"/>
            <a:ext cx="10367962"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8840" y="1584000"/>
            <a:ext cx="10365385" cy="467291"/>
          </a:xfrm>
          <a:prstGeom prst="rect">
            <a:avLst/>
          </a:prstGeom>
        </p:spPr>
        <p:txBody>
          <a:bodyPr lIns="0" anchor="b" anchorCtr="0"/>
          <a:lstStyle>
            <a:lvl1pPr marL="0" indent="0">
              <a:lnSpc>
                <a:spcPts val="5400"/>
              </a:lnSpc>
              <a:buNone/>
              <a:defRPr sz="2800" b="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3" name="Title 1">
            <a:extLst>
              <a:ext uri="{FF2B5EF4-FFF2-40B4-BE49-F238E27FC236}">
                <a16:creationId xmlns:a16="http://schemas.microsoft.com/office/drawing/2014/main" id="{63DBA295-28D4-8AC2-A905-46C2F9635851}"/>
              </a:ext>
            </a:extLst>
          </p:cNvPr>
          <p:cNvSpPr>
            <a:spLocks noGrp="1"/>
          </p:cNvSpPr>
          <p:nvPr>
            <p:ph type="title" hasCustomPrompt="1"/>
          </p:nvPr>
        </p:nvSpPr>
        <p:spPr>
          <a:xfrm>
            <a:off x="578841" y="2127956"/>
            <a:ext cx="7509649" cy="150040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5" name="Source">
            <a:extLst>
              <a:ext uri="{FF2B5EF4-FFF2-40B4-BE49-F238E27FC236}">
                <a16:creationId xmlns:a16="http://schemas.microsoft.com/office/drawing/2014/main" id="{6F0EAF58-2CCD-3F45-7DD3-516259DA0254}"/>
              </a:ext>
            </a:extLst>
          </p:cNvPr>
          <p:cNvSpPr>
            <a:spLocks noGrp="1"/>
          </p:cNvSpPr>
          <p:nvPr>
            <p:ph sz="quarter" idx="15" hasCustomPrompt="1"/>
          </p:nvPr>
        </p:nvSpPr>
        <p:spPr>
          <a:xfrm>
            <a:off x="576264" y="4752000"/>
            <a:ext cx="7596187"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4" name="Picture 3">
            <a:extLst>
              <a:ext uri="{FF2B5EF4-FFF2-40B4-BE49-F238E27FC236}">
                <a16:creationId xmlns:a16="http://schemas.microsoft.com/office/drawing/2014/main" id="{9399D82E-62B3-9A66-2EAF-3A015989DCC0}"/>
              </a:ext>
            </a:extLst>
          </p:cNvPr>
          <p:cNvPicPr>
            <a:picLocks noChangeAspect="1"/>
          </p:cNvPicPr>
          <p:nvPr userDrawn="1"/>
        </p:nvPicPr>
        <p:blipFill>
          <a:blip r:embed="rId2"/>
          <a:stretch>
            <a:fillRect/>
          </a:stretch>
        </p:blipFill>
        <p:spPr>
          <a:xfrm>
            <a:off x="5415940" y="5910234"/>
            <a:ext cx="2606936" cy="209513"/>
          </a:xfrm>
          <a:prstGeom prst="rect">
            <a:avLst/>
          </a:prstGeom>
        </p:spPr>
      </p:pic>
    </p:spTree>
    <p:extLst>
      <p:ext uri="{BB962C8B-B14F-4D97-AF65-F5344CB8AC3E}">
        <p14:creationId xmlns:p14="http://schemas.microsoft.com/office/powerpoint/2010/main" val="1553960603"/>
      </p:ext>
    </p:extLst>
  </p:cSld>
  <p:clrMapOvr>
    <a:masterClrMapping/>
  </p:clrMapOvr>
  <p:extLst>
    <p:ext uri="{DCECCB84-F9BA-43D5-87BE-67443E8EF086}">
      <p15:sldGuideLst xmlns:p15="http://schemas.microsoft.com/office/powerpoint/2012/main">
        <p15:guide id="1" pos="544">
          <p15:clr>
            <a:srgbClr val="FBAE40"/>
          </p15:clr>
        </p15:guide>
        <p15:guide id="2" pos="5329">
          <p15:clr>
            <a:srgbClr val="FBAE40"/>
          </p15:clr>
        </p15:guide>
        <p15:guide id="3" pos="514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ic Top">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3686" y="5003363"/>
            <a:ext cx="10370540"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6265" y="2519364"/>
            <a:ext cx="10367962" cy="467291"/>
          </a:xfrm>
          <a:prstGeom prst="rect">
            <a:avLst/>
          </a:prstGeom>
        </p:spPr>
        <p:txBody>
          <a:bodyPr lIns="0" anchor="b" anchorCtr="0"/>
          <a:lstStyle>
            <a:lvl1pPr marL="0" indent="0">
              <a:lnSpc>
                <a:spcPts val="5400"/>
              </a:lnSpc>
              <a:buNone/>
              <a:defRPr sz="2800" b="0" spc="0" baseline="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Picture Placeholder 5">
            <a:extLst>
              <a:ext uri="{FF2B5EF4-FFF2-40B4-BE49-F238E27FC236}">
                <a16:creationId xmlns:a16="http://schemas.microsoft.com/office/drawing/2014/main" id="{07AF7596-4071-41CE-4D97-A4F058CD29ED}"/>
              </a:ext>
            </a:extLst>
          </p:cNvPr>
          <p:cNvSpPr>
            <a:spLocks noGrp="1"/>
          </p:cNvSpPr>
          <p:nvPr>
            <p:ph type="pic" sz="quarter" idx="14"/>
          </p:nvPr>
        </p:nvSpPr>
        <p:spPr>
          <a:xfrm>
            <a:off x="0" y="0"/>
            <a:ext cx="11520488" cy="2160000"/>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3" name="Title 1">
            <a:extLst>
              <a:ext uri="{FF2B5EF4-FFF2-40B4-BE49-F238E27FC236}">
                <a16:creationId xmlns:a16="http://schemas.microsoft.com/office/drawing/2014/main" id="{2EB243B4-C59F-9B11-27DF-6AB86E1F2A0E}"/>
              </a:ext>
            </a:extLst>
          </p:cNvPr>
          <p:cNvSpPr>
            <a:spLocks noGrp="1"/>
          </p:cNvSpPr>
          <p:nvPr>
            <p:ph type="title" hasCustomPrompt="1"/>
          </p:nvPr>
        </p:nvSpPr>
        <p:spPr>
          <a:xfrm>
            <a:off x="576265" y="3025422"/>
            <a:ext cx="10362669" cy="1545262"/>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pic>
        <p:nvPicPr>
          <p:cNvPr id="4" name="Picture 3">
            <a:extLst>
              <a:ext uri="{FF2B5EF4-FFF2-40B4-BE49-F238E27FC236}">
                <a16:creationId xmlns:a16="http://schemas.microsoft.com/office/drawing/2014/main" id="{60A8484C-C49B-5F2E-1D3D-CD6A3676A4AD}"/>
              </a:ext>
            </a:extLst>
          </p:cNvPr>
          <p:cNvPicPr>
            <a:picLocks noChangeAspect="1"/>
          </p:cNvPicPr>
          <p:nvPr userDrawn="1"/>
        </p:nvPicPr>
        <p:blipFill>
          <a:blip r:embed="rId2"/>
          <a:stretch>
            <a:fillRect/>
          </a:stretch>
        </p:blipFill>
        <p:spPr>
          <a:xfrm>
            <a:off x="8385530" y="5910234"/>
            <a:ext cx="2606936" cy="209513"/>
          </a:xfrm>
          <a:prstGeom prst="rect">
            <a:avLst/>
          </a:prstGeom>
        </p:spPr>
      </p:pic>
    </p:spTree>
    <p:extLst>
      <p:ext uri="{BB962C8B-B14F-4D97-AF65-F5344CB8AC3E}">
        <p14:creationId xmlns:p14="http://schemas.microsoft.com/office/powerpoint/2010/main" val="1389888934"/>
      </p:ext>
    </p:extLst>
  </p:cSld>
  <p:clrMapOvr>
    <a:masterClrMapping/>
  </p:clrMapOvr>
  <p:extLst>
    <p:ext uri="{DCECCB84-F9BA-43D5-87BE-67443E8EF086}">
      <p15:sldGuideLst xmlns:p15="http://schemas.microsoft.com/office/powerpoint/2012/main">
        <p15:guide id="1" pos="544">
          <p15:clr>
            <a:srgbClr val="FBAE40"/>
          </p15:clr>
        </p15:guide>
        <p15:guide id="2" orient="horz" pos="158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ic Top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3686" y="5003363"/>
            <a:ext cx="10370540"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6265" y="2519364"/>
            <a:ext cx="10367962" cy="467291"/>
          </a:xfrm>
          <a:prstGeom prst="rect">
            <a:avLst/>
          </a:prstGeom>
        </p:spPr>
        <p:txBody>
          <a:bodyPr lIns="0" anchor="b" anchorCtr="0"/>
          <a:lstStyle>
            <a:lvl1pPr marL="0" indent="0">
              <a:lnSpc>
                <a:spcPts val="5400"/>
              </a:lnSpc>
              <a:buNone/>
              <a:defRPr sz="2800" b="0" spc="0" baseline="0">
                <a:solidFill>
                  <a:schemeClr val="bg1"/>
                </a:solidFill>
                <a:latin typeface="Times New Roman" panose="02020603050405020304" pitchFamily="18" charset="0"/>
                <a:cs typeface="Times New Roman" panose="02020603050405020304" pitchFamily="18" charset="0"/>
              </a:defRPr>
            </a:lvl1pPr>
            <a:lvl2pPr marL="169861" indent="0">
              <a:lnSpc>
                <a:spcPts val="11000"/>
              </a:lnSpc>
              <a:buNone/>
              <a:defRPr sz="11499">
                <a:latin typeface="Impact" panose="020B0806030902050204" pitchFamily="34" charset="0"/>
              </a:defRPr>
            </a:lvl2pPr>
            <a:lvl3pPr marL="344483" indent="0">
              <a:lnSpc>
                <a:spcPts val="11000"/>
              </a:lnSpc>
              <a:buNone/>
              <a:defRPr sz="11499">
                <a:latin typeface="Impact" panose="020B0806030902050204" pitchFamily="34" charset="0"/>
              </a:defRPr>
            </a:lvl3pPr>
            <a:lvl4pPr marL="514344" indent="0">
              <a:lnSpc>
                <a:spcPts val="11000"/>
              </a:lnSpc>
              <a:buNone/>
              <a:defRPr sz="11499">
                <a:latin typeface="Impact" panose="020B0806030902050204" pitchFamily="34" charset="0"/>
              </a:defRPr>
            </a:lvl4pPr>
            <a:lvl5pPr marL="688966" indent="0">
              <a:lnSpc>
                <a:spcPts val="11000"/>
              </a:lnSpc>
              <a:buNone/>
              <a:defRPr sz="11499">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Picture Placeholder 5">
            <a:extLst>
              <a:ext uri="{FF2B5EF4-FFF2-40B4-BE49-F238E27FC236}">
                <a16:creationId xmlns:a16="http://schemas.microsoft.com/office/drawing/2014/main" id="{07AF7596-4071-41CE-4D97-A4F058CD29ED}"/>
              </a:ext>
            </a:extLst>
          </p:cNvPr>
          <p:cNvSpPr>
            <a:spLocks noGrp="1"/>
          </p:cNvSpPr>
          <p:nvPr>
            <p:ph type="pic" sz="quarter" idx="14"/>
          </p:nvPr>
        </p:nvSpPr>
        <p:spPr>
          <a:xfrm>
            <a:off x="0" y="0"/>
            <a:ext cx="11520488" cy="2160000"/>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3" name="Title 1">
            <a:extLst>
              <a:ext uri="{FF2B5EF4-FFF2-40B4-BE49-F238E27FC236}">
                <a16:creationId xmlns:a16="http://schemas.microsoft.com/office/drawing/2014/main" id="{2EB243B4-C59F-9B11-27DF-6AB86E1F2A0E}"/>
              </a:ext>
            </a:extLst>
          </p:cNvPr>
          <p:cNvSpPr>
            <a:spLocks noGrp="1"/>
          </p:cNvSpPr>
          <p:nvPr>
            <p:ph type="title" hasCustomPrompt="1"/>
          </p:nvPr>
        </p:nvSpPr>
        <p:spPr>
          <a:xfrm>
            <a:off x="576265" y="3025422"/>
            <a:ext cx="10362669" cy="1545262"/>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5" name="Source">
            <a:extLst>
              <a:ext uri="{FF2B5EF4-FFF2-40B4-BE49-F238E27FC236}">
                <a16:creationId xmlns:a16="http://schemas.microsoft.com/office/drawing/2014/main" id="{C1FA107B-82CB-A529-68CD-92AAC9C31F8C}"/>
              </a:ext>
            </a:extLst>
          </p:cNvPr>
          <p:cNvSpPr>
            <a:spLocks noGrp="1"/>
          </p:cNvSpPr>
          <p:nvPr>
            <p:ph sz="quarter" idx="15" hasCustomPrompt="1"/>
          </p:nvPr>
        </p:nvSpPr>
        <p:spPr>
          <a:xfrm>
            <a:off x="576265" y="5545139"/>
            <a:ext cx="7863730" cy="358775"/>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6" name="Graphic 5">
            <a:extLst>
              <a:ext uri="{FF2B5EF4-FFF2-40B4-BE49-F238E27FC236}">
                <a16:creationId xmlns:a16="http://schemas.microsoft.com/office/drawing/2014/main" id="{2864C3FB-B845-FBCF-44F1-E22D5FD8CD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16689" y="5697925"/>
            <a:ext cx="2275604" cy="711126"/>
          </a:xfrm>
          <a:prstGeom prst="rect">
            <a:avLst/>
          </a:prstGeom>
        </p:spPr>
      </p:pic>
    </p:spTree>
    <p:extLst>
      <p:ext uri="{BB962C8B-B14F-4D97-AF65-F5344CB8AC3E}">
        <p14:creationId xmlns:p14="http://schemas.microsoft.com/office/powerpoint/2010/main" val="292733996"/>
      </p:ext>
    </p:extLst>
  </p:cSld>
  <p:clrMapOvr>
    <a:masterClrMapping/>
  </p:clrMapOvr>
  <p:extLst>
    <p:ext uri="{DCECCB84-F9BA-43D5-87BE-67443E8EF086}">
      <p15:sldGuideLst xmlns:p15="http://schemas.microsoft.com/office/powerpoint/2012/main">
        <p15:guide id="1" pos="544">
          <p15:clr>
            <a:srgbClr val="FBAE40"/>
          </p15:clr>
        </p15:guide>
        <p15:guide id="2" orient="horz" pos="158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numb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1"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6952892" y="2228352"/>
            <a:ext cx="4083169" cy="3456093"/>
          </a:xfrm>
          <a:prstGeom prst="rect">
            <a:avLst/>
          </a:prstGeom>
          <a:ln>
            <a:noFill/>
          </a:ln>
        </p:spPr>
        <p:txBody>
          <a:bodyPr/>
          <a:lstStyle>
            <a:lvl1pPr marL="0" indent="0" algn="r">
              <a:buNone/>
              <a:defRPr sz="28599" b="0">
                <a:ln w="25400">
                  <a:solidFill>
                    <a:srgbClr val="FF6120"/>
                  </a:solidFill>
                </a:ln>
                <a:noFill/>
                <a:latin typeface="Impact" panose="020B0806030902050204" pitchFamily="34" charset="0"/>
              </a:defRPr>
            </a:lvl1pPr>
            <a:lvl2pPr marL="169861" indent="0">
              <a:buNone/>
              <a:defRPr/>
            </a:lvl2pPr>
            <a:lvl3pPr marL="344483" indent="0">
              <a:buNone/>
              <a:defRPr/>
            </a:lvl3pPr>
            <a:lvl4pPr marL="514344" indent="0">
              <a:buNone/>
              <a:defRPr/>
            </a:lvl4pPr>
            <a:lvl5pPr marL="688966" indent="0">
              <a:buNone/>
              <a:defRPr/>
            </a:lvl5pPr>
          </a:lstStyle>
          <a:p>
            <a:pPr lvl="0"/>
            <a:r>
              <a:rPr lang="en-US" dirty="0"/>
              <a:t>01</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281660A2-DD88-9578-24ED-659B1EBFAD55}"/>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24CF0707-A572-0F04-0BFA-74BE1B62194E}"/>
              </a:ext>
            </a:extLst>
          </p:cNvPr>
          <p:cNvSpPr/>
          <p:nvPr userDrawn="1"/>
        </p:nvSpPr>
        <p:spPr>
          <a:xfrm>
            <a:off x="0" y="24479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Tree>
    <p:extLst>
      <p:ext uri="{BB962C8B-B14F-4D97-AF65-F5344CB8AC3E}">
        <p14:creationId xmlns:p14="http://schemas.microsoft.com/office/powerpoint/2010/main" val="2535890465"/>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number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1"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6952892" y="2228352"/>
            <a:ext cx="4083169" cy="3456093"/>
          </a:xfrm>
          <a:prstGeom prst="rect">
            <a:avLst/>
          </a:prstGeom>
          <a:ln>
            <a:noFill/>
          </a:ln>
        </p:spPr>
        <p:txBody>
          <a:bodyPr/>
          <a:lstStyle>
            <a:lvl1pPr marL="0" indent="0" algn="r">
              <a:buNone/>
              <a:defRPr sz="28599" b="0">
                <a:ln w="25400">
                  <a:solidFill>
                    <a:srgbClr val="FF6120"/>
                  </a:solidFill>
                </a:ln>
                <a:noFill/>
                <a:latin typeface="Impact" panose="020B0806030902050204" pitchFamily="34" charset="0"/>
              </a:defRPr>
            </a:lvl1pPr>
            <a:lvl2pPr marL="169861" indent="0">
              <a:buNone/>
              <a:defRPr/>
            </a:lvl2pPr>
            <a:lvl3pPr marL="344483" indent="0">
              <a:buNone/>
              <a:defRPr/>
            </a:lvl3pPr>
            <a:lvl4pPr marL="514344" indent="0">
              <a:buNone/>
              <a:defRPr/>
            </a:lvl4pPr>
            <a:lvl5pPr marL="688966" indent="0">
              <a:buNone/>
              <a:defRPr/>
            </a:lvl5pPr>
          </a:lstStyle>
          <a:p>
            <a:pPr lvl="0"/>
            <a:r>
              <a:rPr lang="en-US" dirty="0"/>
              <a:t>01</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281660A2-DD88-9578-24ED-659B1EBFAD55}"/>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24CF0707-A572-0F04-0BFA-74BE1B62194E}"/>
              </a:ext>
            </a:extLst>
          </p:cNvPr>
          <p:cNvSpPr/>
          <p:nvPr userDrawn="1"/>
        </p:nvSpPr>
        <p:spPr>
          <a:xfrm>
            <a:off x="0" y="24479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
        <p:nvSpPr>
          <p:cNvPr id="2" name="Source">
            <a:extLst>
              <a:ext uri="{FF2B5EF4-FFF2-40B4-BE49-F238E27FC236}">
                <a16:creationId xmlns:a16="http://schemas.microsoft.com/office/drawing/2014/main" id="{4E7CD48D-9452-2FA4-0E83-6611905F9237}"/>
              </a:ext>
            </a:extLst>
          </p:cNvPr>
          <p:cNvSpPr>
            <a:spLocks noGrp="1"/>
          </p:cNvSpPr>
          <p:nvPr>
            <p:ph sz="quarter" idx="15" hasCustomPrompt="1"/>
          </p:nvPr>
        </p:nvSpPr>
        <p:spPr>
          <a:xfrm>
            <a:off x="863599" y="5093589"/>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Tree>
    <p:extLst>
      <p:ext uri="{BB962C8B-B14F-4D97-AF65-F5344CB8AC3E}">
        <p14:creationId xmlns:p14="http://schemas.microsoft.com/office/powerpoint/2010/main" val="2955230229"/>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chevr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1"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Chevron 1">
            <a:extLst>
              <a:ext uri="{FF2B5EF4-FFF2-40B4-BE49-F238E27FC236}">
                <a16:creationId xmlns:a16="http://schemas.microsoft.com/office/drawing/2014/main" id="{23F043BF-FDB6-EFCD-8E0A-C1E080A1A1FA}"/>
              </a:ext>
            </a:extLst>
          </p:cNvPr>
          <p:cNvSpPr/>
          <p:nvPr userDrawn="1"/>
        </p:nvSpPr>
        <p:spPr>
          <a:xfrm>
            <a:off x="8027683"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8" name="Chevron 7">
            <a:extLst>
              <a:ext uri="{FF2B5EF4-FFF2-40B4-BE49-F238E27FC236}">
                <a16:creationId xmlns:a16="http://schemas.microsoft.com/office/drawing/2014/main" id="{49817F1D-9B86-2B54-642D-88BB24A203CA}"/>
              </a:ext>
            </a:extLst>
          </p:cNvPr>
          <p:cNvSpPr/>
          <p:nvPr userDrawn="1"/>
        </p:nvSpPr>
        <p:spPr>
          <a:xfrm>
            <a:off x="9148667"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13" name="Title 1">
            <a:extLst>
              <a:ext uri="{FF2B5EF4-FFF2-40B4-BE49-F238E27FC236}">
                <a16:creationId xmlns:a16="http://schemas.microsoft.com/office/drawing/2014/main" id="{A76F056C-A36E-1918-83D0-747F1E0C4B3D}"/>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B458D999-F164-FB0F-14E1-8249E5DCFE33}"/>
              </a:ext>
            </a:extLst>
          </p:cNvPr>
          <p:cNvSpPr/>
          <p:nvPr userDrawn="1"/>
        </p:nvSpPr>
        <p:spPr>
          <a:xfrm>
            <a:off x="0" y="24479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Tree>
    <p:extLst>
      <p:ext uri="{BB962C8B-B14F-4D97-AF65-F5344CB8AC3E}">
        <p14:creationId xmlns:p14="http://schemas.microsoft.com/office/powerpoint/2010/main" val="3215675822"/>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ic Top">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3686" y="5003363"/>
            <a:ext cx="10370540"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6264" y="2519363"/>
            <a:ext cx="10367962" cy="467291"/>
          </a:xfrm>
          <a:prstGeom prst="rect">
            <a:avLst/>
          </a:prstGeom>
        </p:spPr>
        <p:txBody>
          <a:bodyPr lIns="0" anchor="b" anchorCtr="0"/>
          <a:lstStyle>
            <a:lvl1pPr marL="0" indent="0">
              <a:lnSpc>
                <a:spcPts val="5400"/>
              </a:lnSpc>
              <a:buNone/>
              <a:defRPr sz="2800" b="0" spc="0" baseline="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Picture Placeholder 5">
            <a:extLst>
              <a:ext uri="{FF2B5EF4-FFF2-40B4-BE49-F238E27FC236}">
                <a16:creationId xmlns:a16="http://schemas.microsoft.com/office/drawing/2014/main" id="{07AF7596-4071-41CE-4D97-A4F058CD29ED}"/>
              </a:ext>
            </a:extLst>
          </p:cNvPr>
          <p:cNvSpPr>
            <a:spLocks noGrp="1"/>
          </p:cNvSpPr>
          <p:nvPr>
            <p:ph type="pic" sz="quarter" idx="14"/>
          </p:nvPr>
        </p:nvSpPr>
        <p:spPr>
          <a:xfrm>
            <a:off x="0" y="0"/>
            <a:ext cx="11520488" cy="2160000"/>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3" name="Title 1">
            <a:extLst>
              <a:ext uri="{FF2B5EF4-FFF2-40B4-BE49-F238E27FC236}">
                <a16:creationId xmlns:a16="http://schemas.microsoft.com/office/drawing/2014/main" id="{2EB243B4-C59F-9B11-27DF-6AB86E1F2A0E}"/>
              </a:ext>
            </a:extLst>
          </p:cNvPr>
          <p:cNvSpPr>
            <a:spLocks noGrp="1"/>
          </p:cNvSpPr>
          <p:nvPr>
            <p:ph type="title" hasCustomPrompt="1"/>
          </p:nvPr>
        </p:nvSpPr>
        <p:spPr>
          <a:xfrm>
            <a:off x="576264" y="3025422"/>
            <a:ext cx="10362669" cy="1545262"/>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pic>
        <p:nvPicPr>
          <p:cNvPr id="4" name="Picture 3">
            <a:extLst>
              <a:ext uri="{FF2B5EF4-FFF2-40B4-BE49-F238E27FC236}">
                <a16:creationId xmlns:a16="http://schemas.microsoft.com/office/drawing/2014/main" id="{60A8484C-C49B-5F2E-1D3D-CD6A3676A4AD}"/>
              </a:ext>
            </a:extLst>
          </p:cNvPr>
          <p:cNvPicPr>
            <a:picLocks noChangeAspect="1"/>
          </p:cNvPicPr>
          <p:nvPr userDrawn="1"/>
        </p:nvPicPr>
        <p:blipFill>
          <a:blip r:embed="rId2"/>
          <a:stretch>
            <a:fillRect/>
          </a:stretch>
        </p:blipFill>
        <p:spPr>
          <a:xfrm>
            <a:off x="8385530" y="5910233"/>
            <a:ext cx="2606936" cy="209513"/>
          </a:xfrm>
          <a:prstGeom prst="rect">
            <a:avLst/>
          </a:prstGeom>
        </p:spPr>
      </p:pic>
    </p:spTree>
    <p:extLst>
      <p:ext uri="{BB962C8B-B14F-4D97-AF65-F5344CB8AC3E}">
        <p14:creationId xmlns:p14="http://schemas.microsoft.com/office/powerpoint/2010/main" val="1406733492"/>
      </p:ext>
    </p:extLst>
  </p:cSld>
  <p:clrMapOvr>
    <a:masterClrMapping/>
  </p:clrMapOvr>
  <p:extLst>
    <p:ext uri="{DCECCB84-F9BA-43D5-87BE-67443E8EF086}">
      <p15:sldGuideLst xmlns:p15="http://schemas.microsoft.com/office/powerpoint/2012/main">
        <p15:guide id="1" pos="544">
          <p15:clr>
            <a:srgbClr val="FBAE40"/>
          </p15:clr>
        </p15:guide>
        <p15:guide id="2" orient="horz" pos="1587">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chevron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1"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1" indent="0">
              <a:buNone/>
              <a:defRPr/>
            </a:lvl2pPr>
            <a:lvl3pPr marL="344483" indent="0">
              <a:buNone/>
              <a:defRPr/>
            </a:lvl3pPr>
            <a:lvl4pPr marL="514344" indent="0">
              <a:buNone/>
              <a:defRPr/>
            </a:lvl4pPr>
            <a:lvl5pPr marL="688966" indent="0">
              <a:buNone/>
              <a:defRPr/>
            </a:lvl5pPr>
          </a:lstStyle>
          <a:p>
            <a:pPr lvl="0"/>
            <a:r>
              <a:rPr lang="en-US" dirty="0"/>
              <a:t>Subhead 1-3 Lines Title Case Avenir Next 18pt Orange</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Chevron 1">
            <a:extLst>
              <a:ext uri="{FF2B5EF4-FFF2-40B4-BE49-F238E27FC236}">
                <a16:creationId xmlns:a16="http://schemas.microsoft.com/office/drawing/2014/main" id="{23F043BF-FDB6-EFCD-8E0A-C1E080A1A1FA}"/>
              </a:ext>
            </a:extLst>
          </p:cNvPr>
          <p:cNvSpPr/>
          <p:nvPr userDrawn="1"/>
        </p:nvSpPr>
        <p:spPr>
          <a:xfrm>
            <a:off x="8027683"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8" name="Chevron 7">
            <a:extLst>
              <a:ext uri="{FF2B5EF4-FFF2-40B4-BE49-F238E27FC236}">
                <a16:creationId xmlns:a16="http://schemas.microsoft.com/office/drawing/2014/main" id="{49817F1D-9B86-2B54-642D-88BB24A203CA}"/>
              </a:ext>
            </a:extLst>
          </p:cNvPr>
          <p:cNvSpPr/>
          <p:nvPr userDrawn="1"/>
        </p:nvSpPr>
        <p:spPr>
          <a:xfrm>
            <a:off x="9148667" y="3437059"/>
            <a:ext cx="1795559" cy="2827216"/>
          </a:xfrm>
          <a:prstGeom prst="chevron">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solidFill>
                <a:schemeClr val="tx1"/>
              </a:solidFill>
            </a:endParaRPr>
          </a:p>
        </p:txBody>
      </p:sp>
      <p:sp>
        <p:nvSpPr>
          <p:cNvPr id="13" name="Title 1">
            <a:extLst>
              <a:ext uri="{FF2B5EF4-FFF2-40B4-BE49-F238E27FC236}">
                <a16:creationId xmlns:a16="http://schemas.microsoft.com/office/drawing/2014/main" id="{A76F056C-A36E-1918-83D0-747F1E0C4B3D}"/>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B458D999-F164-FB0F-14E1-8249E5DCFE33}"/>
              </a:ext>
            </a:extLst>
          </p:cNvPr>
          <p:cNvSpPr/>
          <p:nvPr userDrawn="1"/>
        </p:nvSpPr>
        <p:spPr>
          <a:xfrm>
            <a:off x="0" y="2447926"/>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800" b="1" dirty="0"/>
          </a:p>
        </p:txBody>
      </p:sp>
      <p:sp>
        <p:nvSpPr>
          <p:cNvPr id="2" name="Source">
            <a:extLst>
              <a:ext uri="{FF2B5EF4-FFF2-40B4-BE49-F238E27FC236}">
                <a16:creationId xmlns:a16="http://schemas.microsoft.com/office/drawing/2014/main" id="{E471CE19-2D35-615E-4BD7-0ADF6EF7D1F5}"/>
              </a:ext>
            </a:extLst>
          </p:cNvPr>
          <p:cNvSpPr>
            <a:spLocks noGrp="1"/>
          </p:cNvSpPr>
          <p:nvPr>
            <p:ph sz="quarter" idx="15" hasCustomPrompt="1"/>
          </p:nvPr>
        </p:nvSpPr>
        <p:spPr>
          <a:xfrm>
            <a:off x="863599" y="5093589"/>
            <a:ext cx="10080625" cy="804326"/>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Tree>
    <p:extLst>
      <p:ext uri="{BB962C8B-B14F-4D97-AF65-F5344CB8AC3E}">
        <p14:creationId xmlns:p14="http://schemas.microsoft.com/office/powerpoint/2010/main" val="99062675"/>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Appendix">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3" name="Title 1">
            <a:extLst>
              <a:ext uri="{FF2B5EF4-FFF2-40B4-BE49-F238E27FC236}">
                <a16:creationId xmlns:a16="http://schemas.microsoft.com/office/drawing/2014/main" id="{0358F5EA-9823-C2E6-8623-10614E1848DE}"/>
              </a:ext>
            </a:extLst>
          </p:cNvPr>
          <p:cNvSpPr>
            <a:spLocks noGrp="1"/>
          </p:cNvSpPr>
          <p:nvPr>
            <p:ph type="title" hasCustomPrompt="1"/>
          </p:nvPr>
        </p:nvSpPr>
        <p:spPr>
          <a:xfrm>
            <a:off x="576263" y="2239636"/>
            <a:ext cx="6829378" cy="1563189"/>
          </a:xfrm>
        </p:spPr>
        <p:txBody>
          <a:bodyPr anchor="b" anchorCtr="0"/>
          <a:lstStyle>
            <a:lvl1pPr>
              <a:lnSpc>
                <a:spcPct val="80000"/>
              </a:lnSpc>
              <a:defRPr sz="5400" cap="all" baseline="0">
                <a:solidFill>
                  <a:schemeClr val="bg1"/>
                </a:solidFill>
              </a:defRPr>
            </a:lvl1pPr>
          </a:lstStyle>
          <a:p>
            <a:r>
              <a:rPr lang="en-US" dirty="0"/>
              <a:t>Appendix</a:t>
            </a:r>
            <a:endParaRPr lang="en-GB" dirty="0"/>
          </a:p>
        </p:txBody>
      </p:sp>
    </p:spTree>
    <p:extLst>
      <p:ext uri="{BB962C8B-B14F-4D97-AF65-F5344CB8AC3E}">
        <p14:creationId xmlns:p14="http://schemas.microsoft.com/office/powerpoint/2010/main" val="2010640772"/>
      </p:ext>
    </p:extLst>
  </p:cSld>
  <p:clrMapOvr>
    <a:masterClrMapping/>
  </p:clrMapOvr>
  <p:extLst>
    <p:ext uri="{DCECCB84-F9BA-43D5-87BE-67443E8EF086}">
      <p15:sldGuideLst xmlns:p15="http://schemas.microsoft.com/office/powerpoint/2012/main">
        <p15:guide id="1" pos="54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ormal_Back Cover">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0720F4-371A-74B6-217A-9F369AADB449}"/>
              </a:ext>
            </a:extLst>
          </p:cNvPr>
          <p:cNvSpPr/>
          <p:nvPr userDrawn="1"/>
        </p:nvSpPr>
        <p:spPr>
          <a:xfrm>
            <a:off x="10944226" y="1"/>
            <a:ext cx="576263" cy="6480175"/>
          </a:xfrm>
          <a:prstGeom prst="rect">
            <a:avLst/>
          </a:prstGeom>
          <a:pattFill prst="wdUpDiag">
            <a:fgClr>
              <a:srgbClr val="FF6120"/>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701" b="1" dirty="0"/>
          </a:p>
        </p:txBody>
      </p:sp>
      <p:pic>
        <p:nvPicPr>
          <p:cNvPr id="4" name="Picture 3">
            <a:extLst>
              <a:ext uri="{FF2B5EF4-FFF2-40B4-BE49-F238E27FC236}">
                <a16:creationId xmlns:a16="http://schemas.microsoft.com/office/drawing/2014/main" id="{19CD9230-1868-A0B8-7E5E-F435DC0B76F6}"/>
              </a:ext>
            </a:extLst>
          </p:cNvPr>
          <p:cNvPicPr>
            <a:picLocks noChangeAspect="1"/>
          </p:cNvPicPr>
          <p:nvPr userDrawn="1"/>
        </p:nvPicPr>
        <p:blipFill>
          <a:blip r:embed="rId2"/>
          <a:stretch>
            <a:fillRect/>
          </a:stretch>
        </p:blipFill>
        <p:spPr>
          <a:xfrm>
            <a:off x="7779399" y="5910234"/>
            <a:ext cx="2606936" cy="209513"/>
          </a:xfrm>
          <a:prstGeom prst="rect">
            <a:avLst/>
          </a:prstGeom>
        </p:spPr>
      </p:pic>
    </p:spTree>
    <p:extLst>
      <p:ext uri="{BB962C8B-B14F-4D97-AF65-F5344CB8AC3E}">
        <p14:creationId xmlns:p14="http://schemas.microsoft.com/office/powerpoint/2010/main" val="933723219"/>
      </p:ext>
    </p:extLst>
  </p:cSld>
  <p:clrMapOvr>
    <a:masterClrMapping/>
  </p:clrMapOvr>
  <p:extLst>
    <p:ext uri="{DCECCB84-F9BA-43D5-87BE-67443E8EF086}">
      <p15:sldGuideLst xmlns:p15="http://schemas.microsoft.com/office/powerpoint/2012/main">
        <p15:guide id="1" pos="544">
          <p15:clr>
            <a:srgbClr val="FBAE40"/>
          </p15:clr>
        </p15:guide>
        <p15:guide id="2" pos="671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ext Placeholder 5"/>
          <p:cNvSpPr>
            <a:spLocks noGrp="1"/>
          </p:cNvSpPr>
          <p:nvPr>
            <p:ph type="body" sz="quarter" idx="11"/>
          </p:nvPr>
        </p:nvSpPr>
        <p:spPr>
          <a:xfrm>
            <a:off x="576264" y="1008000"/>
            <a:ext cx="10368000" cy="432000"/>
          </a:xfrm>
        </p:spPr>
        <p:txBody>
          <a:bodyPr/>
          <a:lstStyle>
            <a:lvl1pPr>
              <a:defRPr sz="1400" b="0" spc="0" baseline="0">
                <a:solidFill>
                  <a:srgbClr val="808183"/>
                </a:solidFill>
                <a:latin typeface="+mn-lt"/>
              </a:defRPr>
            </a:lvl1pPr>
          </a:lstStyle>
          <a:p>
            <a:pPr lvl="0"/>
            <a:r>
              <a:rPr lang="en-US" dirty="0"/>
              <a:t>Click to edit Master text styles</a:t>
            </a:r>
          </a:p>
        </p:txBody>
      </p:sp>
      <p:sp>
        <p:nvSpPr>
          <p:cNvPr id="3" name="Slide Number Placeholder 2"/>
          <p:cNvSpPr>
            <a:spLocks noGrp="1"/>
          </p:cNvSpPr>
          <p:nvPr>
            <p:ph type="sldNum" sz="quarter" idx="12"/>
          </p:nvPr>
        </p:nvSpPr>
        <p:spPr/>
        <p:txBody>
          <a:bodyPr/>
          <a:lstStyle/>
          <a:p>
            <a:fld id="{0F961903-03AF-4EAC-BF2C-945F8C5557D1}" type="slidenum">
              <a:rPr lang="en-GB" smtClean="0"/>
              <a:pPr/>
              <a:t>‹#›</a:t>
            </a:fld>
            <a:endParaRPr lang="en-GB" dirty="0"/>
          </a:p>
        </p:txBody>
      </p:sp>
      <p:sp>
        <p:nvSpPr>
          <p:cNvPr id="2" name="Title 1">
            <a:extLst>
              <a:ext uri="{FF2B5EF4-FFF2-40B4-BE49-F238E27FC236}">
                <a16:creationId xmlns:a16="http://schemas.microsoft.com/office/drawing/2014/main" id="{1A8E6A65-862B-881A-615F-57A23AB8CB94}"/>
              </a:ext>
            </a:extLst>
          </p:cNvPr>
          <p:cNvSpPr>
            <a:spLocks noGrp="1"/>
          </p:cNvSpPr>
          <p:nvPr>
            <p:ph type="title"/>
          </p:nvPr>
        </p:nvSpPr>
        <p:spPr/>
        <p:txBody>
          <a:bodyPr/>
          <a:lstStyle>
            <a:lvl1pPr>
              <a:defRPr b="0"/>
            </a:lvl1pPr>
          </a:lstStyle>
          <a:p>
            <a:r>
              <a:rPr lang="en-US" dirty="0"/>
              <a:t>Click to edit Master title style</a:t>
            </a:r>
            <a:endParaRPr lang="en-GB" dirty="0"/>
          </a:p>
        </p:txBody>
      </p:sp>
      <p:sp>
        <p:nvSpPr>
          <p:cNvPr id="5" name="Footer Placeholder 4">
            <a:extLst>
              <a:ext uri="{FF2B5EF4-FFF2-40B4-BE49-F238E27FC236}">
                <a16:creationId xmlns:a16="http://schemas.microsoft.com/office/drawing/2014/main" id="{D7D23CC4-232B-B9F5-1EB0-51916BB5E112}"/>
              </a:ext>
            </a:extLst>
          </p:cNvPr>
          <p:cNvSpPr>
            <a:spLocks noGrp="1"/>
          </p:cNvSpPr>
          <p:nvPr>
            <p:ph type="ftr" sz="quarter" idx="1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Text Placeholder 7">
            <a:extLst>
              <a:ext uri="{FF2B5EF4-FFF2-40B4-BE49-F238E27FC236}">
                <a16:creationId xmlns:a16="http://schemas.microsoft.com/office/drawing/2014/main" id="{65983727-D59D-C28F-4585-39E0889471C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686181067"/>
      </p:ext>
    </p:extLst>
  </p:cSld>
  <p:clrMapOvr>
    <a:masterClrMapping/>
  </p:clrMapOvr>
  <p:extLst>
    <p:ext uri="{DCECCB84-F9BA-43D5-87BE-67443E8EF086}">
      <p15:sldGuideLst xmlns:p15="http://schemas.microsoft.com/office/powerpoint/2012/main">
        <p15:guide id="1" pos="3530">
          <p15:clr>
            <a:srgbClr val="FBAE40"/>
          </p15:clr>
        </p15:guide>
        <p15:guide id="2" pos="2553">
          <p15:clr>
            <a:srgbClr val="FBAE40"/>
          </p15:clr>
        </p15:guide>
        <p15:guide id="3" pos="2358">
          <p15:clr>
            <a:srgbClr val="FBAE40"/>
          </p15:clr>
        </p15:guide>
        <p15:guide id="4" pos="1771">
          <p15:clr>
            <a:srgbClr val="FBAE40"/>
          </p15:clr>
        </p15:guide>
        <p15:guide id="5" pos="1967">
          <p15:clr>
            <a:srgbClr val="FBAE40"/>
          </p15:clr>
        </p15:guide>
        <p15:guide id="6" pos="3727">
          <p15:clr>
            <a:srgbClr val="FBAE40"/>
          </p15:clr>
        </p15:guide>
        <p15:guide id="7" pos="4704">
          <p15:clr>
            <a:srgbClr val="FBAE40"/>
          </p15:clr>
        </p15:guide>
        <p15:guide id="8" pos="4899">
          <p15:clr>
            <a:srgbClr val="FBAE40"/>
          </p15:clr>
        </p15:guide>
        <p15:guide id="9" pos="5290">
          <p15:clr>
            <a:srgbClr val="FBAE40"/>
          </p15:clr>
        </p15:guide>
        <p15:guide id="10" pos="548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source only">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D95EFE4D-9E3D-DDFA-9079-3275822CE01A}"/>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CAA0FB35-3503-77FE-2F18-6A8A362C39C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8E82600F-EA60-1E7B-8DEB-0F7F0075A3F4}"/>
              </a:ext>
            </a:extLst>
          </p:cNvPr>
          <p:cNvSpPr>
            <a:spLocks noGrp="1"/>
          </p:cNvSpPr>
          <p:nvPr>
            <p:ph type="ftr" sz="quarter" idx="1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6" name="Source">
            <a:extLst>
              <a:ext uri="{FF2B5EF4-FFF2-40B4-BE49-F238E27FC236}">
                <a16:creationId xmlns:a16="http://schemas.microsoft.com/office/drawing/2014/main" id="{53152456-ECA5-A368-F4FD-84FA2B739FEF}"/>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9B157674-0817-06DF-ED64-8B78FA157FC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194481117"/>
      </p:ext>
    </p:extLst>
  </p:cSld>
  <p:clrMapOvr>
    <a:masterClrMapping/>
  </p:clrMapOvr>
  <p:extLst>
    <p:ext uri="{DCECCB84-F9BA-43D5-87BE-67443E8EF086}">
      <p15:sldGuideLst xmlns:p15="http://schemas.microsoft.com/office/powerpoint/2012/main">
        <p15:guide id="1" pos="3530">
          <p15:clr>
            <a:srgbClr val="FBAE40"/>
          </p15:clr>
        </p15:guide>
        <p15:guide id="2" pos="3727">
          <p15:clr>
            <a:srgbClr val="FBAE40"/>
          </p15:clr>
        </p15:guide>
        <p15:guide id="3" pos="4899">
          <p15:clr>
            <a:srgbClr val="FBAE40"/>
          </p15:clr>
        </p15:guide>
        <p15:guide id="4" pos="4704">
          <p15:clr>
            <a:srgbClr val="FBAE40"/>
          </p15:clr>
        </p15:guide>
        <p15:guide id="5" pos="5486">
          <p15:clr>
            <a:srgbClr val="FBAE40"/>
          </p15:clr>
        </p15:guide>
        <p15:guide id="6" pos="5290">
          <p15:clr>
            <a:srgbClr val="FBAE40"/>
          </p15:clr>
        </p15:guide>
        <p15:guide id="7" pos="1771">
          <p15:clr>
            <a:srgbClr val="FBAE40"/>
          </p15:clr>
        </p15:guide>
        <p15:guide id="8" pos="1967">
          <p15:clr>
            <a:srgbClr val="FBAE40"/>
          </p15:clr>
        </p15:guide>
        <p15:guide id="9" pos="2358">
          <p15:clr>
            <a:srgbClr val="FBAE40"/>
          </p15:clr>
        </p15:guide>
        <p15:guide id="10" pos="255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 column content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10367963" cy="4105275"/>
          </a:xfrm>
        </p:spPr>
        <p:txBody>
          <a:bodyPr/>
          <a:lstStyle>
            <a:lvl1pPr>
              <a:defRPr b="1">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C44513F2-A2DD-A3B9-3EB6-86B0F970BD65}"/>
              </a:ext>
            </a:extLst>
          </p:cNvPr>
          <p:cNvSpPr>
            <a:spLocks noGrp="1"/>
          </p:cNvSpPr>
          <p:nvPr>
            <p:ph type="body" sz="quarter" idx="11"/>
          </p:nvPr>
        </p:nvSpPr>
        <p:spPr>
          <a:xfrm>
            <a:off x="576264"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6" name="Footer Placeholder 5">
            <a:extLst>
              <a:ext uri="{FF2B5EF4-FFF2-40B4-BE49-F238E27FC236}">
                <a16:creationId xmlns:a16="http://schemas.microsoft.com/office/drawing/2014/main" id="{FE6E0616-D5C8-C137-65B1-3DF9A992118A}"/>
              </a:ext>
            </a:extLst>
          </p:cNvPr>
          <p:cNvSpPr>
            <a:spLocks noGrp="1"/>
          </p:cNvSpPr>
          <p:nvPr>
            <p:ph type="ftr" sz="quarter" idx="32"/>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Title 8">
            <a:extLst>
              <a:ext uri="{FF2B5EF4-FFF2-40B4-BE49-F238E27FC236}">
                <a16:creationId xmlns:a16="http://schemas.microsoft.com/office/drawing/2014/main" id="{CA667AF3-7EB0-AA88-B77E-BA2D8D4EACC3}"/>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10" name="Source">
            <a:extLst>
              <a:ext uri="{FF2B5EF4-FFF2-40B4-BE49-F238E27FC236}">
                <a16:creationId xmlns:a16="http://schemas.microsoft.com/office/drawing/2014/main" id="{18F2E578-2014-9FA8-A0B4-F396653DD1B7}"/>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7" name="Text Placeholder 7">
            <a:extLst>
              <a:ext uri="{FF2B5EF4-FFF2-40B4-BE49-F238E27FC236}">
                <a16:creationId xmlns:a16="http://schemas.microsoft.com/office/drawing/2014/main" id="{42AC3B83-CA50-14EC-F8DA-0EDF85A2D0C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2" name="Picture 1">
            <a:extLst>
              <a:ext uri="{FF2B5EF4-FFF2-40B4-BE49-F238E27FC236}">
                <a16:creationId xmlns:a16="http://schemas.microsoft.com/office/drawing/2014/main" id="{DB943FD3-84FF-FAF4-3195-C82474D8A4C2}"/>
              </a:ext>
            </a:extLst>
          </p:cNvPr>
          <p:cNvPicPr>
            <a:picLocks noChangeAspect="1"/>
          </p:cNvPicPr>
          <p:nvPr userDrawn="1"/>
        </p:nvPicPr>
        <p:blipFill>
          <a:blip r:embed="rId2"/>
          <a:stretch>
            <a:fillRect/>
          </a:stretch>
        </p:blipFill>
        <p:spPr>
          <a:xfrm>
            <a:off x="9354397" y="6142501"/>
            <a:ext cx="1893795" cy="152200"/>
          </a:xfrm>
          <a:prstGeom prst="rect">
            <a:avLst/>
          </a:prstGeom>
        </p:spPr>
      </p:pic>
    </p:spTree>
    <p:extLst>
      <p:ext uri="{BB962C8B-B14F-4D97-AF65-F5344CB8AC3E}">
        <p14:creationId xmlns:p14="http://schemas.microsoft.com/office/powerpoint/2010/main" val="66796858"/>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3"/>
            <a:ext cx="10367963" cy="4105275"/>
          </a:xfrm>
        </p:spPr>
        <p:txBody>
          <a:bodyPr/>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1"/>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6669F5EB-F3E2-8A29-284C-15D37EC34269}"/>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E0B7FCCF-0207-A22E-93E5-610CF8DC1B7F}"/>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F149AD40-D7D1-7EA5-3220-97B9C147E5B2}"/>
              </a:ext>
            </a:extLst>
          </p:cNvPr>
          <p:cNvSpPr>
            <a:spLocks noGrp="1"/>
          </p:cNvSpPr>
          <p:nvPr>
            <p:ph type="ftr" sz="quarter" idx="32"/>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A76FBA4E-6F59-9EA6-7C51-534EC5D807B0}"/>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9CDD2AA-E935-BE94-7484-E03847B7CB4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4473046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column / table single head">
    <p:spTree>
      <p:nvGrpSpPr>
        <p:cNvPr id="1" name=""/>
        <p:cNvGrpSpPr/>
        <p:nvPr/>
      </p:nvGrpSpPr>
      <p:grpSpPr>
        <a:xfrm>
          <a:off x="0" y="0"/>
          <a:ext cx="0" cy="0"/>
          <a:chOff x="0" y="0"/>
          <a:chExt cx="0" cy="0"/>
        </a:xfrm>
      </p:grpSpPr>
      <p:sp>
        <p:nvSpPr>
          <p:cNvPr id="13" name="Text Placeholder 12"/>
          <p:cNvSpPr>
            <a:spLocks noGrp="1"/>
          </p:cNvSpPr>
          <p:nvPr>
            <p:ph type="body" sz="quarter" idx="13" hasCustomPrompt="1"/>
          </p:nvPr>
        </p:nvSpPr>
        <p:spPr>
          <a:xfrm>
            <a:off x="576264" y="1439863"/>
            <a:ext cx="10367962"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14"/>
          </p:nvPr>
        </p:nvSpPr>
        <p:spPr>
          <a:xfrm>
            <a:off x="576263" y="1727200"/>
            <a:ext cx="10367963"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CF62FFE-9DCD-89C9-3981-B755E1093229}"/>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93FB227-35F3-25F8-87DA-BA242CEF4DD0}"/>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B1606E74-C774-873E-BFDD-28CF4EA435C3}"/>
              </a:ext>
            </a:extLst>
          </p:cNvPr>
          <p:cNvSpPr>
            <a:spLocks noGrp="1"/>
          </p:cNvSpPr>
          <p:nvPr>
            <p:ph type="ftr" sz="quarter" idx="1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EBD320E1-93AF-16F2-EED5-09522A4ADA0C}"/>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012266F4-3B4C-A1D0-8A29-D8C1DC0EDCF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81878712"/>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column / 1 row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4"/>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3" name="Content Placeholder 3"/>
          <p:cNvSpPr>
            <a:spLocks noGrp="1"/>
          </p:cNvSpPr>
          <p:nvPr>
            <p:ph sz="quarter" idx="33"/>
          </p:nvPr>
        </p:nvSpPr>
        <p:spPr>
          <a:xfrm>
            <a:off x="5903914" y="1439864"/>
            <a:ext cx="5040312" cy="4103337"/>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A5A366EC-6E5A-A817-8036-12FD9D59714D}"/>
              </a:ext>
            </a:extLst>
          </p:cNvPr>
          <p:cNvSpPr>
            <a:spLocks noGrp="1"/>
          </p:cNvSpPr>
          <p:nvPr>
            <p:ph type="body" sz="quarter" idx="11"/>
          </p:nvPr>
        </p:nvSpPr>
        <p:spPr>
          <a:xfrm>
            <a:off x="576264"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Footer Placeholder 6">
            <a:extLst>
              <a:ext uri="{FF2B5EF4-FFF2-40B4-BE49-F238E27FC236}">
                <a16:creationId xmlns:a16="http://schemas.microsoft.com/office/drawing/2014/main" id="{EBC015D3-F075-C2CD-A944-3A90F33B3517}"/>
              </a:ext>
            </a:extLst>
          </p:cNvPr>
          <p:cNvSpPr>
            <a:spLocks noGrp="1"/>
          </p:cNvSpPr>
          <p:nvPr>
            <p:ph type="ftr" sz="quarter" idx="34"/>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8" name="Title 7">
            <a:extLst>
              <a:ext uri="{FF2B5EF4-FFF2-40B4-BE49-F238E27FC236}">
                <a16:creationId xmlns:a16="http://schemas.microsoft.com/office/drawing/2014/main" id="{09437FAA-C523-8FC9-5DCE-6ADA81833F9F}"/>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9" name="Source">
            <a:extLst>
              <a:ext uri="{FF2B5EF4-FFF2-40B4-BE49-F238E27FC236}">
                <a16:creationId xmlns:a16="http://schemas.microsoft.com/office/drawing/2014/main" id="{917047E8-76CB-8C8C-051A-0EBC6780F6E0}"/>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5833639-D591-2145-69FC-3F9FBBBFAABF}"/>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10" name="Picture 9">
            <a:extLst>
              <a:ext uri="{FF2B5EF4-FFF2-40B4-BE49-F238E27FC236}">
                <a16:creationId xmlns:a16="http://schemas.microsoft.com/office/drawing/2014/main" id="{9942B435-657C-BFF4-3F41-340007A26E31}"/>
              </a:ext>
            </a:extLst>
          </p:cNvPr>
          <p:cNvPicPr>
            <a:picLocks noChangeAspect="1"/>
          </p:cNvPicPr>
          <p:nvPr userDrawn="1"/>
        </p:nvPicPr>
        <p:blipFill>
          <a:blip r:embed="rId2"/>
          <a:stretch>
            <a:fillRect/>
          </a:stretch>
        </p:blipFill>
        <p:spPr>
          <a:xfrm>
            <a:off x="9354397" y="6142501"/>
            <a:ext cx="1893795" cy="152200"/>
          </a:xfrm>
          <a:prstGeom prst="rect">
            <a:avLst/>
          </a:prstGeom>
        </p:spPr>
      </p:pic>
    </p:spTree>
    <p:extLst>
      <p:ext uri="{BB962C8B-B14F-4D97-AF65-F5344CB8AC3E}">
        <p14:creationId xmlns:p14="http://schemas.microsoft.com/office/powerpoint/2010/main" val="2848855677"/>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 1 row">
    <p:spTree>
      <p:nvGrpSpPr>
        <p:cNvPr id="1" name=""/>
        <p:cNvGrpSpPr/>
        <p:nvPr/>
      </p:nvGrpSpPr>
      <p:grpSpPr>
        <a:xfrm>
          <a:off x="0" y="0"/>
          <a:ext cx="0" cy="0"/>
          <a:chOff x="0" y="0"/>
          <a:chExt cx="0" cy="0"/>
        </a:xfrm>
      </p:grpSpPr>
      <p:sp>
        <p:nvSpPr>
          <p:cNvPr id="14" name="Content Placeholder 3"/>
          <p:cNvSpPr>
            <a:spLocks noGrp="1"/>
          </p:cNvSpPr>
          <p:nvPr>
            <p:ph sz="quarter" idx="31"/>
          </p:nvPr>
        </p:nvSpPr>
        <p:spPr>
          <a:xfrm>
            <a:off x="5903914" y="1439862"/>
            <a:ext cx="5040312"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2"/>
            <a:ext cx="5039736"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00E3DCE-0198-CE8A-A0B5-FB10A8BFE9D2}"/>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0AE29DB1-3C70-ADA6-6DBE-EBF5C327F0BC}"/>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89BFA9D-E26F-89B0-1B4A-F213E8E0A6E9}"/>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80B4C616-FF0A-76B2-DE62-CF2082F98FC0}"/>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92837130-1C55-9F27-7BCB-D6C6C17C83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24598713"/>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mal_Front Cover Pic Top (disclaim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573686" y="5003363"/>
            <a:ext cx="10370540" cy="647774"/>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576264" y="2519363"/>
            <a:ext cx="10367962" cy="467291"/>
          </a:xfrm>
          <a:prstGeom prst="rect">
            <a:avLst/>
          </a:prstGeom>
        </p:spPr>
        <p:txBody>
          <a:bodyPr lIns="0" anchor="b" anchorCtr="0"/>
          <a:lstStyle>
            <a:lvl1pPr marL="0" indent="0">
              <a:lnSpc>
                <a:spcPts val="5400"/>
              </a:lnSpc>
              <a:buNone/>
              <a:defRPr sz="2800" b="0" spc="0" baseline="0">
                <a:solidFill>
                  <a:schemeClr val="bg1"/>
                </a:solidFill>
                <a:latin typeface="Times New Roman" panose="02020603050405020304" pitchFamily="18" charset="0"/>
                <a:cs typeface="Times New Roman" panose="02020603050405020304" pitchFamily="18" charset="0"/>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sp>
        <p:nvSpPr>
          <p:cNvPr id="9" name="Footer Placeholder 8">
            <a:extLst>
              <a:ext uri="{FF2B5EF4-FFF2-40B4-BE49-F238E27FC236}">
                <a16:creationId xmlns:a16="http://schemas.microsoft.com/office/drawing/2014/main" id="{6907CC8C-BEFC-7DEC-7D1C-DE136270E52B}"/>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2" name="Picture Placeholder 5">
            <a:extLst>
              <a:ext uri="{FF2B5EF4-FFF2-40B4-BE49-F238E27FC236}">
                <a16:creationId xmlns:a16="http://schemas.microsoft.com/office/drawing/2014/main" id="{07AF7596-4071-41CE-4D97-A4F058CD29ED}"/>
              </a:ext>
            </a:extLst>
          </p:cNvPr>
          <p:cNvSpPr>
            <a:spLocks noGrp="1"/>
          </p:cNvSpPr>
          <p:nvPr>
            <p:ph type="pic" sz="quarter" idx="14"/>
          </p:nvPr>
        </p:nvSpPr>
        <p:spPr>
          <a:xfrm>
            <a:off x="0" y="0"/>
            <a:ext cx="11520488" cy="2160000"/>
          </a:xfrm>
          <a:prstGeom prst="rect">
            <a:avLst/>
          </a:prstGeom>
          <a:solidFill>
            <a:srgbClr val="676867"/>
          </a:solidFill>
        </p:spPr>
        <p:txBody>
          <a:bodyPr/>
          <a:lstStyle>
            <a:lvl1pPr>
              <a:defRPr>
                <a:latin typeface="AvenirNext LT Pro Bold" panose="020B0504020202020204" pitchFamily="34" charset="77"/>
              </a:defRPr>
            </a:lvl1pPr>
          </a:lstStyle>
          <a:p>
            <a:endParaRPr lang="en-US" dirty="0"/>
          </a:p>
        </p:txBody>
      </p:sp>
      <p:sp>
        <p:nvSpPr>
          <p:cNvPr id="3" name="Title 1">
            <a:extLst>
              <a:ext uri="{FF2B5EF4-FFF2-40B4-BE49-F238E27FC236}">
                <a16:creationId xmlns:a16="http://schemas.microsoft.com/office/drawing/2014/main" id="{2EB243B4-C59F-9B11-27DF-6AB86E1F2A0E}"/>
              </a:ext>
            </a:extLst>
          </p:cNvPr>
          <p:cNvSpPr>
            <a:spLocks noGrp="1"/>
          </p:cNvSpPr>
          <p:nvPr>
            <p:ph type="title" hasCustomPrompt="1"/>
          </p:nvPr>
        </p:nvSpPr>
        <p:spPr>
          <a:xfrm>
            <a:off x="576264" y="3025422"/>
            <a:ext cx="10362669" cy="1545262"/>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5" name="Source">
            <a:extLst>
              <a:ext uri="{FF2B5EF4-FFF2-40B4-BE49-F238E27FC236}">
                <a16:creationId xmlns:a16="http://schemas.microsoft.com/office/drawing/2014/main" id="{C1FA107B-82CB-A529-68CD-92AAC9C31F8C}"/>
              </a:ext>
            </a:extLst>
          </p:cNvPr>
          <p:cNvSpPr>
            <a:spLocks noGrp="1"/>
          </p:cNvSpPr>
          <p:nvPr>
            <p:ph sz="quarter" idx="15" hasCustomPrompt="1"/>
          </p:nvPr>
        </p:nvSpPr>
        <p:spPr>
          <a:xfrm>
            <a:off x="576264" y="5545138"/>
            <a:ext cx="7863730" cy="358775"/>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pic>
        <p:nvPicPr>
          <p:cNvPr id="6" name="Graphic 5">
            <a:extLst>
              <a:ext uri="{FF2B5EF4-FFF2-40B4-BE49-F238E27FC236}">
                <a16:creationId xmlns:a16="http://schemas.microsoft.com/office/drawing/2014/main" id="{2864C3FB-B845-FBCF-44F1-E22D5FD8CD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16689" y="5697925"/>
            <a:ext cx="2275604" cy="711126"/>
          </a:xfrm>
          <a:prstGeom prst="rect">
            <a:avLst/>
          </a:prstGeom>
        </p:spPr>
      </p:pic>
    </p:spTree>
    <p:extLst>
      <p:ext uri="{BB962C8B-B14F-4D97-AF65-F5344CB8AC3E}">
        <p14:creationId xmlns:p14="http://schemas.microsoft.com/office/powerpoint/2010/main" val="1617809784"/>
      </p:ext>
    </p:extLst>
  </p:cSld>
  <p:clrMapOvr>
    <a:masterClrMapping/>
  </p:clrMapOvr>
  <p:extLst>
    <p:ext uri="{DCECCB84-F9BA-43D5-87BE-67443E8EF086}">
      <p15:sldGuideLst xmlns:p15="http://schemas.microsoft.com/office/powerpoint/2012/main">
        <p15:guide id="1" pos="544">
          <p15:clr>
            <a:srgbClr val="FBAE40"/>
          </p15:clr>
        </p15:guide>
        <p15:guide id="2" orient="horz" pos="158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 / 1 row chart / table single head">
    <p:spTree>
      <p:nvGrpSpPr>
        <p:cNvPr id="1" name=""/>
        <p:cNvGrpSpPr/>
        <p:nvPr/>
      </p:nvGrpSpPr>
      <p:grpSpPr>
        <a:xfrm>
          <a:off x="0" y="0"/>
          <a:ext cx="0" cy="0"/>
          <a:chOff x="0" y="0"/>
          <a:chExt cx="0" cy="0"/>
        </a:xfrm>
      </p:grpSpPr>
      <p:sp>
        <p:nvSpPr>
          <p:cNvPr id="20" name="Text Placeholder 12"/>
          <p:cNvSpPr>
            <a:spLocks noGrp="1"/>
          </p:cNvSpPr>
          <p:nvPr>
            <p:ph type="body" sz="quarter" idx="17" hasCustomPrompt="1"/>
          </p:nvPr>
        </p:nvSpPr>
        <p:spPr>
          <a:xfrm>
            <a:off x="5904001" y="1439863"/>
            <a:ext cx="5040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5039737" cy="288000"/>
          </a:xfrm>
        </p:spPr>
        <p:txBody>
          <a:bodyPr/>
          <a:lstStyle>
            <a:lvl1pPr algn="ctr">
              <a:defRPr cap="all" spc="0" baseline="0"/>
            </a:lvl1pPr>
          </a:lstStyle>
          <a:p>
            <a:pPr lvl="0"/>
            <a:r>
              <a:rPr lang="en-US" dirty="0"/>
              <a:t>Single line heading</a:t>
            </a:r>
          </a:p>
        </p:txBody>
      </p:sp>
      <p:sp>
        <p:nvSpPr>
          <p:cNvPr id="9" name="Content Placeholder 3"/>
          <p:cNvSpPr>
            <a:spLocks noGrp="1"/>
          </p:cNvSpPr>
          <p:nvPr>
            <p:ph sz="quarter" idx="31"/>
          </p:nvPr>
        </p:nvSpPr>
        <p:spPr>
          <a:xfrm>
            <a:off x="5904001" y="1727863"/>
            <a:ext cx="5040225"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p:cNvSpPr>
            <a:spLocks noGrp="1"/>
          </p:cNvSpPr>
          <p:nvPr>
            <p:ph sz="quarter" idx="30"/>
          </p:nvPr>
        </p:nvSpPr>
        <p:spPr>
          <a:xfrm>
            <a:off x="576263" y="1727863"/>
            <a:ext cx="5039737"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2"/>
          </p:nvPr>
        </p:nvSpPr>
        <p:spPr/>
        <p:txBody>
          <a:bodyPr/>
          <a:lstStyle/>
          <a:p>
            <a:fld id="{0F961903-03AF-4EAC-BF2C-945F8C5557D1}" type="slidenum">
              <a:rPr lang="en-GB" smtClean="0"/>
              <a:pPr/>
              <a:t>‹#›</a:t>
            </a:fld>
            <a:endParaRPr lang="en-GB" dirty="0"/>
          </a:p>
        </p:txBody>
      </p:sp>
      <p:sp>
        <p:nvSpPr>
          <p:cNvPr id="5" name="Text Placeholder 5">
            <a:extLst>
              <a:ext uri="{FF2B5EF4-FFF2-40B4-BE49-F238E27FC236}">
                <a16:creationId xmlns:a16="http://schemas.microsoft.com/office/drawing/2014/main" id="{3F1F6191-C141-F56A-C562-D9E21219F6D5}"/>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6" name="Title 5">
            <a:extLst>
              <a:ext uri="{FF2B5EF4-FFF2-40B4-BE49-F238E27FC236}">
                <a16:creationId xmlns:a16="http://schemas.microsoft.com/office/drawing/2014/main" id="{52AFD575-D302-2CB9-CA0D-54A12888A8C8}"/>
              </a:ext>
            </a:extLst>
          </p:cNvPr>
          <p:cNvSpPr>
            <a:spLocks noGrp="1"/>
          </p:cNvSpPr>
          <p:nvPr>
            <p:ph type="title"/>
          </p:nvPr>
        </p:nvSpPr>
        <p:spPr/>
        <p:txBody>
          <a:bodyPr/>
          <a:lstStyle/>
          <a:p>
            <a:r>
              <a:rPr lang="en-US"/>
              <a:t>Click to edit Master title style</a:t>
            </a:r>
            <a:endParaRPr lang="en-GB"/>
          </a:p>
        </p:txBody>
      </p:sp>
      <p:sp>
        <p:nvSpPr>
          <p:cNvPr id="7" name="Footer Placeholder 6">
            <a:extLst>
              <a:ext uri="{FF2B5EF4-FFF2-40B4-BE49-F238E27FC236}">
                <a16:creationId xmlns:a16="http://schemas.microsoft.com/office/drawing/2014/main" id="{B2751788-372A-C602-1384-0F5E60AF9F33}"/>
              </a:ext>
            </a:extLst>
          </p:cNvPr>
          <p:cNvSpPr>
            <a:spLocks noGrp="1"/>
          </p:cNvSpPr>
          <p:nvPr>
            <p:ph type="ftr" sz="quarter" idx="33"/>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238D7C8A-2684-8A6B-BF73-848DCCDBD46A}"/>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4FE1665A-C0B8-8D55-4E29-8C006F588D0D}"/>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02323131"/>
      </p:ext>
    </p:extLst>
  </p:cSld>
  <p:clrMapOvr>
    <a:masterClrMapping/>
  </p:clrMapOvr>
  <p:extLst>
    <p:ext uri="{DCECCB84-F9BA-43D5-87BE-67443E8EF086}">
      <p15:sldGuideLst xmlns:p15="http://schemas.microsoft.com/office/powerpoint/2012/main">
        <p15:guide id="2" pos="3538">
          <p15:clr>
            <a:srgbClr val="FBAE40"/>
          </p15:clr>
        </p15:guide>
        <p15:guide id="3" pos="37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ide column / Narrow column / 1 row content">
    <p:spTree>
      <p:nvGrpSpPr>
        <p:cNvPr id="1" name=""/>
        <p:cNvGrpSpPr/>
        <p:nvPr/>
      </p:nvGrpSpPr>
      <p:grpSpPr>
        <a:xfrm>
          <a:off x="0" y="0"/>
          <a:ext cx="0" cy="0"/>
          <a:chOff x="0" y="0"/>
          <a:chExt cx="0" cy="0"/>
        </a:xfrm>
      </p:grpSpPr>
      <p:sp>
        <p:nvSpPr>
          <p:cNvPr id="9" name="Content Placeholder 3"/>
          <p:cNvSpPr>
            <a:spLocks noGrp="1"/>
          </p:cNvSpPr>
          <p:nvPr>
            <p:ph sz="quarter" idx="32"/>
          </p:nvPr>
        </p:nvSpPr>
        <p:spPr>
          <a:xfrm>
            <a:off x="7704001" y="1439864"/>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4" y="1439866"/>
            <a:ext cx="6804025"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3"/>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8BE9BC7A-ADFB-F1A5-43F0-8DE2FED2AE71}"/>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E7ECD40C-669E-32EE-F2D6-2E2BE65C16A8}"/>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DF5FD3D3-E599-CB42-FA02-C18D27A185B6}"/>
              </a:ext>
            </a:extLst>
          </p:cNvPr>
          <p:cNvSpPr>
            <a:spLocks noGrp="1"/>
          </p:cNvSpPr>
          <p:nvPr>
            <p:ph type="ftr" sz="quarter" idx="3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0" name="Source">
            <a:extLst>
              <a:ext uri="{FF2B5EF4-FFF2-40B4-BE49-F238E27FC236}">
                <a16:creationId xmlns:a16="http://schemas.microsoft.com/office/drawing/2014/main" id="{A8D48AF7-D30A-CF1E-B43C-54B54EC7D4DE}"/>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47132CDA-790A-F0DA-6843-D7A014C2B929}"/>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53173997"/>
      </p:ext>
    </p:extLst>
  </p:cSld>
  <p:clrMapOvr>
    <a:masterClrMapping/>
  </p:clrMapOvr>
  <p:extLst>
    <p:ext uri="{DCECCB84-F9BA-43D5-87BE-67443E8EF086}">
      <p15:sldGuideLst xmlns:p15="http://schemas.microsoft.com/office/powerpoint/2012/main">
        <p15:guide id="1" pos="4649">
          <p15:clr>
            <a:srgbClr val="FBAE40"/>
          </p15:clr>
        </p15:guide>
        <p15:guide id="2" pos="485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ide column / Narrow column / chart / table single head">
    <p:spTree>
      <p:nvGrpSpPr>
        <p:cNvPr id="1" name=""/>
        <p:cNvGrpSpPr/>
        <p:nvPr/>
      </p:nvGrpSpPr>
      <p:grpSpPr>
        <a:xfrm>
          <a:off x="0" y="0"/>
          <a:ext cx="0" cy="0"/>
          <a:chOff x="0" y="0"/>
          <a:chExt cx="0" cy="0"/>
        </a:xfrm>
      </p:grpSpPr>
      <p:sp>
        <p:nvSpPr>
          <p:cNvPr id="12" name="Content Placeholder 3"/>
          <p:cNvSpPr>
            <a:spLocks noGrp="1"/>
          </p:cNvSpPr>
          <p:nvPr>
            <p:ph sz="quarter" idx="32"/>
          </p:nvPr>
        </p:nvSpPr>
        <p:spPr>
          <a:xfrm>
            <a:off x="7704001" y="1439863"/>
            <a:ext cx="3240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3" hasCustomPrompt="1"/>
          </p:nvPr>
        </p:nvSpPr>
        <p:spPr>
          <a:xfrm>
            <a:off x="576263" y="1439388"/>
            <a:ext cx="6804025"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33"/>
          </p:nvPr>
        </p:nvSpPr>
        <p:spPr>
          <a:xfrm>
            <a:off x="576263" y="1727202"/>
            <a:ext cx="6804025" cy="38179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1D94EDC-41F0-5DD8-430C-6A77FDF0BB0A}"/>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7AAFA77F-8AED-40B2-0853-40C7D745290C}"/>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0BF8D98-7901-6EA2-EF60-45E4F2998D1C}"/>
              </a:ext>
            </a:extLst>
          </p:cNvPr>
          <p:cNvSpPr>
            <a:spLocks noGrp="1"/>
          </p:cNvSpPr>
          <p:nvPr>
            <p:ph type="ftr" sz="quarter" idx="35"/>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7B56F1B6-EF3E-AAE0-58A6-23801988508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881EB602-6B25-F693-5DF1-8D06A531D9E5}"/>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630033617"/>
      </p:ext>
    </p:extLst>
  </p:cSld>
  <p:clrMapOvr>
    <a:masterClrMapping/>
  </p:clrMapOvr>
  <p:extLst>
    <p:ext uri="{DCECCB84-F9BA-43D5-87BE-67443E8EF086}">
      <p15:sldGuideLst xmlns:p15="http://schemas.microsoft.com/office/powerpoint/2012/main">
        <p15:guide id="1" pos="4853">
          <p15:clr>
            <a:srgbClr val="FBAE40"/>
          </p15:clr>
        </p15:guide>
        <p15:guide id="3" pos="464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4" y="3565139"/>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4" y="1439863"/>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C057BE26-A567-6629-941B-191FA607321C}"/>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0ABADC7-2EF8-C50D-1BD9-3D671C3365FE}"/>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22CF8809-F5AD-1C2F-5B01-866A9F2D2048}"/>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9E22E14C-14D2-9B4E-B29F-02D244813FCD}"/>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03300BBA-30F2-8487-8DDD-9BD763BAE0C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902454852"/>
      </p:ext>
    </p:extLst>
  </p:cSld>
  <p:clrMapOvr>
    <a:masterClrMapping/>
  </p:clrMapOvr>
  <p:extLst>
    <p:ext uri="{DCECCB84-F9BA-43D5-87BE-67443E8EF086}">
      <p15:sldGuideLst xmlns:p15="http://schemas.microsoft.com/office/powerpoint/2012/main">
        <p15:guide id="1" orient="horz" pos="2245">
          <p15:clr>
            <a:srgbClr val="FBAE40"/>
          </p15:clr>
        </p15:guide>
        <p15:guide id="2" orient="horz" pos="215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 column / 2 row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000" y="3564000"/>
            <a:ext cx="10368225"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000" y="1439864"/>
            <a:ext cx="10368225" cy="287338"/>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3"/>
          </p:nvPr>
        </p:nvSpPr>
        <p:spPr>
          <a:xfrm>
            <a:off x="576000" y="1727202"/>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4"/>
          </p:nvPr>
        </p:nvSpPr>
        <p:spPr>
          <a:xfrm>
            <a:off x="576000" y="3853138"/>
            <a:ext cx="10368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0059966-F1E5-F92C-4885-151774AB91FD}"/>
              </a:ext>
            </a:extLst>
          </p:cNvPr>
          <p:cNvSpPr>
            <a:spLocks noGrp="1"/>
          </p:cNvSpPr>
          <p:nvPr>
            <p:ph type="body" sz="quarter" idx="36"/>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E2433C84-0ABE-CAB6-2E0F-33677CE3580F}"/>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EAF738C-CD63-46C5-BD4F-19058B8CB648}"/>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0" name="Source">
            <a:extLst>
              <a:ext uri="{FF2B5EF4-FFF2-40B4-BE49-F238E27FC236}">
                <a16:creationId xmlns:a16="http://schemas.microsoft.com/office/drawing/2014/main" id="{E37FFFD3-EE51-5231-6A75-9F900AC8CD08}"/>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388F0923-CD7D-9D2B-BD82-14BEDBCF5CB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070444570"/>
      </p:ext>
    </p:extLst>
  </p:cSld>
  <p:clrMapOvr>
    <a:masterClrMapping/>
  </p:clrMapOvr>
  <p:extLst>
    <p:ext uri="{DCECCB84-F9BA-43D5-87BE-67443E8EF086}">
      <p15:sldGuideLst xmlns:p15="http://schemas.microsoft.com/office/powerpoint/2012/main">
        <p15:guide id="2" orient="horz" pos="2245">
          <p15:clr>
            <a:srgbClr val="FBAE40"/>
          </p15:clr>
        </p15:guide>
        <p15:guide id="3" orient="horz" pos="242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 column / 1 row content Slate">
    <p:bg>
      <p:bgPr>
        <a:solidFill>
          <a:schemeClr val="accent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76263" y="1439862"/>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14" name="Content Placeholder 3"/>
          <p:cNvSpPr>
            <a:spLocks noGrp="1"/>
          </p:cNvSpPr>
          <p:nvPr>
            <p:ph sz="quarter" idx="35"/>
          </p:nvPr>
        </p:nvSpPr>
        <p:spPr>
          <a:xfrm>
            <a:off x="4140245" y="1439862"/>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quarter" idx="36"/>
          </p:nvPr>
        </p:nvSpPr>
        <p:spPr>
          <a:xfrm>
            <a:off x="7704226" y="1439862"/>
            <a:ext cx="3240000" cy="4104000"/>
          </a:xfrm>
        </p:spPr>
        <p:txBody>
          <a:bodyPr/>
          <a:lstStyle>
            <a:lvl1pPr>
              <a:defRPr>
                <a:solidFill>
                  <a:srgbClr val="FF6120"/>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id="{C81F6ED6-A4BF-2FB1-71FD-DDCECB305ED2}"/>
              </a:ext>
            </a:extLst>
          </p:cNvPr>
          <p:cNvSpPr>
            <a:spLocks noGrp="1"/>
          </p:cNvSpPr>
          <p:nvPr>
            <p:ph type="body" sz="quarter" idx="11"/>
          </p:nvPr>
        </p:nvSpPr>
        <p:spPr>
          <a:xfrm>
            <a:off x="576264" y="1008000"/>
            <a:ext cx="10368000" cy="432000"/>
          </a:xfrm>
        </p:spPr>
        <p:txBody>
          <a:bodyPr/>
          <a:lstStyle>
            <a:lvl1pPr>
              <a:defRPr sz="1400" b="0" spc="0" baseline="0">
                <a:solidFill>
                  <a:schemeClr val="bg2"/>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F803EAB-132F-D9A4-7708-1716A4EEEB4C}"/>
              </a:ext>
            </a:extLst>
          </p:cNvPr>
          <p:cNvSpPr>
            <a:spLocks noGrp="1"/>
          </p:cNvSpPr>
          <p:nvPr>
            <p:ph type="title"/>
          </p:nvPr>
        </p:nvSpPr>
        <p:spPr/>
        <p:txBody>
          <a:bodyPr/>
          <a:lstStyle>
            <a:lvl1pPr>
              <a:defRPr>
                <a:solidFill>
                  <a:srgbClr val="FF6120"/>
                </a:solidFill>
              </a:defRPr>
            </a:lvl1pPr>
          </a:lstStyle>
          <a:p>
            <a:r>
              <a:rPr lang="en-US" dirty="0"/>
              <a:t>Click to edit Master title style</a:t>
            </a:r>
            <a:endParaRPr lang="en-GB" dirty="0"/>
          </a:p>
        </p:txBody>
      </p:sp>
      <p:sp>
        <p:nvSpPr>
          <p:cNvPr id="8" name="Footer Placeholder 7">
            <a:extLst>
              <a:ext uri="{FF2B5EF4-FFF2-40B4-BE49-F238E27FC236}">
                <a16:creationId xmlns:a16="http://schemas.microsoft.com/office/drawing/2014/main" id="{4156B3A0-33FC-82FD-0F59-2F36B080F321}"/>
              </a:ext>
            </a:extLst>
          </p:cNvPr>
          <p:cNvSpPr>
            <a:spLocks noGrp="1"/>
          </p:cNvSpPr>
          <p:nvPr>
            <p:ph type="ftr" sz="quarter" idx="37"/>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10" name="Source">
            <a:extLst>
              <a:ext uri="{FF2B5EF4-FFF2-40B4-BE49-F238E27FC236}">
                <a16:creationId xmlns:a16="http://schemas.microsoft.com/office/drawing/2014/main" id="{55C96CE3-8A6E-C356-6ABA-1CFE0CBF6A3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bg1"/>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F118757F-522A-B0CB-DF1E-C5271902E03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chemeClr val="accent4"/>
                </a:solidFill>
                <a:latin typeface="AvenirNext LT Pro Bold" panose="020B0504020202020204" pitchFamily="34" charset="77"/>
              </a:defRPr>
            </a:lvl1pPr>
          </a:lstStyle>
          <a:p>
            <a:pPr lvl="0"/>
            <a:r>
              <a:rPr lang="en-US" dirty="0"/>
              <a:t>LOB OR SECTION TITLE (ALL CAPS) – AVENIR NEXT 9PT</a:t>
            </a:r>
          </a:p>
        </p:txBody>
      </p:sp>
      <p:pic>
        <p:nvPicPr>
          <p:cNvPr id="9" name="Picture 8">
            <a:extLst>
              <a:ext uri="{FF2B5EF4-FFF2-40B4-BE49-F238E27FC236}">
                <a16:creationId xmlns:a16="http://schemas.microsoft.com/office/drawing/2014/main" id="{C1AEA089-BF8E-D23C-5806-0D9E9BBCE0A3}"/>
              </a:ext>
            </a:extLst>
          </p:cNvPr>
          <p:cNvPicPr>
            <a:picLocks noChangeAspect="1"/>
          </p:cNvPicPr>
          <p:nvPr userDrawn="1"/>
        </p:nvPicPr>
        <p:blipFill>
          <a:blip r:embed="rId2"/>
          <a:stretch>
            <a:fillRect/>
          </a:stretch>
        </p:blipFill>
        <p:spPr>
          <a:xfrm>
            <a:off x="9354397" y="6142501"/>
            <a:ext cx="1893795" cy="152200"/>
          </a:xfrm>
          <a:prstGeom prst="rect">
            <a:avLst/>
          </a:prstGeom>
        </p:spPr>
      </p:pic>
    </p:spTree>
    <p:extLst>
      <p:ext uri="{BB962C8B-B14F-4D97-AF65-F5344CB8AC3E}">
        <p14:creationId xmlns:p14="http://schemas.microsoft.com/office/powerpoint/2010/main" val="1878489449"/>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column / 1 row content">
    <p:spTree>
      <p:nvGrpSpPr>
        <p:cNvPr id="1" name=""/>
        <p:cNvGrpSpPr/>
        <p:nvPr/>
      </p:nvGrpSpPr>
      <p:grpSpPr>
        <a:xfrm>
          <a:off x="0" y="0"/>
          <a:ext cx="0" cy="0"/>
          <a:chOff x="0" y="0"/>
          <a:chExt cx="0" cy="0"/>
        </a:xfrm>
      </p:grpSpPr>
      <p:sp>
        <p:nvSpPr>
          <p:cNvPr id="35" name="Content Placeholder 3"/>
          <p:cNvSpPr>
            <a:spLocks noGrp="1"/>
          </p:cNvSpPr>
          <p:nvPr>
            <p:ph sz="quarter" idx="33"/>
          </p:nvPr>
        </p:nvSpPr>
        <p:spPr>
          <a:xfrm>
            <a:off x="7704226"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Content Placeholder 3"/>
          <p:cNvSpPr>
            <a:spLocks noGrp="1"/>
          </p:cNvSpPr>
          <p:nvPr>
            <p:ph sz="quarter" idx="31"/>
          </p:nvPr>
        </p:nvSpPr>
        <p:spPr>
          <a:xfrm>
            <a:off x="4140245"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40001"/>
            <a:ext cx="3240000" cy="4104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4"/>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6930D5BD-3F86-10E5-8E28-0B7C670FADB7}"/>
              </a:ext>
            </a:extLst>
          </p:cNvPr>
          <p:cNvSpPr>
            <a:spLocks noGrp="1"/>
          </p:cNvSpPr>
          <p:nvPr>
            <p:ph type="body" sz="quarter" idx="35"/>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862163CC-B434-0EF9-A909-11A40FCC228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4B137546-4981-7744-91DC-2E34648D15BD}"/>
              </a:ext>
            </a:extLst>
          </p:cNvPr>
          <p:cNvSpPr>
            <a:spLocks noGrp="1"/>
          </p:cNvSpPr>
          <p:nvPr>
            <p:ph type="ftr" sz="quarter" idx="36"/>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CC9AE75C-879E-4A30-493C-56E336421B44}"/>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A6F7966-9C58-8CD0-EB54-7949A36B2D5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071241931"/>
      </p:ext>
    </p:extLst>
  </p:cSld>
  <p:clrMapOvr>
    <a:masterClrMapping/>
  </p:clrMapOvr>
  <p:extLst>
    <p:ext uri="{DCECCB84-F9BA-43D5-87BE-67443E8EF086}">
      <p15:sldGuideLst xmlns:p15="http://schemas.microsoft.com/office/powerpoint/2012/main">
        <p15:guide id="1" pos="2608">
          <p15:clr>
            <a:srgbClr val="FBAE40"/>
          </p15:clr>
        </p15:guide>
        <p15:guide id="2" pos="2404">
          <p15:clr>
            <a:srgbClr val="FBAE40"/>
          </p15:clr>
        </p15:guide>
        <p15:guide id="3" pos="4649">
          <p15:clr>
            <a:srgbClr val="FBAE40"/>
          </p15:clr>
        </p15:guide>
        <p15:guide id="4" pos="485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lumn / 1 row chart / table single head">
    <p:spTree>
      <p:nvGrpSpPr>
        <p:cNvPr id="1" name=""/>
        <p:cNvGrpSpPr/>
        <p:nvPr/>
      </p:nvGrpSpPr>
      <p:grpSpPr>
        <a:xfrm>
          <a:off x="0" y="0"/>
          <a:ext cx="0" cy="0"/>
          <a:chOff x="0" y="0"/>
          <a:chExt cx="0" cy="0"/>
        </a:xfrm>
      </p:grpSpPr>
      <p:sp>
        <p:nvSpPr>
          <p:cNvPr id="22" name="Text Placeholder 12"/>
          <p:cNvSpPr>
            <a:spLocks noGrp="1"/>
          </p:cNvSpPr>
          <p:nvPr>
            <p:ph type="body" sz="quarter" idx="19" hasCustomPrompt="1"/>
          </p:nvPr>
        </p:nvSpPr>
        <p:spPr>
          <a:xfrm>
            <a:off x="7703781" y="1439863"/>
            <a:ext cx="3240000" cy="288000"/>
          </a:xfrm>
        </p:spPr>
        <p:txBody>
          <a:bodyPr/>
          <a:lstStyle>
            <a:lvl1pPr algn="ctr">
              <a:defRPr cap="all" spc="0" baseline="0"/>
            </a:lvl1pPr>
          </a:lstStyle>
          <a:p>
            <a:pPr lvl="0"/>
            <a:r>
              <a:rPr lang="en-US" dirty="0"/>
              <a:t>Single line heading</a:t>
            </a:r>
          </a:p>
        </p:txBody>
      </p:sp>
      <p:sp>
        <p:nvSpPr>
          <p:cNvPr id="18" name="Text Placeholder 12"/>
          <p:cNvSpPr>
            <a:spLocks noGrp="1"/>
          </p:cNvSpPr>
          <p:nvPr>
            <p:ph type="body" sz="quarter" idx="15" hasCustomPrompt="1"/>
          </p:nvPr>
        </p:nvSpPr>
        <p:spPr>
          <a:xfrm>
            <a:off x="4140022" y="1439863"/>
            <a:ext cx="32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3240000" cy="288000"/>
          </a:xfrm>
        </p:spPr>
        <p:txBody>
          <a:bodyPr/>
          <a:lstStyle>
            <a:lvl1pPr algn="ctr">
              <a:defRPr cap="all" spc="0" baseline="0"/>
            </a:lvl1pPr>
          </a:lstStyle>
          <a:p>
            <a:pPr lvl="0"/>
            <a:r>
              <a:rPr lang="en-US" dirty="0"/>
              <a:t>Single line heading</a:t>
            </a:r>
          </a:p>
        </p:txBody>
      </p:sp>
      <p:sp>
        <p:nvSpPr>
          <p:cNvPr id="4" name="Content Placeholder 3"/>
          <p:cNvSpPr>
            <a:spLocks noGrp="1"/>
          </p:cNvSpPr>
          <p:nvPr>
            <p:ph sz="quarter" idx="20"/>
          </p:nvPr>
        </p:nvSpPr>
        <p:spPr>
          <a:xfrm>
            <a:off x="576263"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p:cNvSpPr>
            <a:spLocks noGrp="1"/>
          </p:cNvSpPr>
          <p:nvPr>
            <p:ph sz="quarter" idx="21"/>
          </p:nvPr>
        </p:nvSpPr>
        <p:spPr>
          <a:xfrm>
            <a:off x="4140022"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p:cNvSpPr>
            <a:spLocks noGrp="1"/>
          </p:cNvSpPr>
          <p:nvPr>
            <p:ph sz="quarter" idx="22"/>
          </p:nvPr>
        </p:nvSpPr>
        <p:spPr>
          <a:xfrm>
            <a:off x="7704226" y="1727676"/>
            <a:ext cx="3240000" cy="3817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23"/>
          </p:nvPr>
        </p:nvSpPr>
        <p:spPr/>
        <p:txBody>
          <a:bodyPr/>
          <a:lstStyle/>
          <a:p>
            <a:fld id="{0F961903-03AF-4EAC-BF2C-945F8C5557D1}" type="slidenum">
              <a:rPr lang="en-GB" smtClean="0"/>
              <a:pPr/>
              <a:t>‹#›</a:t>
            </a:fld>
            <a:endParaRPr lang="en-GB" dirty="0"/>
          </a:p>
        </p:txBody>
      </p:sp>
      <p:sp>
        <p:nvSpPr>
          <p:cNvPr id="7" name="Text Placeholder 5">
            <a:extLst>
              <a:ext uri="{FF2B5EF4-FFF2-40B4-BE49-F238E27FC236}">
                <a16:creationId xmlns:a16="http://schemas.microsoft.com/office/drawing/2014/main" id="{1BB28D4C-0BFA-C698-9C0C-A247DB4AE46B}"/>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9" name="Title 8">
            <a:extLst>
              <a:ext uri="{FF2B5EF4-FFF2-40B4-BE49-F238E27FC236}">
                <a16:creationId xmlns:a16="http://schemas.microsoft.com/office/drawing/2014/main" id="{4AE33DC0-053B-603D-970B-1BC65594FF96}"/>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B16B62F7-F764-0E16-5F75-E5754DE1F541}"/>
              </a:ext>
            </a:extLst>
          </p:cNvPr>
          <p:cNvSpPr>
            <a:spLocks noGrp="1"/>
          </p:cNvSpPr>
          <p:nvPr>
            <p:ph type="ftr" sz="quarter" idx="2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F377B91D-27A2-3575-1DE7-AA4B039F8EB0}"/>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6072A373-88D4-F85D-8E0D-C8817D21B0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320548228"/>
      </p:ext>
    </p:extLst>
  </p:cSld>
  <p:clrMapOvr>
    <a:masterClrMapping/>
  </p:clrMapOvr>
  <p:extLst>
    <p:ext uri="{DCECCB84-F9BA-43D5-87BE-67443E8EF086}">
      <p15:sldGuideLst xmlns:p15="http://schemas.microsoft.com/office/powerpoint/2012/main">
        <p15:guide id="2" pos="2404">
          <p15:clr>
            <a:srgbClr val="FBAE40"/>
          </p15:clr>
        </p15:guide>
        <p15:guide id="3" pos="2608">
          <p15:clr>
            <a:srgbClr val="FBAE40"/>
          </p15:clr>
        </p15:guide>
        <p15:guide id="4" pos="4649">
          <p15:clr>
            <a:srgbClr val="FBAE40"/>
          </p15:clr>
        </p15:guide>
        <p15:guide id="5" pos="4853">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 left / 2 row / 3 holders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3913" y="3565139"/>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3913" y="1439864"/>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312"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26698D0-2521-64ED-8751-7B6D3592AC9A}"/>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19611A02-A2DC-3B9E-5EF4-D4582A30796F}"/>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E15DFDD-E668-F9EE-59A3-742D286200DE}"/>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F7BDC071-74DE-E678-7195-C8A05BEF5C1E}"/>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DA6D802-D6D7-C2D4-610B-48FF9C7C5271}"/>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923726834"/>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left / 2 row / 3 content /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1" y="3565138"/>
            <a:ext cx="5040225"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1" y="1439863"/>
            <a:ext cx="5040225" cy="288000"/>
          </a:xfrm>
        </p:spPr>
        <p:txBody>
          <a:bodyPr/>
          <a:lstStyle>
            <a:lvl1pPr algn="ctr">
              <a:defRPr cap="all" spc="0" baseline="0"/>
            </a:lvl1pPr>
          </a:lstStyle>
          <a:p>
            <a:pPr lvl="0"/>
            <a:r>
              <a:rPr lang="en-US" dirty="0"/>
              <a:t>Single line heading</a:t>
            </a:r>
          </a:p>
        </p:txBody>
      </p:sp>
      <p:sp>
        <p:nvSpPr>
          <p:cNvPr id="12" name="Text Placeholder 12"/>
          <p:cNvSpPr>
            <a:spLocks noGrp="1"/>
          </p:cNvSpPr>
          <p:nvPr>
            <p:ph type="body" sz="quarter" idx="32" hasCustomPrompt="1"/>
          </p:nvPr>
        </p:nvSpPr>
        <p:spPr>
          <a:xfrm>
            <a:off x="576576"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575" y="1727863"/>
            <a:ext cx="5040000" cy="3817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1" y="1727863"/>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904001" y="3853138"/>
            <a:ext cx="5040225"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B22BA321-2CD4-3A08-93E3-C8C284B74415}"/>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1DD39DFC-DD77-E691-5507-50B85487AA6E}"/>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8214A525-F2DA-6761-FEAD-E4FC7E89436A}"/>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AF7B590F-305F-13AB-92D2-6C7C60939BE8}"/>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C1083F14-78BF-C3DB-606D-CB1ACE43FFB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581737622"/>
      </p:ext>
    </p:extLst>
  </p:cSld>
  <p:clrMapOvr>
    <a:masterClrMapping/>
  </p:clrMapOvr>
  <p:extLst>
    <p:ext uri="{DCECCB84-F9BA-43D5-87BE-67443E8EF086}">
      <p15:sldGuideLst xmlns:p15="http://schemas.microsoft.com/office/powerpoint/2012/main">
        <p15:guide id="1" pos="3538">
          <p15:clr>
            <a:srgbClr val="FBAE40"/>
          </p15:clr>
        </p15:guide>
        <p15:guide id="4" orient="horz" pos="2245">
          <p15:clr>
            <a:srgbClr val="FBAE40"/>
          </p15:clr>
        </p15:guide>
        <p15:guide id="5" pos="3719">
          <p15:clr>
            <a:srgbClr val="FBAE40"/>
          </p15:clr>
        </p15:guide>
        <p15:guide id="6" orient="horz" pos="2154">
          <p15:clr>
            <a:srgbClr val="FBAE40"/>
          </p15:clr>
        </p15:guide>
        <p15:guide id="7" orient="horz" pos="242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mal_Divider slide with numbe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864000" y="4136227"/>
            <a:ext cx="5866661" cy="767408"/>
          </a:xfrm>
          <a:prstGeom prst="rect">
            <a:avLst/>
          </a:prstGeom>
        </p:spPr>
        <p:txBody>
          <a:bodyPr lIns="0"/>
          <a:lstStyle>
            <a:lvl1pPr marL="0" indent="0">
              <a:buNone/>
              <a:defRPr sz="1800" b="0" spc="0" baseline="0">
                <a:solidFill>
                  <a:srgbClr val="FF6120"/>
                </a:solidFill>
                <a:latin typeface="AvenirNext LT Pro Bold"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5" name="Text Placeholder 8">
            <a:extLst>
              <a:ext uri="{FF2B5EF4-FFF2-40B4-BE49-F238E27FC236}">
                <a16:creationId xmlns:a16="http://schemas.microsoft.com/office/drawing/2014/main" id="{D8B2D879-1C83-D175-0F65-92CF37CD5A45}"/>
              </a:ext>
            </a:extLst>
          </p:cNvPr>
          <p:cNvSpPr>
            <a:spLocks noGrp="1"/>
          </p:cNvSpPr>
          <p:nvPr>
            <p:ph type="body" sz="quarter" idx="12" hasCustomPrompt="1"/>
          </p:nvPr>
        </p:nvSpPr>
        <p:spPr>
          <a:xfrm>
            <a:off x="6952891" y="2228351"/>
            <a:ext cx="4083169" cy="3456093"/>
          </a:xfrm>
          <a:prstGeom prst="rect">
            <a:avLst/>
          </a:prstGeom>
          <a:ln>
            <a:noFill/>
          </a:ln>
        </p:spPr>
        <p:txBody>
          <a:bodyPr/>
          <a:lstStyle>
            <a:lvl1pPr marL="0" indent="0" algn="r">
              <a:buNone/>
              <a:defRPr sz="28600" b="0">
                <a:ln w="25400">
                  <a:solidFill>
                    <a:srgbClr val="FF6120"/>
                  </a:solidFill>
                </a:ln>
                <a:noFill/>
                <a:latin typeface="Impact" panose="020B080603090205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01</a:t>
            </a:r>
          </a:p>
        </p:txBody>
      </p:sp>
      <p:sp>
        <p:nvSpPr>
          <p:cNvPr id="6" name="Footer Placeholder 5">
            <a:extLst>
              <a:ext uri="{FF2B5EF4-FFF2-40B4-BE49-F238E27FC236}">
                <a16:creationId xmlns:a16="http://schemas.microsoft.com/office/drawing/2014/main" id="{34754654-4B64-ED83-1C84-DD6262F862F9}"/>
              </a:ext>
            </a:extLst>
          </p:cNvPr>
          <p:cNvSpPr>
            <a:spLocks noGrp="1"/>
          </p:cNvSpPr>
          <p:nvPr>
            <p:ph type="ftr" sz="quarter" idx="13"/>
          </p:nvPr>
        </p:nvSpPr>
        <p:spPr/>
        <p:txBody>
          <a:bodyPr/>
          <a:lstStyle>
            <a:lvl1pPr>
              <a:defRPr>
                <a:solidFill>
                  <a:schemeClr val="bg1"/>
                </a:solidFill>
              </a:defRPr>
            </a:lvl1pPr>
          </a:lstStyle>
          <a:p>
            <a:r>
              <a:rPr lang="en-GB" i="1">
                <a:latin typeface="AvenirNext LT Pro Bold" panose="020B0504020202020204" pitchFamily="34" charset="77"/>
              </a:rPr>
              <a:t>For Use with Financial Professionals and Institutional Investors Only. Not for Use with the General Public.</a:t>
            </a:r>
            <a:endParaRPr lang="en-GB" i="1" dirty="0">
              <a:latin typeface="AvenirNext LT Pro Bold" panose="020B0504020202020204" pitchFamily="34" charset="77"/>
            </a:endParaRPr>
          </a:p>
        </p:txBody>
      </p:sp>
      <p:sp>
        <p:nvSpPr>
          <p:cNvPr id="9" name="Slide Number Placeholder 8">
            <a:extLst>
              <a:ext uri="{FF2B5EF4-FFF2-40B4-BE49-F238E27FC236}">
                <a16:creationId xmlns:a16="http://schemas.microsoft.com/office/drawing/2014/main" id="{5F69C671-817B-8A0D-365E-F43B706AF048}"/>
              </a:ext>
            </a:extLst>
          </p:cNvPr>
          <p:cNvSpPr>
            <a:spLocks noGrp="1"/>
          </p:cNvSpPr>
          <p:nvPr>
            <p:ph type="sldNum" sz="quarter" idx="14"/>
          </p:nvPr>
        </p:nvSpPr>
        <p:spPr/>
        <p:txBody>
          <a:bodyPr/>
          <a:lstStyle>
            <a:lvl1pPr>
              <a:defRPr>
                <a:solidFill>
                  <a:schemeClr val="bg1"/>
                </a:solidFill>
              </a:defRPr>
            </a:lvl1pPr>
          </a:lstStyle>
          <a:p>
            <a:fld id="{0F961903-03AF-4EAC-BF2C-945F8C5557D1}" type="slidenum">
              <a:rPr lang="en-GB" smtClean="0"/>
              <a:pPr/>
              <a:t>‹#›</a:t>
            </a:fld>
            <a:endParaRPr lang="en-GB" dirty="0"/>
          </a:p>
        </p:txBody>
      </p:sp>
      <p:sp>
        <p:nvSpPr>
          <p:cNvPr id="8" name="Title 1">
            <a:extLst>
              <a:ext uri="{FF2B5EF4-FFF2-40B4-BE49-F238E27FC236}">
                <a16:creationId xmlns:a16="http://schemas.microsoft.com/office/drawing/2014/main" id="{281660A2-DD88-9578-24ED-659B1EBFAD55}"/>
              </a:ext>
            </a:extLst>
          </p:cNvPr>
          <p:cNvSpPr>
            <a:spLocks noGrp="1"/>
          </p:cNvSpPr>
          <p:nvPr>
            <p:ph type="title" hasCustomPrompt="1"/>
          </p:nvPr>
        </p:nvSpPr>
        <p:spPr>
          <a:xfrm>
            <a:off x="864001" y="2229556"/>
            <a:ext cx="6829378" cy="1563189"/>
          </a:xfrm>
        </p:spPr>
        <p:txBody>
          <a:bodyPr anchor="b" anchorCtr="0"/>
          <a:lstStyle>
            <a:lvl1pPr>
              <a:lnSpc>
                <a:spcPct val="80000"/>
              </a:lnSpc>
              <a:defRPr sz="5400" cap="all" baseline="0">
                <a:solidFill>
                  <a:schemeClr val="bg1"/>
                </a:solidFill>
              </a:defRPr>
            </a:lvl1pPr>
          </a:lstStyle>
          <a:p>
            <a:r>
              <a:rPr lang="en-GB" dirty="0"/>
              <a:t>LARGE TITLE</a:t>
            </a:r>
            <a:br>
              <a:rPr lang="en-GB" dirty="0"/>
            </a:br>
            <a:r>
              <a:rPr lang="en-GB" dirty="0"/>
              <a:t>2 LINES CAPS </a:t>
            </a:r>
          </a:p>
        </p:txBody>
      </p:sp>
      <p:sp>
        <p:nvSpPr>
          <p:cNvPr id="4" name="Rectangle 3">
            <a:extLst>
              <a:ext uri="{FF2B5EF4-FFF2-40B4-BE49-F238E27FC236}">
                <a16:creationId xmlns:a16="http://schemas.microsoft.com/office/drawing/2014/main" id="{24CF0707-A572-0F04-0BFA-74BE1B62194E}"/>
              </a:ext>
            </a:extLst>
          </p:cNvPr>
          <p:cNvSpPr/>
          <p:nvPr userDrawn="1"/>
        </p:nvSpPr>
        <p:spPr>
          <a:xfrm>
            <a:off x="0" y="2447925"/>
            <a:ext cx="576000" cy="1179266"/>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dirty="0"/>
          </a:p>
        </p:txBody>
      </p:sp>
    </p:spTree>
    <p:extLst>
      <p:ext uri="{BB962C8B-B14F-4D97-AF65-F5344CB8AC3E}">
        <p14:creationId xmlns:p14="http://schemas.microsoft.com/office/powerpoint/2010/main" val="447556573"/>
      </p:ext>
    </p:extLst>
  </p:cSld>
  <p:clrMapOvr>
    <a:masterClrMapping/>
  </p:clrMapOvr>
  <p:extLst>
    <p:ext uri="{DCECCB84-F9BA-43D5-87BE-67443E8EF086}">
      <p15:sldGuideLst xmlns:p15="http://schemas.microsoft.com/office/powerpoint/2012/main">
        <p15:guide id="1" pos="544">
          <p15:clr>
            <a:srgbClr val="FBAE40"/>
          </p15:clr>
        </p15:guide>
        <p15:guide id="2" orient="horz" pos="154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column right / 2 row / 3 holders content">
    <p:spTree>
      <p:nvGrpSpPr>
        <p:cNvPr id="1" name=""/>
        <p:cNvGrpSpPr/>
        <p:nvPr/>
      </p:nvGrpSpPr>
      <p:grpSpPr>
        <a:xfrm>
          <a:off x="0" y="0"/>
          <a:ext cx="0" cy="0"/>
          <a:chOff x="0" y="0"/>
          <a:chExt cx="0" cy="0"/>
        </a:xfrm>
      </p:grpSpPr>
      <p:sp>
        <p:nvSpPr>
          <p:cNvPr id="4" name="Content Placeholder 3"/>
          <p:cNvSpPr>
            <a:spLocks noGrp="1"/>
          </p:cNvSpPr>
          <p:nvPr>
            <p:ph sz="quarter" idx="30"/>
          </p:nvPr>
        </p:nvSpPr>
        <p:spPr>
          <a:xfrm>
            <a:off x="5903913" y="1439863"/>
            <a:ext cx="5040312"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8" name="Content Placeholder 3"/>
          <p:cNvSpPr>
            <a:spLocks noGrp="1"/>
          </p:cNvSpPr>
          <p:nvPr>
            <p:ph sz="quarter" idx="36"/>
          </p:nvPr>
        </p:nvSpPr>
        <p:spPr>
          <a:xfrm>
            <a:off x="576263" y="3565139"/>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76263" y="1439862"/>
            <a:ext cx="504031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0D62CA40-C446-DE3A-3F62-1CD2523FFED4}"/>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CEA01CF5-1536-7364-56D6-B82AE92DC6F5}"/>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Footer Placeholder 7">
            <a:extLst>
              <a:ext uri="{FF2B5EF4-FFF2-40B4-BE49-F238E27FC236}">
                <a16:creationId xmlns:a16="http://schemas.microsoft.com/office/drawing/2014/main" id="{C909C0EF-9646-F91C-67D7-6178814578EA}"/>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3A48A4B8-29DC-BFCA-A18D-3D85857E4036}"/>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30D60C1-A2D2-7D48-E192-412E4C0CE4F0}"/>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269016832"/>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column right / 2 row / 3 content / chart / table single head">
    <p:spTree>
      <p:nvGrpSpPr>
        <p:cNvPr id="1" name=""/>
        <p:cNvGrpSpPr/>
        <p:nvPr/>
      </p:nvGrpSpPr>
      <p:grpSpPr>
        <a:xfrm>
          <a:off x="0" y="0"/>
          <a:ext cx="0" cy="0"/>
          <a:chOff x="0" y="0"/>
          <a:chExt cx="0" cy="0"/>
        </a:xfrm>
      </p:grpSpPr>
      <p:sp>
        <p:nvSpPr>
          <p:cNvPr id="12" name="Text Placeholder 12"/>
          <p:cNvSpPr>
            <a:spLocks noGrp="1"/>
          </p:cNvSpPr>
          <p:nvPr>
            <p:ph type="body" sz="quarter" idx="31" hasCustomPrompt="1"/>
          </p:nvPr>
        </p:nvSpPr>
        <p:spPr>
          <a:xfrm>
            <a:off x="5904001" y="1439200"/>
            <a:ext cx="5040225" cy="288000"/>
          </a:xfrm>
        </p:spPr>
        <p:txBody>
          <a:bodyPr/>
          <a:lstStyle>
            <a:lvl1pPr algn="ctr">
              <a:defRPr cap="all" spc="0" baseline="0"/>
            </a:lvl1pPr>
          </a:lstStyle>
          <a:p>
            <a:pPr lvl="0"/>
            <a:r>
              <a:rPr lang="en-US" dirty="0"/>
              <a:t>Single line heading</a:t>
            </a:r>
          </a:p>
        </p:txBody>
      </p:sp>
      <p:sp>
        <p:nvSpPr>
          <p:cNvPr id="28" name="Text Placeholder 12"/>
          <p:cNvSpPr>
            <a:spLocks noGrp="1"/>
          </p:cNvSpPr>
          <p:nvPr>
            <p:ph type="body" sz="quarter" idx="25"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76262" y="1439200"/>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6"/>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7"/>
          </p:nvPr>
        </p:nvSpPr>
        <p:spPr>
          <a:xfrm>
            <a:off x="5904001" y="1727200"/>
            <a:ext cx="5040225" cy="3817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8"/>
          </p:nvPr>
        </p:nvSpPr>
        <p:spPr>
          <a:xfrm>
            <a:off x="576262"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9"/>
          </p:nvPr>
        </p:nvSpPr>
        <p:spPr/>
        <p:txBody>
          <a:bodyPr/>
          <a:lstStyle/>
          <a:p>
            <a:fld id="{0F961903-03AF-4EAC-BF2C-945F8C5557D1}" type="slidenum">
              <a:rPr lang="en-GB" smtClean="0"/>
              <a:pPr/>
              <a:t>‹#›</a:t>
            </a:fld>
            <a:endParaRPr lang="en-GB" dirty="0"/>
          </a:p>
        </p:txBody>
      </p:sp>
      <p:sp>
        <p:nvSpPr>
          <p:cNvPr id="6" name="Title 5">
            <a:extLst>
              <a:ext uri="{FF2B5EF4-FFF2-40B4-BE49-F238E27FC236}">
                <a16:creationId xmlns:a16="http://schemas.microsoft.com/office/drawing/2014/main" id="{E356C9DB-EDC0-8086-5F36-681E2917C961}"/>
              </a:ext>
            </a:extLst>
          </p:cNvPr>
          <p:cNvSpPr>
            <a:spLocks noGrp="1"/>
          </p:cNvSpPr>
          <p:nvPr>
            <p:ph type="title"/>
          </p:nvPr>
        </p:nvSpPr>
        <p:spPr/>
        <p:txBody>
          <a:bodyPr/>
          <a:lstStyle/>
          <a:p>
            <a:r>
              <a:rPr lang="en-US"/>
              <a:t>Click to edit Master title style</a:t>
            </a:r>
            <a:endParaRPr lang="en-GB"/>
          </a:p>
        </p:txBody>
      </p:sp>
      <p:sp>
        <p:nvSpPr>
          <p:cNvPr id="8" name="Text Placeholder 5">
            <a:extLst>
              <a:ext uri="{FF2B5EF4-FFF2-40B4-BE49-F238E27FC236}">
                <a16:creationId xmlns:a16="http://schemas.microsoft.com/office/drawing/2014/main" id="{13B50EBA-E808-3D67-C9C6-750D5B04E59D}"/>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Footer Placeholder 9">
            <a:extLst>
              <a:ext uri="{FF2B5EF4-FFF2-40B4-BE49-F238E27FC236}">
                <a16:creationId xmlns:a16="http://schemas.microsoft.com/office/drawing/2014/main" id="{4F190B68-2137-2F6A-56DD-68656101F5AA}"/>
              </a:ext>
            </a:extLst>
          </p:cNvPr>
          <p:cNvSpPr>
            <a:spLocks noGrp="1"/>
          </p:cNvSpPr>
          <p:nvPr>
            <p:ph type="ftr" sz="quarter" idx="40"/>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331FD1C5-4DF1-2D95-6607-4B6653526549}"/>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6A92A633-2161-2680-45A7-DC1FDE66F178}"/>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382156310"/>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4" y="3565139"/>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5" name="Content Placeholder 3"/>
          <p:cNvSpPr>
            <a:spLocks noGrp="1"/>
          </p:cNvSpPr>
          <p:nvPr>
            <p:ph sz="quarter" idx="33"/>
          </p:nvPr>
        </p:nvSpPr>
        <p:spPr>
          <a:xfrm>
            <a:off x="8568225" y="1439863"/>
            <a:ext cx="2376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4" y="1439863"/>
            <a:ext cx="7704137"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DD4096F1-C6EE-E82A-2476-9991E00C0123}"/>
              </a:ext>
            </a:extLst>
          </p:cNvPr>
          <p:cNvSpPr>
            <a:spLocks noGrp="1"/>
          </p:cNvSpPr>
          <p:nvPr>
            <p:ph type="body" sz="quarter" idx="36"/>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47FCA9B0-2250-2F22-ACC8-2E7D0F31DF26}"/>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FF9DE9AA-4E25-59F8-0E7B-E5537C5E43A3}"/>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Source">
            <a:extLst>
              <a:ext uri="{FF2B5EF4-FFF2-40B4-BE49-F238E27FC236}">
                <a16:creationId xmlns:a16="http://schemas.microsoft.com/office/drawing/2014/main" id="{119E2084-2880-8785-5465-53B08AF8A72D}"/>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9" name="Text Placeholder 7">
            <a:extLst>
              <a:ext uri="{FF2B5EF4-FFF2-40B4-BE49-F238E27FC236}">
                <a16:creationId xmlns:a16="http://schemas.microsoft.com/office/drawing/2014/main" id="{CF1AD9B8-ACD3-DB32-48E2-5DD624C9DA0B}"/>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900593222"/>
      </p:ext>
    </p:extLst>
  </p:cSld>
  <p:clrMapOvr>
    <a:masterClrMapping/>
  </p:clrMapOvr>
  <p:extLst>
    <p:ext uri="{DCECCB84-F9BA-43D5-87BE-67443E8EF086}">
      <p15:sldGuideLst xmlns:p15="http://schemas.microsoft.com/office/powerpoint/2012/main">
        <p15:guide id="1" pos="1869">
          <p15:clr>
            <a:srgbClr val="FBAE40"/>
          </p15:clr>
        </p15:guide>
        <p15:guide id="2" orient="horz" pos="2245">
          <p15:clr>
            <a:srgbClr val="FBAE40"/>
          </p15:clr>
        </p15:guide>
        <p15:guide id="3" pos="2065">
          <p15:clr>
            <a:srgbClr val="FBAE40"/>
          </p15:clr>
        </p15:guide>
        <p15:guide id="4" pos="3530">
          <p15:clr>
            <a:srgbClr val="FBAE40"/>
          </p15:clr>
        </p15:guide>
        <p15:guide id="5" pos="3727">
          <p15:clr>
            <a:srgbClr val="FBAE40"/>
          </p15:clr>
        </p15:guide>
        <p15:guide id="6" pos="5216">
          <p15:clr>
            <a:srgbClr val="FBAE40"/>
          </p15:clr>
        </p15:guide>
        <p15:guide id="7" pos="5398">
          <p15:clr>
            <a:srgbClr val="FBAE40"/>
          </p15:clr>
        </p15:guide>
        <p15:guide id="8" orient="horz" pos="215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 column measure / 2 column / 2 row chart / table single head">
    <p:spTree>
      <p:nvGrpSpPr>
        <p:cNvPr id="1" name=""/>
        <p:cNvGrpSpPr/>
        <p:nvPr/>
      </p:nvGrpSpPr>
      <p:grpSpPr>
        <a:xfrm>
          <a:off x="0" y="0"/>
          <a:ext cx="0" cy="0"/>
          <a:chOff x="0" y="0"/>
          <a:chExt cx="0" cy="0"/>
        </a:xfrm>
      </p:grpSpPr>
      <p:sp>
        <p:nvSpPr>
          <p:cNvPr id="33" name="Content Placeholder 3"/>
          <p:cNvSpPr>
            <a:spLocks noGrp="1"/>
          </p:cNvSpPr>
          <p:nvPr>
            <p:ph sz="quarter" idx="33"/>
          </p:nvPr>
        </p:nvSpPr>
        <p:spPr>
          <a:xfrm>
            <a:off x="8568225" y="1439200"/>
            <a:ext cx="2376000" cy="4105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Text Placeholder 12"/>
          <p:cNvSpPr>
            <a:spLocks noGrp="1"/>
          </p:cNvSpPr>
          <p:nvPr>
            <p:ph type="body" sz="quarter" idx="21" hasCustomPrompt="1"/>
          </p:nvPr>
        </p:nvSpPr>
        <p:spPr>
          <a:xfrm>
            <a:off x="576263" y="3565138"/>
            <a:ext cx="7704137"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0"/>
            <a:ext cx="7704137"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5"/>
          </p:nvPr>
        </p:nvSpPr>
        <p:spPr>
          <a:xfrm>
            <a:off x="576263" y="1727200"/>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6"/>
          </p:nvPr>
        </p:nvSpPr>
        <p:spPr>
          <a:xfrm>
            <a:off x="576263" y="3853138"/>
            <a:ext cx="7704137"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FF47BFAC-52D3-376D-CF45-680B0A4674B0}"/>
              </a:ext>
            </a:extLst>
          </p:cNvPr>
          <p:cNvSpPr>
            <a:spLocks noGrp="1"/>
          </p:cNvSpPr>
          <p:nvPr>
            <p:ph type="body" sz="quarter" idx="11"/>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6229D730-6FCC-941C-CFCB-0A4F3DAE9FF7}"/>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630FB3D0-FB71-BDDA-76D6-90B372FAE397}"/>
              </a:ext>
            </a:extLst>
          </p:cNvPr>
          <p:cNvSpPr>
            <a:spLocks noGrp="1"/>
          </p:cNvSpPr>
          <p:nvPr>
            <p:ph type="ftr" sz="quarter" idx="38"/>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2" name="Source">
            <a:extLst>
              <a:ext uri="{FF2B5EF4-FFF2-40B4-BE49-F238E27FC236}">
                <a16:creationId xmlns:a16="http://schemas.microsoft.com/office/drawing/2014/main" id="{6B56A7E5-137C-6ADA-2257-9A462155A4CA}"/>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10" name="Text Placeholder 7">
            <a:extLst>
              <a:ext uri="{FF2B5EF4-FFF2-40B4-BE49-F238E27FC236}">
                <a16:creationId xmlns:a16="http://schemas.microsoft.com/office/drawing/2014/main" id="{88D15D27-E510-F219-B5D2-1D7FB2CD72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4282276793"/>
      </p:ext>
    </p:extLst>
  </p:cSld>
  <p:clrMapOvr>
    <a:masterClrMapping/>
  </p:clrMapOvr>
  <p:extLst>
    <p:ext uri="{DCECCB84-F9BA-43D5-87BE-67443E8EF086}">
      <p15:sldGuideLst xmlns:p15="http://schemas.microsoft.com/office/powerpoint/2012/main">
        <p15:guide id="2" orient="horz" pos="2245">
          <p15:clr>
            <a:srgbClr val="FBAE40"/>
          </p15:clr>
        </p15:guide>
        <p15:guide id="4" orient="horz" pos="2427">
          <p15:clr>
            <a:srgbClr val="FBAE40"/>
          </p15:clr>
        </p15:guide>
        <p15:guide id="8" pos="5216">
          <p15:clr>
            <a:srgbClr val="FBAE40"/>
          </p15:clr>
        </p15:guide>
        <p15:guide id="9" pos="5398">
          <p15:clr>
            <a:srgbClr val="FBAE40"/>
          </p15:clr>
        </p15:guide>
        <p15:guide id="10" orient="horz" pos="215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ontent">
    <p:spTree>
      <p:nvGrpSpPr>
        <p:cNvPr id="1" name=""/>
        <p:cNvGrpSpPr/>
        <p:nvPr/>
      </p:nvGrpSpPr>
      <p:grpSpPr>
        <a:xfrm>
          <a:off x="0" y="0"/>
          <a:ext cx="0" cy="0"/>
          <a:chOff x="0" y="0"/>
          <a:chExt cx="0" cy="0"/>
        </a:xfrm>
      </p:grpSpPr>
      <p:sp>
        <p:nvSpPr>
          <p:cNvPr id="36" name="Content Placeholder 3"/>
          <p:cNvSpPr>
            <a:spLocks noGrp="1"/>
          </p:cNvSpPr>
          <p:nvPr>
            <p:ph sz="quarter" idx="34"/>
          </p:nvPr>
        </p:nvSpPr>
        <p:spPr>
          <a:xfrm>
            <a:off x="576264" y="3565139"/>
            <a:ext cx="10367962"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2CD5C72F-2C7D-0484-5585-E551B8042C25}"/>
              </a:ext>
            </a:extLst>
          </p:cNvPr>
          <p:cNvSpPr>
            <a:spLocks noGrp="1"/>
          </p:cNvSpPr>
          <p:nvPr>
            <p:ph type="body" sz="quarter" idx="36"/>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C1D71A4D-730A-B994-13C3-E1B7C0A18ABB}"/>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98247F2-D6E2-44DE-65F6-C845DF497B30}"/>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7" name="Source">
            <a:extLst>
              <a:ext uri="{FF2B5EF4-FFF2-40B4-BE49-F238E27FC236}">
                <a16:creationId xmlns:a16="http://schemas.microsoft.com/office/drawing/2014/main" id="{4E898C1F-A15F-7377-83C0-9B2FC530B0D2}"/>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71EE486D-375B-91E9-4A72-2FC3144C8B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171035931"/>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lumn / 2 row / 3 items bottom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4" y="3560159"/>
            <a:ext cx="10367962"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201"/>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201"/>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76262"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904000" y="1727200"/>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76264" y="3853138"/>
            <a:ext cx="10367962"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3A56F695-75C9-CEB0-4844-E59FB0D4F535}"/>
              </a:ext>
            </a:extLst>
          </p:cNvPr>
          <p:cNvSpPr>
            <a:spLocks noGrp="1"/>
          </p:cNvSpPr>
          <p:nvPr>
            <p:ph type="body" sz="quarter" idx="38"/>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0C1EA23C-1F59-46F2-FB9D-A572C224D02A}"/>
              </a:ext>
            </a:extLst>
          </p:cNvPr>
          <p:cNvSpPr>
            <a:spLocks noGrp="1"/>
          </p:cNvSpPr>
          <p:nvPr>
            <p:ph type="title"/>
          </p:nvPr>
        </p:nvSpPr>
        <p:spPr/>
        <p:txBody>
          <a:bodyPr/>
          <a:lstStyle/>
          <a:p>
            <a:r>
              <a:rPr lang="en-US"/>
              <a:t>Click to edit Master title style</a:t>
            </a:r>
            <a:endParaRPr lang="en-GB"/>
          </a:p>
        </p:txBody>
      </p:sp>
      <p:sp>
        <p:nvSpPr>
          <p:cNvPr id="10" name="Footer Placeholder 9">
            <a:extLst>
              <a:ext uri="{FF2B5EF4-FFF2-40B4-BE49-F238E27FC236}">
                <a16:creationId xmlns:a16="http://schemas.microsoft.com/office/drawing/2014/main" id="{1C7D3DDD-BECF-464C-573A-F8FB3EEEA393}"/>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BB8658A9-1825-F55C-0874-92094A0A786D}"/>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E7819F1C-2879-E74C-536D-B739D47A25E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255935454"/>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ontent">
    <p:spTree>
      <p:nvGrpSpPr>
        <p:cNvPr id="1" name=""/>
        <p:cNvGrpSpPr/>
        <p:nvPr/>
      </p:nvGrpSpPr>
      <p:grpSpPr>
        <a:xfrm>
          <a:off x="0" y="0"/>
          <a:ext cx="0" cy="0"/>
          <a:chOff x="0" y="0"/>
          <a:chExt cx="0" cy="0"/>
        </a:xfrm>
      </p:grpSpPr>
      <p:sp>
        <p:nvSpPr>
          <p:cNvPr id="34" name="Content Placeholder 3"/>
          <p:cNvSpPr>
            <a:spLocks noGrp="1"/>
          </p:cNvSpPr>
          <p:nvPr>
            <p:ph sz="quarter" idx="32"/>
          </p:nvPr>
        </p:nvSpPr>
        <p:spPr>
          <a:xfrm>
            <a:off x="5903913"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3"/>
          <p:cNvSpPr>
            <a:spLocks noGrp="1"/>
          </p:cNvSpPr>
          <p:nvPr>
            <p:ph sz="quarter" idx="34"/>
          </p:nvPr>
        </p:nvSpPr>
        <p:spPr>
          <a:xfrm>
            <a:off x="576264" y="1439863"/>
            <a:ext cx="10367961"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5"/>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11679BDD-CE63-1679-1833-D72D3C799438}"/>
              </a:ext>
            </a:extLst>
          </p:cNvPr>
          <p:cNvSpPr>
            <a:spLocks noGrp="1"/>
          </p:cNvSpPr>
          <p:nvPr>
            <p:ph type="body" sz="quarter" idx="36"/>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9A9E188B-F8E0-A87C-3837-DF1B2648E933}"/>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E4EC06F0-4A7B-FA18-062F-C29C3388B92C}"/>
              </a:ext>
            </a:extLst>
          </p:cNvPr>
          <p:cNvSpPr>
            <a:spLocks noGrp="1"/>
          </p:cNvSpPr>
          <p:nvPr>
            <p:ph type="ftr" sz="quarter" idx="37"/>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3E776DF7-C740-280B-F7C2-7DE77F02EB7B}"/>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8350C8C9-58BE-0919-E49F-8ABF880FAA7A}"/>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006030659"/>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2 column / 2 row / 3 items top / chart / table single head">
    <p:spTree>
      <p:nvGrpSpPr>
        <p:cNvPr id="1" name=""/>
        <p:cNvGrpSpPr/>
        <p:nvPr/>
      </p:nvGrpSpPr>
      <p:grpSpPr>
        <a:xfrm>
          <a:off x="0" y="0"/>
          <a:ext cx="0" cy="0"/>
          <a:chOff x="0" y="0"/>
          <a:chExt cx="0" cy="0"/>
        </a:xfrm>
      </p:grpSpPr>
      <p:sp>
        <p:nvSpPr>
          <p:cNvPr id="24" name="Text Placeholder 12"/>
          <p:cNvSpPr>
            <a:spLocks noGrp="1"/>
          </p:cNvSpPr>
          <p:nvPr>
            <p:ph type="body" sz="quarter" idx="21" hasCustomPrompt="1"/>
          </p:nvPr>
        </p:nvSpPr>
        <p:spPr>
          <a:xfrm>
            <a:off x="576264" y="1439200"/>
            <a:ext cx="10367961"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4"/>
          </p:nvPr>
        </p:nvSpPr>
        <p:spPr>
          <a:xfrm>
            <a:off x="585687" y="1727200"/>
            <a:ext cx="10358539"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5"/>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36"/>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50C5BFF7-FDDA-6BAD-7A25-967E674E4BDA}"/>
              </a:ext>
            </a:extLst>
          </p:cNvPr>
          <p:cNvSpPr>
            <a:spLocks noGrp="1"/>
          </p:cNvSpPr>
          <p:nvPr>
            <p:ph type="body" sz="quarter" idx="38"/>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8" name="Title 7">
            <a:extLst>
              <a:ext uri="{FF2B5EF4-FFF2-40B4-BE49-F238E27FC236}">
                <a16:creationId xmlns:a16="http://schemas.microsoft.com/office/drawing/2014/main" id="{436CBEA5-8C1A-8E04-4B29-172AEB8EAEB8}"/>
              </a:ext>
            </a:extLst>
          </p:cNvPr>
          <p:cNvSpPr>
            <a:spLocks noGrp="1"/>
          </p:cNvSpPr>
          <p:nvPr>
            <p:ph type="title"/>
          </p:nvPr>
        </p:nvSpPr>
        <p:spPr/>
        <p:txBody>
          <a:bodyPr/>
          <a:lstStyle/>
          <a:p>
            <a:r>
              <a:rPr lang="en-US" dirty="0"/>
              <a:t>Click to edit Master title style</a:t>
            </a:r>
            <a:endParaRPr lang="en-GB" dirty="0"/>
          </a:p>
        </p:txBody>
      </p:sp>
      <p:sp>
        <p:nvSpPr>
          <p:cNvPr id="10" name="Footer Placeholder 9">
            <a:extLst>
              <a:ext uri="{FF2B5EF4-FFF2-40B4-BE49-F238E27FC236}">
                <a16:creationId xmlns:a16="http://schemas.microsoft.com/office/drawing/2014/main" id="{1B9E25A1-1166-A0BD-2A70-C918FBC05E1A}"/>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11" name="Source">
            <a:extLst>
              <a:ext uri="{FF2B5EF4-FFF2-40B4-BE49-F238E27FC236}">
                <a16:creationId xmlns:a16="http://schemas.microsoft.com/office/drawing/2014/main" id="{1375F5D7-AC9E-5A84-43D2-60CD40B5184F}"/>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66374472-FEC3-5C92-BD54-BED2F780FE63}"/>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165578622"/>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 / 2 row content">
    <p:spTree>
      <p:nvGrpSpPr>
        <p:cNvPr id="1" name=""/>
        <p:cNvGrpSpPr/>
        <p:nvPr/>
      </p:nvGrpSpPr>
      <p:grpSpPr>
        <a:xfrm>
          <a:off x="0" y="0"/>
          <a:ext cx="0" cy="0"/>
          <a:chOff x="0" y="0"/>
          <a:chExt cx="0" cy="0"/>
        </a:xfrm>
      </p:grpSpPr>
      <p:sp>
        <p:nvSpPr>
          <p:cNvPr id="38" name="Content Placeholder 3"/>
          <p:cNvSpPr>
            <a:spLocks noGrp="1"/>
          </p:cNvSpPr>
          <p:nvPr>
            <p:ph sz="quarter" idx="36"/>
          </p:nvPr>
        </p:nvSpPr>
        <p:spPr>
          <a:xfrm>
            <a:off x="5904225"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Content Placeholder 3"/>
          <p:cNvSpPr>
            <a:spLocks noGrp="1"/>
          </p:cNvSpPr>
          <p:nvPr>
            <p:ph sz="quarter" idx="32"/>
          </p:nvPr>
        </p:nvSpPr>
        <p:spPr>
          <a:xfrm>
            <a:off x="5904225"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6" name="Content Placeholder 3"/>
          <p:cNvSpPr>
            <a:spLocks noGrp="1"/>
          </p:cNvSpPr>
          <p:nvPr>
            <p:ph sz="quarter" idx="34"/>
          </p:nvPr>
        </p:nvSpPr>
        <p:spPr>
          <a:xfrm>
            <a:off x="576263" y="3565139"/>
            <a:ext cx="5040000" cy="198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quarter" idx="30"/>
          </p:nvPr>
        </p:nvSpPr>
        <p:spPr>
          <a:xfrm>
            <a:off x="576263" y="1439863"/>
            <a:ext cx="5040000" cy="19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37"/>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70859E9E-72A3-3AEE-BFFC-E474401FC1A0}"/>
              </a:ext>
            </a:extLst>
          </p:cNvPr>
          <p:cNvSpPr>
            <a:spLocks noGrp="1"/>
          </p:cNvSpPr>
          <p:nvPr>
            <p:ph type="body" sz="quarter" idx="38"/>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7" name="Title 6">
            <a:extLst>
              <a:ext uri="{FF2B5EF4-FFF2-40B4-BE49-F238E27FC236}">
                <a16:creationId xmlns:a16="http://schemas.microsoft.com/office/drawing/2014/main" id="{536850F0-2C40-2747-EC2B-3FD083BD086A}"/>
              </a:ext>
            </a:extLst>
          </p:cNvPr>
          <p:cNvSpPr>
            <a:spLocks noGrp="1"/>
          </p:cNvSpPr>
          <p:nvPr>
            <p:ph type="title"/>
          </p:nvPr>
        </p:nvSpPr>
        <p:spPr/>
        <p:txBody>
          <a:bodyPr/>
          <a:lstStyle/>
          <a:p>
            <a:r>
              <a:rPr lang="en-US"/>
              <a:t>Click to edit Master title style</a:t>
            </a:r>
            <a:endParaRPr lang="en-GB"/>
          </a:p>
        </p:txBody>
      </p:sp>
      <p:sp>
        <p:nvSpPr>
          <p:cNvPr id="8" name="Footer Placeholder 7">
            <a:extLst>
              <a:ext uri="{FF2B5EF4-FFF2-40B4-BE49-F238E27FC236}">
                <a16:creationId xmlns:a16="http://schemas.microsoft.com/office/drawing/2014/main" id="{19627788-F545-50E7-3B61-989CC0480256}"/>
              </a:ext>
            </a:extLst>
          </p:cNvPr>
          <p:cNvSpPr>
            <a:spLocks noGrp="1"/>
          </p:cNvSpPr>
          <p:nvPr>
            <p:ph type="ftr" sz="quarter" idx="39"/>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9" name="Source">
            <a:extLst>
              <a:ext uri="{FF2B5EF4-FFF2-40B4-BE49-F238E27FC236}">
                <a16:creationId xmlns:a16="http://schemas.microsoft.com/office/drawing/2014/main" id="{0A06304F-F9CB-7C26-8FFC-76BB305578B3}"/>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5" name="Text Placeholder 7">
            <a:extLst>
              <a:ext uri="{FF2B5EF4-FFF2-40B4-BE49-F238E27FC236}">
                <a16:creationId xmlns:a16="http://schemas.microsoft.com/office/drawing/2014/main" id="{B074EE8B-0935-4F56-AEAC-B12D6D0D323C}"/>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3222781319"/>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3" pos="3719">
          <p15:clr>
            <a:srgbClr val="FBAE40"/>
          </p15:clr>
        </p15:guide>
        <p15:guide id="4" orient="horz" pos="215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 / 2 row chart / table single head">
    <p:spTree>
      <p:nvGrpSpPr>
        <p:cNvPr id="1" name=""/>
        <p:cNvGrpSpPr/>
        <p:nvPr/>
      </p:nvGrpSpPr>
      <p:grpSpPr>
        <a:xfrm>
          <a:off x="0" y="0"/>
          <a:ext cx="0" cy="0"/>
          <a:chOff x="0" y="0"/>
          <a:chExt cx="0" cy="0"/>
        </a:xfrm>
      </p:grpSpPr>
      <p:sp>
        <p:nvSpPr>
          <p:cNvPr id="28" name="Text Placeholder 12"/>
          <p:cNvSpPr>
            <a:spLocks noGrp="1"/>
          </p:cNvSpPr>
          <p:nvPr>
            <p:ph type="body" sz="quarter" idx="25" hasCustomPrompt="1"/>
          </p:nvPr>
        </p:nvSpPr>
        <p:spPr>
          <a:xfrm>
            <a:off x="5904000" y="3565138"/>
            <a:ext cx="5040000" cy="288000"/>
          </a:xfrm>
        </p:spPr>
        <p:txBody>
          <a:bodyPr/>
          <a:lstStyle>
            <a:lvl1pPr algn="ctr">
              <a:defRPr cap="all" spc="0" baseline="0"/>
            </a:lvl1pPr>
          </a:lstStyle>
          <a:p>
            <a:pPr lvl="0"/>
            <a:r>
              <a:rPr lang="en-US" dirty="0"/>
              <a:t>Single line heading</a:t>
            </a:r>
          </a:p>
        </p:txBody>
      </p:sp>
      <p:sp>
        <p:nvSpPr>
          <p:cNvPr id="20" name="Text Placeholder 12"/>
          <p:cNvSpPr>
            <a:spLocks noGrp="1"/>
          </p:cNvSpPr>
          <p:nvPr>
            <p:ph type="body" sz="quarter" idx="17" hasCustomPrompt="1"/>
          </p:nvPr>
        </p:nvSpPr>
        <p:spPr>
          <a:xfrm>
            <a:off x="5904000" y="1439863"/>
            <a:ext cx="5040000" cy="288000"/>
          </a:xfrm>
        </p:spPr>
        <p:txBody>
          <a:bodyPr/>
          <a:lstStyle>
            <a:lvl1pPr algn="ctr">
              <a:defRPr cap="all" spc="0" baseline="0"/>
            </a:lvl1pPr>
          </a:lstStyle>
          <a:p>
            <a:pPr lvl="0"/>
            <a:r>
              <a:rPr lang="en-US" dirty="0"/>
              <a:t>Single line heading</a:t>
            </a:r>
          </a:p>
        </p:txBody>
      </p:sp>
      <p:sp>
        <p:nvSpPr>
          <p:cNvPr id="24" name="Text Placeholder 12"/>
          <p:cNvSpPr>
            <a:spLocks noGrp="1"/>
          </p:cNvSpPr>
          <p:nvPr>
            <p:ph type="body" sz="quarter" idx="21" hasCustomPrompt="1"/>
          </p:nvPr>
        </p:nvSpPr>
        <p:spPr>
          <a:xfrm>
            <a:off x="576263" y="3565138"/>
            <a:ext cx="5040000" cy="288000"/>
          </a:xfrm>
        </p:spPr>
        <p:txBody>
          <a:bodyPr/>
          <a:lstStyle>
            <a:lvl1pPr algn="ctr">
              <a:defRPr cap="all" spc="0" baseline="0"/>
            </a:lvl1pPr>
          </a:lstStyle>
          <a:p>
            <a:pPr lvl="0"/>
            <a:r>
              <a:rPr lang="en-US" dirty="0"/>
              <a:t>Single line heading</a:t>
            </a:r>
          </a:p>
        </p:txBody>
      </p:sp>
      <p:sp>
        <p:nvSpPr>
          <p:cNvPr id="13" name="Text Placeholder 12"/>
          <p:cNvSpPr>
            <a:spLocks noGrp="1"/>
          </p:cNvSpPr>
          <p:nvPr>
            <p:ph type="body" sz="quarter" idx="13" hasCustomPrompt="1"/>
          </p:nvPr>
        </p:nvSpPr>
        <p:spPr>
          <a:xfrm>
            <a:off x="576263" y="1439863"/>
            <a:ext cx="5040000" cy="288000"/>
          </a:xfrm>
        </p:spPr>
        <p:txBody>
          <a:bodyPr/>
          <a:lstStyle>
            <a:lvl1pPr algn="ctr">
              <a:defRPr cap="all" spc="0" baseline="0"/>
            </a:lvl1pPr>
          </a:lstStyle>
          <a:p>
            <a:pPr lvl="0"/>
            <a:r>
              <a:rPr lang="en-US" dirty="0"/>
              <a:t>Single line heading</a:t>
            </a:r>
          </a:p>
        </p:txBody>
      </p:sp>
      <p:sp>
        <p:nvSpPr>
          <p:cNvPr id="5" name="Content Placeholder 4"/>
          <p:cNvSpPr>
            <a:spLocks noGrp="1"/>
          </p:cNvSpPr>
          <p:nvPr>
            <p:ph sz="quarter" idx="38"/>
          </p:nvPr>
        </p:nvSpPr>
        <p:spPr>
          <a:xfrm>
            <a:off x="576263"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6"/>
          <p:cNvSpPr>
            <a:spLocks noGrp="1"/>
          </p:cNvSpPr>
          <p:nvPr>
            <p:ph sz="quarter" idx="39"/>
          </p:nvPr>
        </p:nvSpPr>
        <p:spPr>
          <a:xfrm>
            <a:off x="5904000" y="1727863"/>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40"/>
          </p:nvPr>
        </p:nvSpPr>
        <p:spPr>
          <a:xfrm>
            <a:off x="576263"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p:cNvSpPr>
            <a:spLocks noGrp="1"/>
          </p:cNvSpPr>
          <p:nvPr>
            <p:ph sz="quarter" idx="41"/>
          </p:nvPr>
        </p:nvSpPr>
        <p:spPr>
          <a:xfrm>
            <a:off x="5904000" y="3853138"/>
            <a:ext cx="5040000" cy="169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42"/>
          </p:nvPr>
        </p:nvSpPr>
        <p:spPr/>
        <p:txBody>
          <a:bodyPr/>
          <a:lstStyle/>
          <a:p>
            <a:fld id="{0F961903-03AF-4EAC-BF2C-945F8C5557D1}" type="slidenum">
              <a:rPr lang="en-GB" smtClean="0"/>
              <a:pPr/>
              <a:t>‹#›</a:t>
            </a:fld>
            <a:endParaRPr lang="en-GB" dirty="0"/>
          </a:p>
        </p:txBody>
      </p:sp>
      <p:sp>
        <p:nvSpPr>
          <p:cNvPr id="6" name="Text Placeholder 5">
            <a:extLst>
              <a:ext uri="{FF2B5EF4-FFF2-40B4-BE49-F238E27FC236}">
                <a16:creationId xmlns:a16="http://schemas.microsoft.com/office/drawing/2014/main" id="{45C90E72-9A82-24C3-D553-39FC04F223CE}"/>
              </a:ext>
            </a:extLst>
          </p:cNvPr>
          <p:cNvSpPr>
            <a:spLocks noGrp="1"/>
          </p:cNvSpPr>
          <p:nvPr>
            <p:ph type="body" sz="quarter" idx="43"/>
          </p:nvPr>
        </p:nvSpPr>
        <p:spPr>
          <a:xfrm>
            <a:off x="576264" y="1008000"/>
            <a:ext cx="10368000" cy="432000"/>
          </a:xfrm>
        </p:spPr>
        <p:txBody>
          <a:bodyPr/>
          <a:lstStyle>
            <a:lvl1pPr>
              <a:defRPr sz="1400" b="0" spc="0" baseline="0">
                <a:solidFill>
                  <a:srgbClr val="676867"/>
                </a:solidFill>
                <a:latin typeface="+mn-lt"/>
              </a:defRPr>
            </a:lvl1pPr>
          </a:lstStyle>
          <a:p>
            <a:pPr lvl="0"/>
            <a:r>
              <a:rPr lang="en-US" dirty="0"/>
              <a:t>Click to edit Master text styles</a:t>
            </a:r>
          </a:p>
        </p:txBody>
      </p:sp>
      <p:sp>
        <p:nvSpPr>
          <p:cNvPr id="10" name="Title 9">
            <a:extLst>
              <a:ext uri="{FF2B5EF4-FFF2-40B4-BE49-F238E27FC236}">
                <a16:creationId xmlns:a16="http://schemas.microsoft.com/office/drawing/2014/main" id="{395F06EF-1414-CC23-0AA4-F4017405E091}"/>
              </a:ext>
            </a:extLst>
          </p:cNvPr>
          <p:cNvSpPr>
            <a:spLocks noGrp="1"/>
          </p:cNvSpPr>
          <p:nvPr>
            <p:ph type="title"/>
          </p:nvPr>
        </p:nvSpPr>
        <p:spPr/>
        <p:txBody>
          <a:bodyPr/>
          <a:lstStyle/>
          <a:p>
            <a:r>
              <a:rPr lang="en-US"/>
              <a:t>Click to edit Master title style</a:t>
            </a:r>
            <a:endParaRPr lang="en-GB"/>
          </a:p>
        </p:txBody>
      </p:sp>
      <p:sp>
        <p:nvSpPr>
          <p:cNvPr id="12" name="Footer Placeholder 11">
            <a:extLst>
              <a:ext uri="{FF2B5EF4-FFF2-40B4-BE49-F238E27FC236}">
                <a16:creationId xmlns:a16="http://schemas.microsoft.com/office/drawing/2014/main" id="{4DDC1A8E-AF6F-A47F-82AE-8E44033A81B4}"/>
              </a:ext>
            </a:extLst>
          </p:cNvPr>
          <p:cNvSpPr>
            <a:spLocks noGrp="1"/>
          </p:cNvSpPr>
          <p:nvPr>
            <p:ph type="ftr" sz="quarter" idx="44"/>
          </p:nvPr>
        </p:nvSpPr>
        <p:spPr/>
        <p:txBody>
          <a:body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sp>
        <p:nvSpPr>
          <p:cNvPr id="8" name="Source">
            <a:extLst>
              <a:ext uri="{FF2B5EF4-FFF2-40B4-BE49-F238E27FC236}">
                <a16:creationId xmlns:a16="http://schemas.microsoft.com/office/drawing/2014/main" id="{6874BDB9-CA4C-0145-E2CA-07A2DBC1B7E7}"/>
              </a:ext>
            </a:extLst>
          </p:cNvPr>
          <p:cNvSpPr>
            <a:spLocks noGrp="1"/>
          </p:cNvSpPr>
          <p:nvPr>
            <p:ph sz="quarter" idx="12" hasCustomPrompt="1"/>
          </p:nvPr>
        </p:nvSpPr>
        <p:spPr>
          <a:xfrm>
            <a:off x="576264" y="5723913"/>
            <a:ext cx="10367962" cy="180000"/>
          </a:xfrm>
        </p:spPr>
        <p:txBody>
          <a:bodyPr anchor="b" anchorCtr="0"/>
          <a:lstStyle>
            <a:lvl1pPr>
              <a:lnSpc>
                <a:spcPct val="100000"/>
              </a:lnSpc>
              <a:spcBef>
                <a:spcPts val="0"/>
              </a:spcBef>
              <a:spcAft>
                <a:spcPts val="257"/>
              </a:spcAft>
              <a:defRPr sz="800" b="0" spc="0" baseline="0">
                <a:solidFill>
                  <a:schemeClr val="tx2"/>
                </a:solidFill>
                <a:latin typeface="+mn-lt"/>
              </a:defRPr>
            </a:lvl1pPr>
          </a:lstStyle>
          <a:p>
            <a:pPr lvl="0"/>
            <a:r>
              <a:rPr lang="en-US" dirty="0"/>
              <a:t>Disclaimer text if required</a:t>
            </a:r>
          </a:p>
        </p:txBody>
      </p:sp>
      <p:sp>
        <p:nvSpPr>
          <p:cNvPr id="4" name="Text Placeholder 7">
            <a:extLst>
              <a:ext uri="{FF2B5EF4-FFF2-40B4-BE49-F238E27FC236}">
                <a16:creationId xmlns:a16="http://schemas.microsoft.com/office/drawing/2014/main" id="{13030BF9-A11C-7ED4-6186-BF09C16D35B7}"/>
              </a:ext>
            </a:extLst>
          </p:cNvPr>
          <p:cNvSpPr>
            <a:spLocks noGrp="1"/>
          </p:cNvSpPr>
          <p:nvPr>
            <p:ph type="body" sz="quarter" idx="18" hasCustomPrompt="1"/>
          </p:nvPr>
        </p:nvSpPr>
        <p:spPr>
          <a:xfrm>
            <a:off x="576025" y="287338"/>
            <a:ext cx="10368439" cy="235506"/>
          </a:xfrm>
          <a:prstGeom prst="rect">
            <a:avLst/>
          </a:prstGeom>
        </p:spPr>
        <p:txBody>
          <a:bodyPr lIns="0"/>
          <a:lstStyle>
            <a:lvl1pPr marL="0" indent="0">
              <a:buNone/>
              <a:defRPr sz="900" b="0" cap="all" spc="283" baseline="0">
                <a:solidFill>
                  <a:srgbClr val="808183"/>
                </a:solidFill>
                <a:latin typeface="AvenirNext LT Pro Bold" panose="020B0504020202020204" pitchFamily="34" charset="77"/>
              </a:defRPr>
            </a:lvl1pPr>
          </a:lstStyle>
          <a:p>
            <a:pPr lvl="0"/>
            <a:r>
              <a:rPr lang="en-US" dirty="0"/>
              <a:t>LOB OR SECTION TITLE (ALL CAPS) – AVENIR NEXT 9PT</a:t>
            </a:r>
          </a:p>
        </p:txBody>
      </p:sp>
    </p:spTree>
    <p:extLst>
      <p:ext uri="{BB962C8B-B14F-4D97-AF65-F5344CB8AC3E}">
        <p14:creationId xmlns:p14="http://schemas.microsoft.com/office/powerpoint/2010/main" val="1982999380"/>
      </p:ext>
    </p:extLst>
  </p:cSld>
  <p:clrMapOvr>
    <a:masterClrMapping/>
  </p:clrMapOvr>
  <p:extLst>
    <p:ext uri="{DCECCB84-F9BA-43D5-87BE-67443E8EF086}">
      <p15:sldGuideLst xmlns:p15="http://schemas.microsoft.com/office/powerpoint/2012/main">
        <p15:guide id="1" pos="3538">
          <p15:clr>
            <a:srgbClr val="FBAE40"/>
          </p15:clr>
        </p15:guide>
        <p15:guide id="2" orient="horz" pos="2245">
          <p15:clr>
            <a:srgbClr val="FBAE40"/>
          </p15:clr>
        </p15:guide>
        <p15:guide id="4" orient="horz" pos="2427">
          <p15:clr>
            <a:srgbClr val="FBAE40"/>
          </p15:clr>
        </p15:guide>
        <p15:guide id="5" pos="3719">
          <p15:clr>
            <a:srgbClr val="FBAE40"/>
          </p15:clr>
        </p15:guide>
        <p15:guide id="6" orient="horz" pos="2154">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slideLayout" Target="../slideLayouts/slideLayout105.xml"/><Relationship Id="rId50" Type="http://schemas.openxmlformats.org/officeDocument/2006/relationships/slideLayout" Target="../slideLayouts/slideLayout108.xml"/><Relationship Id="rId55" Type="http://schemas.openxmlformats.org/officeDocument/2006/relationships/slideLayout" Target="../slideLayouts/slideLayout113.xml"/><Relationship Id="rId63" Type="http://schemas.openxmlformats.org/officeDocument/2006/relationships/image" Target="../media/image1.emf"/><Relationship Id="rId7" Type="http://schemas.openxmlformats.org/officeDocument/2006/relationships/slideLayout" Target="../slideLayouts/slideLayout6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9" Type="http://schemas.openxmlformats.org/officeDocument/2006/relationships/slideLayout" Target="../slideLayouts/slideLayout87.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3" Type="http://schemas.openxmlformats.org/officeDocument/2006/relationships/slideLayout" Target="../slideLayouts/slideLayout111.xml"/><Relationship Id="rId58" Type="http://schemas.openxmlformats.org/officeDocument/2006/relationships/slideLayout" Target="../slideLayouts/slideLayout116.xml"/><Relationship Id="rId5" Type="http://schemas.openxmlformats.org/officeDocument/2006/relationships/slideLayout" Target="../slideLayouts/slideLayout63.xml"/><Relationship Id="rId61" Type="http://schemas.openxmlformats.org/officeDocument/2006/relationships/slideLayout" Target="../slideLayouts/slideLayout119.xml"/><Relationship Id="rId19" Type="http://schemas.openxmlformats.org/officeDocument/2006/relationships/slideLayout" Target="../slideLayouts/slideLayout7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 Id="rId48" Type="http://schemas.openxmlformats.org/officeDocument/2006/relationships/slideLayout" Target="../slideLayouts/slideLayout106.xml"/><Relationship Id="rId56" Type="http://schemas.openxmlformats.org/officeDocument/2006/relationships/slideLayout" Target="../slideLayouts/slideLayout114.xml"/><Relationship Id="rId8" Type="http://schemas.openxmlformats.org/officeDocument/2006/relationships/slideLayout" Target="../slideLayouts/slideLayout66.xml"/><Relationship Id="rId51" Type="http://schemas.openxmlformats.org/officeDocument/2006/relationships/slideLayout" Target="../slideLayouts/slideLayout109.xml"/><Relationship Id="rId3" Type="http://schemas.openxmlformats.org/officeDocument/2006/relationships/slideLayout" Target="../slideLayouts/slideLayout61.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slideLayout" Target="../slideLayouts/slideLayout104.xml"/><Relationship Id="rId59" Type="http://schemas.openxmlformats.org/officeDocument/2006/relationships/slideLayout" Target="../slideLayouts/slideLayout117.xml"/><Relationship Id="rId20" Type="http://schemas.openxmlformats.org/officeDocument/2006/relationships/slideLayout" Target="../slideLayouts/slideLayout78.xml"/><Relationship Id="rId41" Type="http://schemas.openxmlformats.org/officeDocument/2006/relationships/slideLayout" Target="../slideLayouts/slideLayout99.xml"/><Relationship Id="rId54" Type="http://schemas.openxmlformats.org/officeDocument/2006/relationships/slideLayout" Target="../slideLayouts/slideLayout112.xml"/><Relationship Id="rId62" Type="http://schemas.openxmlformats.org/officeDocument/2006/relationships/theme" Target="../theme/theme2.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49" Type="http://schemas.openxmlformats.org/officeDocument/2006/relationships/slideLayout" Target="../slideLayouts/slideLayout107.xml"/><Relationship Id="rId57" Type="http://schemas.openxmlformats.org/officeDocument/2006/relationships/slideLayout" Target="../slideLayouts/slideLayout115.xml"/><Relationship Id="rId10" Type="http://schemas.openxmlformats.org/officeDocument/2006/relationships/slideLayout" Target="../slideLayouts/slideLayout68.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52" Type="http://schemas.openxmlformats.org/officeDocument/2006/relationships/slideLayout" Target="../slideLayouts/slideLayout110.xml"/><Relationship Id="rId60" Type="http://schemas.openxmlformats.org/officeDocument/2006/relationships/slideLayout" Target="../slideLayouts/slideLayout11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tags" Target="../tags/tag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slideLayout" Target="../slideLayouts/slideLayout148.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theme" Target="../theme/theme3.xml"/><Relationship Id="rId58" Type="http://schemas.openxmlformats.org/officeDocument/2006/relationships/image" Target="../media/image1.emf"/><Relationship Id="rId5" Type="http://schemas.openxmlformats.org/officeDocument/2006/relationships/slideLayout" Target="../slideLayouts/slideLayout124.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oleObject" Target="../embeddings/oleObject1.bin"/><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20" Type="http://schemas.openxmlformats.org/officeDocument/2006/relationships/slideLayout" Target="../slideLayouts/slideLayout139.xml"/><Relationship Id="rId41" Type="http://schemas.openxmlformats.org/officeDocument/2006/relationships/slideLayout" Target="../slideLayouts/slideLayout160.xml"/><Relationship Id="rId54" Type="http://schemas.openxmlformats.org/officeDocument/2006/relationships/tags" Target="../tags/tag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image" Target="../media/image8.emf"/><Relationship Id="rId10" Type="http://schemas.openxmlformats.org/officeDocument/2006/relationships/slideLayout" Target="../slideLayouts/slideLayout129.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97.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slideLayout" Target="../slideLayouts/slideLayout218.xml"/><Relationship Id="rId63" Type="http://schemas.openxmlformats.org/officeDocument/2006/relationships/slideLayout" Target="../slideLayouts/slideLayout234.xml"/><Relationship Id="rId68" Type="http://schemas.openxmlformats.org/officeDocument/2006/relationships/slideLayout" Target="../slideLayouts/slideLayout239.xml"/><Relationship Id="rId84" Type="http://schemas.openxmlformats.org/officeDocument/2006/relationships/slideLayout" Target="../slideLayouts/slideLayout255.xml"/><Relationship Id="rId89" Type="http://schemas.openxmlformats.org/officeDocument/2006/relationships/slideLayout" Target="../slideLayouts/slideLayout260.xml"/><Relationship Id="rId16" Type="http://schemas.openxmlformats.org/officeDocument/2006/relationships/slideLayout" Target="../slideLayouts/slideLayout187.xml"/><Relationship Id="rId11" Type="http://schemas.openxmlformats.org/officeDocument/2006/relationships/slideLayout" Target="../slideLayouts/slideLayout182.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53" Type="http://schemas.openxmlformats.org/officeDocument/2006/relationships/slideLayout" Target="../slideLayouts/slideLayout224.xml"/><Relationship Id="rId58" Type="http://schemas.openxmlformats.org/officeDocument/2006/relationships/slideLayout" Target="../slideLayouts/slideLayout229.xml"/><Relationship Id="rId74" Type="http://schemas.openxmlformats.org/officeDocument/2006/relationships/slideLayout" Target="../slideLayouts/slideLayout245.xml"/><Relationship Id="rId79" Type="http://schemas.openxmlformats.org/officeDocument/2006/relationships/slideLayout" Target="../slideLayouts/slideLayout250.xml"/><Relationship Id="rId5" Type="http://schemas.openxmlformats.org/officeDocument/2006/relationships/slideLayout" Target="../slideLayouts/slideLayout176.xml"/><Relationship Id="rId90" Type="http://schemas.openxmlformats.org/officeDocument/2006/relationships/slideLayout" Target="../slideLayouts/slideLayout261.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slideLayout" Target="../slideLayouts/slideLayout214.xml"/><Relationship Id="rId48" Type="http://schemas.openxmlformats.org/officeDocument/2006/relationships/slideLayout" Target="../slideLayouts/slideLayout219.xml"/><Relationship Id="rId56" Type="http://schemas.openxmlformats.org/officeDocument/2006/relationships/slideLayout" Target="../slideLayouts/slideLayout227.xml"/><Relationship Id="rId64" Type="http://schemas.openxmlformats.org/officeDocument/2006/relationships/slideLayout" Target="../slideLayouts/slideLayout235.xml"/><Relationship Id="rId69" Type="http://schemas.openxmlformats.org/officeDocument/2006/relationships/slideLayout" Target="../slideLayouts/slideLayout240.xml"/><Relationship Id="rId77" Type="http://schemas.openxmlformats.org/officeDocument/2006/relationships/slideLayout" Target="../slideLayouts/slideLayout248.xml"/><Relationship Id="rId8" Type="http://schemas.openxmlformats.org/officeDocument/2006/relationships/slideLayout" Target="../slideLayouts/slideLayout179.xml"/><Relationship Id="rId51" Type="http://schemas.openxmlformats.org/officeDocument/2006/relationships/slideLayout" Target="../slideLayouts/slideLayout222.xml"/><Relationship Id="rId72" Type="http://schemas.openxmlformats.org/officeDocument/2006/relationships/slideLayout" Target="../slideLayouts/slideLayout243.xml"/><Relationship Id="rId80" Type="http://schemas.openxmlformats.org/officeDocument/2006/relationships/slideLayout" Target="../slideLayouts/slideLayout251.xml"/><Relationship Id="rId85" Type="http://schemas.openxmlformats.org/officeDocument/2006/relationships/slideLayout" Target="../slideLayouts/slideLayout256.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slideLayout" Target="../slideLayouts/slideLayout217.xml"/><Relationship Id="rId59" Type="http://schemas.openxmlformats.org/officeDocument/2006/relationships/slideLayout" Target="../slideLayouts/slideLayout230.xml"/><Relationship Id="rId67" Type="http://schemas.openxmlformats.org/officeDocument/2006/relationships/slideLayout" Target="../slideLayouts/slideLayout238.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slideLayout" Target="../slideLayouts/slideLayout225.xml"/><Relationship Id="rId62" Type="http://schemas.openxmlformats.org/officeDocument/2006/relationships/slideLayout" Target="../slideLayouts/slideLayout233.xml"/><Relationship Id="rId70" Type="http://schemas.openxmlformats.org/officeDocument/2006/relationships/slideLayout" Target="../slideLayouts/slideLayout241.xml"/><Relationship Id="rId75" Type="http://schemas.openxmlformats.org/officeDocument/2006/relationships/slideLayout" Target="../slideLayouts/slideLayout246.xml"/><Relationship Id="rId83" Type="http://schemas.openxmlformats.org/officeDocument/2006/relationships/slideLayout" Target="../slideLayouts/slideLayout254.xml"/><Relationship Id="rId88" Type="http://schemas.openxmlformats.org/officeDocument/2006/relationships/slideLayout" Target="../slideLayouts/slideLayout259.xml"/><Relationship Id="rId91" Type="http://schemas.openxmlformats.org/officeDocument/2006/relationships/theme" Target="../theme/theme4.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slideLayout" Target="../slideLayouts/slideLayout220.xml"/><Relationship Id="rId57" Type="http://schemas.openxmlformats.org/officeDocument/2006/relationships/slideLayout" Target="../slideLayouts/slideLayout228.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slideLayout" Target="../slideLayouts/slideLayout215.xml"/><Relationship Id="rId52" Type="http://schemas.openxmlformats.org/officeDocument/2006/relationships/slideLayout" Target="../slideLayouts/slideLayout223.xml"/><Relationship Id="rId60" Type="http://schemas.openxmlformats.org/officeDocument/2006/relationships/slideLayout" Target="../slideLayouts/slideLayout231.xml"/><Relationship Id="rId65" Type="http://schemas.openxmlformats.org/officeDocument/2006/relationships/slideLayout" Target="../slideLayouts/slideLayout236.xml"/><Relationship Id="rId73" Type="http://schemas.openxmlformats.org/officeDocument/2006/relationships/slideLayout" Target="../slideLayouts/slideLayout244.xml"/><Relationship Id="rId78" Type="http://schemas.openxmlformats.org/officeDocument/2006/relationships/slideLayout" Target="../slideLayouts/slideLayout249.xml"/><Relationship Id="rId81" Type="http://schemas.openxmlformats.org/officeDocument/2006/relationships/slideLayout" Target="../slideLayouts/slideLayout252.xml"/><Relationship Id="rId86" Type="http://schemas.openxmlformats.org/officeDocument/2006/relationships/slideLayout" Target="../slideLayouts/slideLayout257.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34" Type="http://schemas.openxmlformats.org/officeDocument/2006/relationships/slideLayout" Target="../slideLayouts/slideLayout205.xml"/><Relationship Id="rId50" Type="http://schemas.openxmlformats.org/officeDocument/2006/relationships/slideLayout" Target="../slideLayouts/slideLayout221.xml"/><Relationship Id="rId55" Type="http://schemas.openxmlformats.org/officeDocument/2006/relationships/slideLayout" Target="../slideLayouts/slideLayout226.xml"/><Relationship Id="rId76" Type="http://schemas.openxmlformats.org/officeDocument/2006/relationships/slideLayout" Target="../slideLayouts/slideLayout247.xml"/><Relationship Id="rId7" Type="http://schemas.openxmlformats.org/officeDocument/2006/relationships/slideLayout" Target="../slideLayouts/slideLayout178.xml"/><Relationship Id="rId71" Type="http://schemas.openxmlformats.org/officeDocument/2006/relationships/slideLayout" Target="../slideLayouts/slideLayout242.xml"/><Relationship Id="rId92" Type="http://schemas.openxmlformats.org/officeDocument/2006/relationships/image" Target="../media/image1.emf"/><Relationship Id="rId2" Type="http://schemas.openxmlformats.org/officeDocument/2006/relationships/slideLayout" Target="../slideLayouts/slideLayout173.xml"/><Relationship Id="rId29" Type="http://schemas.openxmlformats.org/officeDocument/2006/relationships/slideLayout" Target="../slideLayouts/slideLayout200.xml"/><Relationship Id="rId24" Type="http://schemas.openxmlformats.org/officeDocument/2006/relationships/slideLayout" Target="../slideLayouts/slideLayout195.xml"/><Relationship Id="rId40" Type="http://schemas.openxmlformats.org/officeDocument/2006/relationships/slideLayout" Target="../slideLayouts/slideLayout211.xml"/><Relationship Id="rId45" Type="http://schemas.openxmlformats.org/officeDocument/2006/relationships/slideLayout" Target="../slideLayouts/slideLayout216.xml"/><Relationship Id="rId66" Type="http://schemas.openxmlformats.org/officeDocument/2006/relationships/slideLayout" Target="../slideLayouts/slideLayout237.xml"/><Relationship Id="rId87" Type="http://schemas.openxmlformats.org/officeDocument/2006/relationships/slideLayout" Target="../slideLayouts/slideLayout258.xml"/><Relationship Id="rId61" Type="http://schemas.openxmlformats.org/officeDocument/2006/relationships/slideLayout" Target="../slideLayouts/slideLayout232.xml"/><Relationship Id="rId82" Type="http://schemas.openxmlformats.org/officeDocument/2006/relationships/slideLayout" Target="../slideLayouts/slideLayout253.xml"/><Relationship Id="rId19"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1750" name="Rectangle 6"/>
          <p:cNvSpPr>
            <a:spLocks noGrp="1" noChangeArrowheads="1"/>
          </p:cNvSpPr>
          <p:nvPr>
            <p:ph type="body" idx="1"/>
          </p:nvPr>
        </p:nvSpPr>
        <p:spPr bwMode="auto">
          <a:xfrm>
            <a:off x="576262" y="1439999"/>
            <a:ext cx="10367963" cy="4149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endParaRPr lang="en-GB" dirty="0"/>
          </a:p>
        </p:txBody>
      </p:sp>
      <p:sp>
        <p:nvSpPr>
          <p:cNvPr id="31784" name="Rectangle 40"/>
          <p:cNvSpPr>
            <a:spLocks noGrp="1" noChangeArrowheads="1"/>
          </p:cNvSpPr>
          <p:nvPr>
            <p:ph type="title"/>
          </p:nvPr>
        </p:nvSpPr>
        <p:spPr bwMode="auto">
          <a:xfrm>
            <a:off x="576263" y="576263"/>
            <a:ext cx="10367962"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10" name="Slide Number Placeholder 9"/>
          <p:cNvSpPr>
            <a:spLocks noGrp="1"/>
          </p:cNvSpPr>
          <p:nvPr>
            <p:ph type="sldNum" sz="quarter" idx="4"/>
          </p:nvPr>
        </p:nvSpPr>
        <p:spPr>
          <a:xfrm>
            <a:off x="288000" y="6120000"/>
            <a:ext cx="288000" cy="176400"/>
          </a:xfrm>
          <a:prstGeom prst="rect">
            <a:avLst/>
          </a:prstGeom>
        </p:spPr>
        <p:txBody>
          <a:bodyPr vert="horz" lIns="0" tIns="0" rIns="0" bIns="0" rtlCol="0" anchor="b" anchorCtr="0"/>
          <a:lstStyle>
            <a:lvl1pPr algn="l">
              <a:lnSpc>
                <a:spcPct val="90000"/>
              </a:lnSpc>
              <a:spcAft>
                <a:spcPts val="0"/>
              </a:spcAft>
              <a:defRPr sz="1000" b="1">
                <a:solidFill>
                  <a:schemeClr val="tx2"/>
                </a:solidFill>
              </a:defRPr>
            </a:lvl1pPr>
          </a:lstStyle>
          <a:p>
            <a:fld id="{0F961903-03AF-4EAC-BF2C-945F8C5557D1}" type="slidenum">
              <a:rPr lang="en-GB" smtClean="0"/>
              <a:pPr/>
              <a:t>‹#›</a:t>
            </a:fld>
            <a:endParaRPr lang="en-GB" dirty="0"/>
          </a:p>
        </p:txBody>
      </p:sp>
      <p:sp>
        <p:nvSpPr>
          <p:cNvPr id="3" name="Footer Placeholder 2">
            <a:extLst>
              <a:ext uri="{FF2B5EF4-FFF2-40B4-BE49-F238E27FC236}">
                <a16:creationId xmlns:a16="http://schemas.microsoft.com/office/drawing/2014/main" id="{302D5F3F-ABD0-CAAD-8399-E8AEB0A5D80E}"/>
              </a:ext>
            </a:extLst>
          </p:cNvPr>
          <p:cNvSpPr>
            <a:spLocks noGrp="1"/>
          </p:cNvSpPr>
          <p:nvPr>
            <p:ph type="ftr" sz="quarter" idx="3"/>
          </p:nvPr>
        </p:nvSpPr>
        <p:spPr>
          <a:xfrm>
            <a:off x="576263" y="6120000"/>
            <a:ext cx="3887788" cy="169200"/>
          </a:xfrm>
          <a:prstGeom prst="rect">
            <a:avLst/>
          </a:prstGeom>
        </p:spPr>
        <p:txBody>
          <a:bodyPr vert="horz" lIns="0" tIns="0" rIns="0" bIns="0" rtlCol="0" anchor="b" anchorCtr="0"/>
          <a:lstStyle>
            <a:lvl1pPr algn="l">
              <a:defRPr sz="800">
                <a:solidFill>
                  <a:schemeClr val="tx1">
                    <a:tint val="75000"/>
                  </a:schemeClr>
                </a:solidFill>
              </a:defRPr>
            </a:lvl1p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pic>
        <p:nvPicPr>
          <p:cNvPr id="2" name="Picture 1">
            <a:extLst>
              <a:ext uri="{FF2B5EF4-FFF2-40B4-BE49-F238E27FC236}">
                <a16:creationId xmlns:a16="http://schemas.microsoft.com/office/drawing/2014/main" id="{95E57351-A730-84DF-450D-995A3B197691}"/>
              </a:ext>
            </a:extLst>
          </p:cNvPr>
          <p:cNvPicPr>
            <a:picLocks noChangeAspect="1"/>
          </p:cNvPicPr>
          <p:nvPr userDrawn="1"/>
        </p:nvPicPr>
        <p:blipFill>
          <a:blip r:embed="rId60"/>
          <a:stretch>
            <a:fillRect/>
          </a:stretch>
        </p:blipFill>
        <p:spPr>
          <a:xfrm>
            <a:off x="9354830" y="6143286"/>
            <a:ext cx="1896080" cy="152383"/>
          </a:xfrm>
          <a:prstGeom prst="rect">
            <a:avLst/>
          </a:prstGeom>
        </p:spPr>
      </p:pic>
    </p:spTree>
    <p:extLst>
      <p:ext uri="{BB962C8B-B14F-4D97-AF65-F5344CB8AC3E}">
        <p14:creationId xmlns:p14="http://schemas.microsoft.com/office/powerpoint/2010/main" val="192973706"/>
      </p:ext>
    </p:extLst>
  </p:cSld>
  <p:clrMap bg1="lt1" tx1="dk1" bg2="lt2" tx2="dk2" accent1="accent1" accent2="accent2" accent3="accent3" accent4="accent4" accent5="accent5" accent6="accent6" hlink="hlink" folHlink="folHlink"/>
  <p:sldLayoutIdLst>
    <p:sldLayoutId id="2147484048" r:id="rId1"/>
    <p:sldLayoutId id="2147484115" r:id="rId2"/>
    <p:sldLayoutId id="2147484060" r:id="rId3"/>
    <p:sldLayoutId id="2147484116" r:id="rId4"/>
    <p:sldLayoutId id="2147484049" r:id="rId5"/>
    <p:sldLayoutId id="2147484117" r:id="rId6"/>
    <p:sldLayoutId id="2147484050" r:id="rId7"/>
    <p:sldLayoutId id="2147484118" r:id="rId8"/>
    <p:sldLayoutId id="2147484051" r:id="rId9"/>
    <p:sldLayoutId id="2147484119" r:id="rId10"/>
    <p:sldLayoutId id="2147484052" r:id="rId11"/>
    <p:sldLayoutId id="2147484120" r:id="rId12"/>
    <p:sldLayoutId id="2147484053" r:id="rId13"/>
    <p:sldLayoutId id="2147484054" r:id="rId14"/>
    <p:sldLayoutId id="2147483984" r:id="rId15"/>
    <p:sldLayoutId id="2147483985" r:id="rId16"/>
    <p:sldLayoutId id="2147483987" r:id="rId17"/>
    <p:sldLayoutId id="2147483986" r:id="rId18"/>
    <p:sldLayoutId id="2147483988" r:id="rId19"/>
    <p:sldLayoutId id="2147483991" r:id="rId20"/>
    <p:sldLayoutId id="2147483990" r:id="rId21"/>
    <p:sldLayoutId id="2147483992" r:id="rId22"/>
    <p:sldLayoutId id="2147483994" r:id="rId23"/>
    <p:sldLayoutId id="2147483995" r:id="rId24"/>
    <p:sldLayoutId id="2147483997" r:id="rId25"/>
    <p:sldLayoutId id="2147483998" r:id="rId26"/>
    <p:sldLayoutId id="2147484001" r:id="rId27"/>
    <p:sldLayoutId id="2147484000" r:id="rId28"/>
    <p:sldLayoutId id="2147484002" r:id="rId29"/>
    <p:sldLayoutId id="2147484004" r:id="rId30"/>
    <p:sldLayoutId id="2147484005" r:id="rId31"/>
    <p:sldLayoutId id="2147484007" r:id="rId32"/>
    <p:sldLayoutId id="2147484008" r:id="rId33"/>
    <p:sldLayoutId id="2147484010" r:id="rId34"/>
    <p:sldLayoutId id="2147484011" r:id="rId35"/>
    <p:sldLayoutId id="2147484013" r:id="rId36"/>
    <p:sldLayoutId id="2147484014" r:id="rId37"/>
    <p:sldLayoutId id="2147484016" r:id="rId38"/>
    <p:sldLayoutId id="2147484017" r:id="rId39"/>
    <p:sldLayoutId id="2147484019" r:id="rId40"/>
    <p:sldLayoutId id="2147484020" r:id="rId41"/>
    <p:sldLayoutId id="2147484023" r:id="rId42"/>
    <p:sldLayoutId id="2147484022" r:id="rId43"/>
    <p:sldLayoutId id="2147484024" r:id="rId44"/>
    <p:sldLayoutId id="2147484026" r:id="rId45"/>
    <p:sldLayoutId id="2147484027" r:id="rId46"/>
    <p:sldLayoutId id="2147484029" r:id="rId47"/>
    <p:sldLayoutId id="2147484030" r:id="rId48"/>
    <p:sldLayoutId id="2147484032" r:id="rId49"/>
    <p:sldLayoutId id="2147484033" r:id="rId50"/>
    <p:sldLayoutId id="2147484035" r:id="rId51"/>
    <p:sldLayoutId id="2147484121" r:id="rId52"/>
    <p:sldLayoutId id="2147484123" r:id="rId53"/>
    <p:sldLayoutId id="2147484124" r:id="rId54"/>
    <p:sldLayoutId id="2147484125" r:id="rId55"/>
    <p:sldLayoutId id="2147484129" r:id="rId56"/>
    <p:sldLayoutId id="2147484133" r:id="rId57"/>
    <p:sldLayoutId id="2147484135" r:id="rId58"/>
  </p:sldLayoutIdLst>
  <p:hf hdr="0" dt="0"/>
  <p:txStyles>
    <p:titleStyle>
      <a:lvl1pPr algn="l" defTabSz="853026" rtl="0" eaLnBrk="1" fontAlgn="base" hangingPunct="1">
        <a:lnSpc>
          <a:spcPct val="85000"/>
        </a:lnSpc>
        <a:spcBef>
          <a:spcPct val="0"/>
        </a:spcBef>
        <a:spcAft>
          <a:spcPct val="0"/>
        </a:spcAft>
        <a:defRPr sz="2800" b="0" spc="0" baseline="0">
          <a:solidFill>
            <a:srgbClr val="00485E"/>
          </a:solidFill>
          <a:latin typeface="+mj-lt"/>
          <a:ea typeface="+mj-ea"/>
          <a:cs typeface="+mj-cs"/>
        </a:defRPr>
      </a:lvl1pPr>
      <a:lvl2pPr algn="l" defTabSz="853026" rtl="0" eaLnBrk="1" fontAlgn="base" hangingPunct="1">
        <a:spcBef>
          <a:spcPct val="0"/>
        </a:spcBef>
        <a:spcAft>
          <a:spcPct val="0"/>
        </a:spcAft>
        <a:defRPr sz="1714">
          <a:solidFill>
            <a:schemeClr val="accent1"/>
          </a:solidFill>
          <a:latin typeface="Arial" charset="0"/>
          <a:cs typeface="Arial" charset="0"/>
        </a:defRPr>
      </a:lvl2pPr>
      <a:lvl3pPr algn="l" defTabSz="853026" rtl="0" eaLnBrk="1" fontAlgn="base" hangingPunct="1">
        <a:spcBef>
          <a:spcPct val="0"/>
        </a:spcBef>
        <a:spcAft>
          <a:spcPct val="0"/>
        </a:spcAft>
        <a:defRPr sz="1714">
          <a:solidFill>
            <a:schemeClr val="accent1"/>
          </a:solidFill>
          <a:latin typeface="Arial" charset="0"/>
          <a:cs typeface="Arial" charset="0"/>
        </a:defRPr>
      </a:lvl3pPr>
      <a:lvl4pPr algn="l" defTabSz="853026" rtl="0" eaLnBrk="1" fontAlgn="base" hangingPunct="1">
        <a:spcBef>
          <a:spcPct val="0"/>
        </a:spcBef>
        <a:spcAft>
          <a:spcPct val="0"/>
        </a:spcAft>
        <a:defRPr sz="1714">
          <a:solidFill>
            <a:schemeClr val="accent1"/>
          </a:solidFill>
          <a:latin typeface="Arial" charset="0"/>
          <a:cs typeface="Arial" charset="0"/>
        </a:defRPr>
      </a:lvl4pPr>
      <a:lvl5pPr algn="l" defTabSz="853026" rtl="0" eaLnBrk="1" fontAlgn="base" hangingPunct="1">
        <a:spcBef>
          <a:spcPct val="0"/>
        </a:spcBef>
        <a:spcAft>
          <a:spcPct val="0"/>
        </a:spcAft>
        <a:defRPr sz="1714">
          <a:solidFill>
            <a:schemeClr val="accent1"/>
          </a:solidFill>
          <a:latin typeface="Arial" charset="0"/>
          <a:cs typeface="Arial" charset="0"/>
        </a:defRPr>
      </a:lvl5pPr>
      <a:lvl6pPr marL="391820" algn="l" defTabSz="853026" rtl="0" eaLnBrk="1" fontAlgn="base" hangingPunct="1">
        <a:spcBef>
          <a:spcPct val="0"/>
        </a:spcBef>
        <a:spcAft>
          <a:spcPct val="0"/>
        </a:spcAft>
        <a:defRPr sz="1714">
          <a:solidFill>
            <a:schemeClr val="accent1"/>
          </a:solidFill>
          <a:latin typeface="Arial" charset="0"/>
          <a:cs typeface="Arial" charset="0"/>
        </a:defRPr>
      </a:lvl6pPr>
      <a:lvl7pPr marL="783641" algn="l" defTabSz="853026" rtl="0" eaLnBrk="1" fontAlgn="base" hangingPunct="1">
        <a:spcBef>
          <a:spcPct val="0"/>
        </a:spcBef>
        <a:spcAft>
          <a:spcPct val="0"/>
        </a:spcAft>
        <a:defRPr sz="1714">
          <a:solidFill>
            <a:schemeClr val="accent1"/>
          </a:solidFill>
          <a:latin typeface="Arial" charset="0"/>
          <a:cs typeface="Arial" charset="0"/>
        </a:defRPr>
      </a:lvl7pPr>
      <a:lvl8pPr marL="1175461" algn="l" defTabSz="853026" rtl="0" eaLnBrk="1" fontAlgn="base" hangingPunct="1">
        <a:spcBef>
          <a:spcPct val="0"/>
        </a:spcBef>
        <a:spcAft>
          <a:spcPct val="0"/>
        </a:spcAft>
        <a:defRPr sz="1714">
          <a:solidFill>
            <a:schemeClr val="accent1"/>
          </a:solidFill>
          <a:latin typeface="Arial" charset="0"/>
          <a:cs typeface="Arial" charset="0"/>
        </a:defRPr>
      </a:lvl8pPr>
      <a:lvl9pPr marL="1567282" algn="l" defTabSz="853026" rtl="0" eaLnBrk="1" fontAlgn="base" hangingPunct="1">
        <a:spcBef>
          <a:spcPct val="0"/>
        </a:spcBef>
        <a:spcAft>
          <a:spcPct val="0"/>
        </a:spcAft>
        <a:defRPr sz="1714">
          <a:solidFill>
            <a:schemeClr val="accent1"/>
          </a:solidFill>
          <a:latin typeface="Arial" charset="0"/>
          <a:cs typeface="Arial" charset="0"/>
        </a:defRPr>
      </a:lvl9pPr>
    </p:titleStyle>
    <p:bodyStyle>
      <a:lvl1pPr algn="l" defTabSz="853026"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p:bodyStyle>
    <p:otherStyle>
      <a:defPPr>
        <a:defRPr lang="en-US"/>
      </a:defPPr>
      <a:lvl1pPr marL="0" algn="l" defTabSz="783641" rtl="0" eaLnBrk="1" latinLnBrk="0" hangingPunct="1">
        <a:defRPr sz="943" kern="1100">
          <a:solidFill>
            <a:schemeClr val="tx1"/>
          </a:solidFill>
          <a:latin typeface="+mn-lt"/>
          <a:ea typeface="+mn-ea"/>
          <a:cs typeface="+mn-cs"/>
        </a:defRPr>
      </a:lvl1pPr>
      <a:lvl2pPr marL="391820" algn="l" defTabSz="783641" rtl="0" eaLnBrk="1" latinLnBrk="0" hangingPunct="1">
        <a:defRPr sz="943" kern="1100">
          <a:solidFill>
            <a:schemeClr val="tx1"/>
          </a:solidFill>
          <a:latin typeface="+mn-lt"/>
          <a:ea typeface="+mn-ea"/>
          <a:cs typeface="+mn-cs"/>
        </a:defRPr>
      </a:lvl2pPr>
      <a:lvl3pPr marL="783641" algn="l" defTabSz="783641" rtl="0" eaLnBrk="1" latinLnBrk="0" hangingPunct="1">
        <a:defRPr sz="943" kern="1100">
          <a:solidFill>
            <a:schemeClr val="tx1"/>
          </a:solidFill>
          <a:latin typeface="+mn-lt"/>
          <a:ea typeface="+mn-ea"/>
          <a:cs typeface="+mn-cs"/>
        </a:defRPr>
      </a:lvl3pPr>
      <a:lvl4pPr marL="1175461" algn="l" defTabSz="783641" rtl="0" eaLnBrk="1" latinLnBrk="0" hangingPunct="1">
        <a:defRPr sz="943" kern="1100">
          <a:solidFill>
            <a:schemeClr val="tx1"/>
          </a:solidFill>
          <a:latin typeface="+mn-lt"/>
          <a:ea typeface="+mn-ea"/>
          <a:cs typeface="+mn-cs"/>
        </a:defRPr>
      </a:lvl4pPr>
      <a:lvl5pPr marL="1567282" algn="l" defTabSz="783641" rtl="0" eaLnBrk="1" latinLnBrk="0" hangingPunct="1">
        <a:defRPr sz="943" kern="1100">
          <a:solidFill>
            <a:schemeClr val="tx1"/>
          </a:solidFill>
          <a:latin typeface="+mn-lt"/>
          <a:ea typeface="+mn-ea"/>
          <a:cs typeface="+mn-cs"/>
        </a:defRPr>
      </a:lvl5pPr>
      <a:lvl6pPr marL="1959102" algn="l" defTabSz="783641" rtl="0" eaLnBrk="1" latinLnBrk="0" hangingPunct="1">
        <a:defRPr sz="943" kern="1100">
          <a:solidFill>
            <a:schemeClr val="tx1"/>
          </a:solidFill>
          <a:latin typeface="+mn-lt"/>
          <a:ea typeface="+mn-ea"/>
          <a:cs typeface="+mn-cs"/>
        </a:defRPr>
      </a:lvl6pPr>
      <a:lvl7pPr marL="2350922" algn="l" defTabSz="783641" rtl="0" eaLnBrk="1" latinLnBrk="0" hangingPunct="1">
        <a:defRPr sz="943" kern="1100">
          <a:solidFill>
            <a:schemeClr val="tx1"/>
          </a:solidFill>
          <a:latin typeface="+mn-lt"/>
          <a:ea typeface="+mn-ea"/>
          <a:cs typeface="+mn-cs"/>
        </a:defRPr>
      </a:lvl7pPr>
      <a:lvl8pPr marL="2742743" algn="l" defTabSz="783641" rtl="0" eaLnBrk="1" latinLnBrk="0" hangingPunct="1">
        <a:defRPr sz="943" kern="1100">
          <a:solidFill>
            <a:schemeClr val="tx1"/>
          </a:solidFill>
          <a:latin typeface="+mn-lt"/>
          <a:ea typeface="+mn-ea"/>
          <a:cs typeface="+mn-cs"/>
        </a:defRPr>
      </a:lvl8pPr>
      <a:lvl9pPr marL="3134563" algn="l" defTabSz="783641" rtl="0" eaLnBrk="1" latinLnBrk="0" hangingPunct="1">
        <a:defRPr sz="943" kern="1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
          <p15:clr>
            <a:srgbClr val="F26B43"/>
          </p15:clr>
        </p15:guide>
        <p15:guide id="2" pos="181">
          <p15:clr>
            <a:srgbClr val="F26B43"/>
          </p15:clr>
        </p15:guide>
        <p15:guide id="3" pos="7076">
          <p15:clr>
            <a:srgbClr val="F26B43"/>
          </p15:clr>
        </p15:guide>
        <p15:guide id="14" pos="3629">
          <p15:clr>
            <a:srgbClr val="F26B43"/>
          </p15:clr>
        </p15:guide>
        <p15:guide id="15" orient="horz" pos="3719">
          <p15:clr>
            <a:srgbClr val="F26B43"/>
          </p15:clr>
        </p15:guide>
        <p15:guide id="16" orient="horz" pos="3493">
          <p15:clr>
            <a:srgbClr val="F26B43"/>
          </p15:clr>
        </p15:guide>
        <p15:guide id="17" orient="horz" pos="3946">
          <p15:clr>
            <a:srgbClr val="F26B43"/>
          </p15:clr>
        </p15:guide>
        <p15:guide id="18" orient="horz" pos="1088">
          <p15:clr>
            <a:srgbClr val="F26B43"/>
          </p15:clr>
        </p15:guide>
        <p15:guide id="20" orient="horz" pos="544">
          <p15:clr>
            <a:srgbClr val="F26B43"/>
          </p15:clr>
        </p15:guide>
        <p15:guide id="21" pos="363">
          <p15:clr>
            <a:srgbClr val="F26B43"/>
          </p15:clr>
        </p15:guide>
        <p15:guide id="22" pos="6894">
          <p15:clr>
            <a:srgbClr val="F26B43"/>
          </p15:clr>
        </p15:guide>
        <p15:guide id="23" orient="horz" pos="658">
          <p15:clr>
            <a:srgbClr val="F26B43"/>
          </p15:clr>
        </p15:guide>
        <p15:guide id="24" orient="horz" pos="181" userDrawn="1">
          <p15:clr>
            <a:srgbClr val="F26B43"/>
          </p15:clr>
        </p15:guide>
        <p15:guide id="25" orient="horz" pos="9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1750" name="Rectangle 6"/>
          <p:cNvSpPr>
            <a:spLocks noGrp="1" noChangeArrowheads="1"/>
          </p:cNvSpPr>
          <p:nvPr>
            <p:ph type="body" idx="1"/>
          </p:nvPr>
        </p:nvSpPr>
        <p:spPr bwMode="auto">
          <a:xfrm>
            <a:off x="576263" y="1440000"/>
            <a:ext cx="10367963" cy="4149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endParaRPr lang="en-GB" dirty="0"/>
          </a:p>
        </p:txBody>
      </p:sp>
      <p:sp>
        <p:nvSpPr>
          <p:cNvPr id="31784" name="Rectangle 40"/>
          <p:cNvSpPr>
            <a:spLocks noGrp="1" noChangeArrowheads="1"/>
          </p:cNvSpPr>
          <p:nvPr>
            <p:ph type="title"/>
          </p:nvPr>
        </p:nvSpPr>
        <p:spPr bwMode="auto">
          <a:xfrm>
            <a:off x="576264" y="576263"/>
            <a:ext cx="10367962"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10" name="Slide Number Placeholder 9"/>
          <p:cNvSpPr>
            <a:spLocks noGrp="1"/>
          </p:cNvSpPr>
          <p:nvPr>
            <p:ph type="sldNum" sz="quarter" idx="4"/>
          </p:nvPr>
        </p:nvSpPr>
        <p:spPr>
          <a:xfrm>
            <a:off x="288000" y="6120000"/>
            <a:ext cx="288000" cy="176400"/>
          </a:xfrm>
          <a:prstGeom prst="rect">
            <a:avLst/>
          </a:prstGeom>
        </p:spPr>
        <p:txBody>
          <a:bodyPr vert="horz" lIns="0" tIns="0" rIns="0" bIns="0" rtlCol="0" anchor="b" anchorCtr="0"/>
          <a:lstStyle>
            <a:lvl1pPr algn="l">
              <a:lnSpc>
                <a:spcPct val="90000"/>
              </a:lnSpc>
              <a:spcAft>
                <a:spcPts val="0"/>
              </a:spcAft>
              <a:defRPr sz="1000" b="1">
                <a:solidFill>
                  <a:schemeClr val="tx2"/>
                </a:solidFill>
              </a:defRPr>
            </a:lvl1pPr>
          </a:lstStyle>
          <a:p>
            <a:fld id="{0F961903-03AF-4EAC-BF2C-945F8C5557D1}" type="slidenum">
              <a:rPr lang="en-GB" smtClean="0"/>
              <a:pPr/>
              <a:t>‹#›</a:t>
            </a:fld>
            <a:endParaRPr lang="en-GB" dirty="0"/>
          </a:p>
        </p:txBody>
      </p:sp>
      <p:sp>
        <p:nvSpPr>
          <p:cNvPr id="3" name="Footer Placeholder 2">
            <a:extLst>
              <a:ext uri="{FF2B5EF4-FFF2-40B4-BE49-F238E27FC236}">
                <a16:creationId xmlns:a16="http://schemas.microsoft.com/office/drawing/2014/main" id="{302D5F3F-ABD0-CAAD-8399-E8AEB0A5D80E}"/>
              </a:ext>
            </a:extLst>
          </p:cNvPr>
          <p:cNvSpPr>
            <a:spLocks noGrp="1"/>
          </p:cNvSpPr>
          <p:nvPr>
            <p:ph type="ftr" sz="quarter" idx="3"/>
          </p:nvPr>
        </p:nvSpPr>
        <p:spPr>
          <a:xfrm>
            <a:off x="576264" y="6120000"/>
            <a:ext cx="3887788" cy="169200"/>
          </a:xfrm>
          <a:prstGeom prst="rect">
            <a:avLst/>
          </a:prstGeom>
        </p:spPr>
        <p:txBody>
          <a:bodyPr vert="horz" lIns="0" tIns="0" rIns="0" bIns="0" rtlCol="0" anchor="b" anchorCtr="0"/>
          <a:lstStyle>
            <a:lvl1pPr algn="l">
              <a:defRPr sz="800">
                <a:solidFill>
                  <a:schemeClr val="tx1">
                    <a:tint val="75000"/>
                  </a:schemeClr>
                </a:solidFill>
              </a:defRPr>
            </a:lvl1pPr>
          </a:lstStyle>
          <a:p>
            <a:r>
              <a:rPr lang="en-GB" i="1">
                <a:solidFill>
                  <a:schemeClr val="accent1"/>
                </a:solidFill>
                <a:latin typeface="AvenirNext LT Pro Bold" panose="020B0504020202020204" pitchFamily="34" charset="77"/>
              </a:rPr>
              <a:t>For Use with Financial Professionals and Institutional Investors Only. Not for Use with the General Public.</a:t>
            </a:r>
            <a:endParaRPr lang="en-GB" i="1" dirty="0">
              <a:solidFill>
                <a:schemeClr val="accent1"/>
              </a:solidFill>
              <a:latin typeface="AvenirNext LT Pro Bold" panose="020B0504020202020204" pitchFamily="34" charset="77"/>
            </a:endParaRPr>
          </a:p>
        </p:txBody>
      </p:sp>
      <p:pic>
        <p:nvPicPr>
          <p:cNvPr id="2" name="Picture 1">
            <a:extLst>
              <a:ext uri="{FF2B5EF4-FFF2-40B4-BE49-F238E27FC236}">
                <a16:creationId xmlns:a16="http://schemas.microsoft.com/office/drawing/2014/main" id="{95E57351-A730-84DF-450D-995A3B197691}"/>
              </a:ext>
            </a:extLst>
          </p:cNvPr>
          <p:cNvPicPr>
            <a:picLocks noChangeAspect="1"/>
          </p:cNvPicPr>
          <p:nvPr userDrawn="1"/>
        </p:nvPicPr>
        <p:blipFill>
          <a:blip r:embed="rId63"/>
          <a:stretch>
            <a:fillRect/>
          </a:stretch>
        </p:blipFill>
        <p:spPr>
          <a:xfrm>
            <a:off x="9354830" y="6143286"/>
            <a:ext cx="1896080" cy="152383"/>
          </a:xfrm>
          <a:prstGeom prst="rect">
            <a:avLst/>
          </a:prstGeom>
        </p:spPr>
      </p:pic>
    </p:spTree>
    <p:extLst>
      <p:ext uri="{BB962C8B-B14F-4D97-AF65-F5344CB8AC3E}">
        <p14:creationId xmlns:p14="http://schemas.microsoft.com/office/powerpoint/2010/main" val="3803289592"/>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 id="2147484157" r:id="rId21"/>
    <p:sldLayoutId id="2147484158" r:id="rId22"/>
    <p:sldLayoutId id="2147484159" r:id="rId23"/>
    <p:sldLayoutId id="2147484160" r:id="rId24"/>
    <p:sldLayoutId id="2147484161" r:id="rId25"/>
    <p:sldLayoutId id="2147484162" r:id="rId26"/>
    <p:sldLayoutId id="2147484163" r:id="rId27"/>
    <p:sldLayoutId id="2147484164" r:id="rId28"/>
    <p:sldLayoutId id="2147484165" r:id="rId29"/>
    <p:sldLayoutId id="2147484166" r:id="rId30"/>
    <p:sldLayoutId id="2147484167" r:id="rId31"/>
    <p:sldLayoutId id="2147484168" r:id="rId32"/>
    <p:sldLayoutId id="2147484169" r:id="rId33"/>
    <p:sldLayoutId id="2147484170" r:id="rId34"/>
    <p:sldLayoutId id="2147484171" r:id="rId35"/>
    <p:sldLayoutId id="2147484172" r:id="rId36"/>
    <p:sldLayoutId id="2147484173" r:id="rId37"/>
    <p:sldLayoutId id="2147484174" r:id="rId38"/>
    <p:sldLayoutId id="2147484175" r:id="rId39"/>
    <p:sldLayoutId id="2147484176" r:id="rId40"/>
    <p:sldLayoutId id="2147484177" r:id="rId41"/>
    <p:sldLayoutId id="2147484178" r:id="rId42"/>
    <p:sldLayoutId id="2147484179" r:id="rId43"/>
    <p:sldLayoutId id="2147484180" r:id="rId44"/>
    <p:sldLayoutId id="2147484181" r:id="rId45"/>
    <p:sldLayoutId id="2147484182" r:id="rId46"/>
    <p:sldLayoutId id="2147484183" r:id="rId47"/>
    <p:sldLayoutId id="2147484184" r:id="rId48"/>
    <p:sldLayoutId id="2147484185" r:id="rId49"/>
    <p:sldLayoutId id="2147484186" r:id="rId50"/>
    <p:sldLayoutId id="2147484187" r:id="rId51"/>
    <p:sldLayoutId id="2147484188" r:id="rId52"/>
    <p:sldLayoutId id="2147484189" r:id="rId53"/>
    <p:sldLayoutId id="2147484190" r:id="rId54"/>
    <p:sldLayoutId id="2147484191" r:id="rId55"/>
    <p:sldLayoutId id="2147484192" r:id="rId56"/>
    <p:sldLayoutId id="2147484193" r:id="rId57"/>
    <p:sldLayoutId id="2147484194" r:id="rId58"/>
    <p:sldLayoutId id="2147484198" r:id="rId59"/>
    <p:sldLayoutId id="2147484199" r:id="rId60"/>
    <p:sldLayoutId id="2147484200" r:id="rId61"/>
  </p:sldLayoutIdLst>
  <p:hf hdr="0" dt="0"/>
  <p:txStyles>
    <p:titleStyle>
      <a:lvl1pPr algn="l" defTabSz="853015" rtl="0" eaLnBrk="1" fontAlgn="base" hangingPunct="1">
        <a:lnSpc>
          <a:spcPct val="85000"/>
        </a:lnSpc>
        <a:spcBef>
          <a:spcPct val="0"/>
        </a:spcBef>
        <a:spcAft>
          <a:spcPct val="0"/>
        </a:spcAft>
        <a:defRPr sz="2800" b="0" spc="0" baseline="0">
          <a:solidFill>
            <a:srgbClr val="00485E"/>
          </a:solidFill>
          <a:latin typeface="+mj-lt"/>
          <a:ea typeface="+mj-ea"/>
          <a:cs typeface="+mj-cs"/>
        </a:defRPr>
      </a:lvl1pPr>
      <a:lvl2pPr algn="l" defTabSz="853015" rtl="0" eaLnBrk="1" fontAlgn="base" hangingPunct="1">
        <a:spcBef>
          <a:spcPct val="0"/>
        </a:spcBef>
        <a:spcAft>
          <a:spcPct val="0"/>
        </a:spcAft>
        <a:defRPr sz="1714">
          <a:solidFill>
            <a:schemeClr val="accent1"/>
          </a:solidFill>
          <a:latin typeface="Arial" charset="0"/>
          <a:cs typeface="Arial" charset="0"/>
        </a:defRPr>
      </a:lvl2pPr>
      <a:lvl3pPr algn="l" defTabSz="853015" rtl="0" eaLnBrk="1" fontAlgn="base" hangingPunct="1">
        <a:spcBef>
          <a:spcPct val="0"/>
        </a:spcBef>
        <a:spcAft>
          <a:spcPct val="0"/>
        </a:spcAft>
        <a:defRPr sz="1714">
          <a:solidFill>
            <a:schemeClr val="accent1"/>
          </a:solidFill>
          <a:latin typeface="Arial" charset="0"/>
          <a:cs typeface="Arial" charset="0"/>
        </a:defRPr>
      </a:lvl3pPr>
      <a:lvl4pPr algn="l" defTabSz="853015" rtl="0" eaLnBrk="1" fontAlgn="base" hangingPunct="1">
        <a:spcBef>
          <a:spcPct val="0"/>
        </a:spcBef>
        <a:spcAft>
          <a:spcPct val="0"/>
        </a:spcAft>
        <a:defRPr sz="1714">
          <a:solidFill>
            <a:schemeClr val="accent1"/>
          </a:solidFill>
          <a:latin typeface="Arial" charset="0"/>
          <a:cs typeface="Arial" charset="0"/>
        </a:defRPr>
      </a:lvl4pPr>
      <a:lvl5pPr algn="l" defTabSz="853015" rtl="0" eaLnBrk="1" fontAlgn="base" hangingPunct="1">
        <a:spcBef>
          <a:spcPct val="0"/>
        </a:spcBef>
        <a:spcAft>
          <a:spcPct val="0"/>
        </a:spcAft>
        <a:defRPr sz="1714">
          <a:solidFill>
            <a:schemeClr val="accent1"/>
          </a:solidFill>
          <a:latin typeface="Arial" charset="0"/>
          <a:cs typeface="Arial" charset="0"/>
        </a:defRPr>
      </a:lvl5pPr>
      <a:lvl6pPr marL="391815" algn="l" defTabSz="853015" rtl="0" eaLnBrk="1" fontAlgn="base" hangingPunct="1">
        <a:spcBef>
          <a:spcPct val="0"/>
        </a:spcBef>
        <a:spcAft>
          <a:spcPct val="0"/>
        </a:spcAft>
        <a:defRPr sz="1714">
          <a:solidFill>
            <a:schemeClr val="accent1"/>
          </a:solidFill>
          <a:latin typeface="Arial" charset="0"/>
          <a:cs typeface="Arial" charset="0"/>
        </a:defRPr>
      </a:lvl6pPr>
      <a:lvl7pPr marL="783631" algn="l" defTabSz="853015" rtl="0" eaLnBrk="1" fontAlgn="base" hangingPunct="1">
        <a:spcBef>
          <a:spcPct val="0"/>
        </a:spcBef>
        <a:spcAft>
          <a:spcPct val="0"/>
        </a:spcAft>
        <a:defRPr sz="1714">
          <a:solidFill>
            <a:schemeClr val="accent1"/>
          </a:solidFill>
          <a:latin typeface="Arial" charset="0"/>
          <a:cs typeface="Arial" charset="0"/>
        </a:defRPr>
      </a:lvl7pPr>
      <a:lvl8pPr marL="1175446" algn="l" defTabSz="853015" rtl="0" eaLnBrk="1" fontAlgn="base" hangingPunct="1">
        <a:spcBef>
          <a:spcPct val="0"/>
        </a:spcBef>
        <a:spcAft>
          <a:spcPct val="0"/>
        </a:spcAft>
        <a:defRPr sz="1714">
          <a:solidFill>
            <a:schemeClr val="accent1"/>
          </a:solidFill>
          <a:latin typeface="Arial" charset="0"/>
          <a:cs typeface="Arial" charset="0"/>
        </a:defRPr>
      </a:lvl8pPr>
      <a:lvl9pPr marL="1567263" algn="l" defTabSz="853015" rtl="0" eaLnBrk="1" fontAlgn="base" hangingPunct="1">
        <a:spcBef>
          <a:spcPct val="0"/>
        </a:spcBef>
        <a:spcAft>
          <a:spcPct val="0"/>
        </a:spcAft>
        <a:defRPr sz="1714">
          <a:solidFill>
            <a:schemeClr val="accent1"/>
          </a:solidFill>
          <a:latin typeface="Arial" charset="0"/>
          <a:cs typeface="Arial" charset="0"/>
        </a:defRPr>
      </a:lvl9pPr>
    </p:titleStyle>
    <p:bodyStyle>
      <a:lvl1pPr algn="l" defTabSz="853015"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15"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79998" indent="-179998" algn="l" defTabSz="853015"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59996" indent="-179998" algn="l" defTabSz="853015"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39993" indent="-179998" algn="l" defTabSz="853015"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71" indent="-129245" algn="l" defTabSz="853015" rtl="0" eaLnBrk="1" fontAlgn="base" hangingPunct="1">
        <a:spcBef>
          <a:spcPct val="20000"/>
        </a:spcBef>
        <a:spcAft>
          <a:spcPct val="20000"/>
        </a:spcAft>
        <a:buFont typeface="Arial" charset="0"/>
        <a:buChar char="–"/>
        <a:defRPr sz="1114">
          <a:solidFill>
            <a:schemeClr val="tx1"/>
          </a:solidFill>
          <a:latin typeface="+mn-lt"/>
          <a:cs typeface="+mn-cs"/>
        </a:defRPr>
      </a:lvl6pPr>
      <a:lvl7pPr marL="1349587" indent="-129245" algn="l" defTabSz="853015" rtl="0" eaLnBrk="1" fontAlgn="base" hangingPunct="1">
        <a:spcBef>
          <a:spcPct val="20000"/>
        </a:spcBef>
        <a:spcAft>
          <a:spcPct val="20000"/>
        </a:spcAft>
        <a:buFont typeface="Arial" charset="0"/>
        <a:buChar char="–"/>
        <a:defRPr sz="1114">
          <a:solidFill>
            <a:schemeClr val="tx1"/>
          </a:solidFill>
          <a:latin typeface="+mn-lt"/>
          <a:cs typeface="+mn-cs"/>
        </a:defRPr>
      </a:lvl7pPr>
      <a:lvl8pPr marL="1741403" indent="-129245" algn="l" defTabSz="853015" rtl="0" eaLnBrk="1" fontAlgn="base" hangingPunct="1">
        <a:spcBef>
          <a:spcPct val="20000"/>
        </a:spcBef>
        <a:spcAft>
          <a:spcPct val="20000"/>
        </a:spcAft>
        <a:buFont typeface="Arial" charset="0"/>
        <a:buChar char="–"/>
        <a:defRPr sz="1114">
          <a:solidFill>
            <a:schemeClr val="tx1"/>
          </a:solidFill>
          <a:latin typeface="+mn-lt"/>
          <a:cs typeface="+mn-cs"/>
        </a:defRPr>
      </a:lvl8pPr>
      <a:lvl9pPr marL="2133218" indent="-129245" algn="l" defTabSz="853015" rtl="0" eaLnBrk="1" fontAlgn="base" hangingPunct="1">
        <a:spcBef>
          <a:spcPct val="20000"/>
        </a:spcBef>
        <a:spcAft>
          <a:spcPct val="20000"/>
        </a:spcAft>
        <a:buFont typeface="Arial" charset="0"/>
        <a:buChar char="–"/>
        <a:defRPr sz="1114">
          <a:solidFill>
            <a:schemeClr val="tx1"/>
          </a:solidFill>
          <a:latin typeface="+mn-lt"/>
          <a:cs typeface="+mn-cs"/>
        </a:defRPr>
      </a:lvl9pPr>
    </p:bodyStyle>
    <p:otherStyle>
      <a:defPPr>
        <a:defRPr lang="en-US"/>
      </a:defPPr>
      <a:lvl1pPr marL="0" algn="l" defTabSz="783631" rtl="0" eaLnBrk="1" latinLnBrk="0" hangingPunct="1">
        <a:defRPr sz="943" kern="1100">
          <a:solidFill>
            <a:schemeClr val="tx1"/>
          </a:solidFill>
          <a:latin typeface="+mn-lt"/>
          <a:ea typeface="+mn-ea"/>
          <a:cs typeface="+mn-cs"/>
        </a:defRPr>
      </a:lvl1pPr>
      <a:lvl2pPr marL="391815" algn="l" defTabSz="783631" rtl="0" eaLnBrk="1" latinLnBrk="0" hangingPunct="1">
        <a:defRPr sz="943" kern="1100">
          <a:solidFill>
            <a:schemeClr val="tx1"/>
          </a:solidFill>
          <a:latin typeface="+mn-lt"/>
          <a:ea typeface="+mn-ea"/>
          <a:cs typeface="+mn-cs"/>
        </a:defRPr>
      </a:lvl2pPr>
      <a:lvl3pPr marL="783631" algn="l" defTabSz="783631" rtl="0" eaLnBrk="1" latinLnBrk="0" hangingPunct="1">
        <a:defRPr sz="943" kern="1100">
          <a:solidFill>
            <a:schemeClr val="tx1"/>
          </a:solidFill>
          <a:latin typeface="+mn-lt"/>
          <a:ea typeface="+mn-ea"/>
          <a:cs typeface="+mn-cs"/>
        </a:defRPr>
      </a:lvl3pPr>
      <a:lvl4pPr marL="1175446" algn="l" defTabSz="783631" rtl="0" eaLnBrk="1" latinLnBrk="0" hangingPunct="1">
        <a:defRPr sz="943" kern="1100">
          <a:solidFill>
            <a:schemeClr val="tx1"/>
          </a:solidFill>
          <a:latin typeface="+mn-lt"/>
          <a:ea typeface="+mn-ea"/>
          <a:cs typeface="+mn-cs"/>
        </a:defRPr>
      </a:lvl4pPr>
      <a:lvl5pPr marL="1567263" algn="l" defTabSz="783631" rtl="0" eaLnBrk="1" latinLnBrk="0" hangingPunct="1">
        <a:defRPr sz="943" kern="1100">
          <a:solidFill>
            <a:schemeClr val="tx1"/>
          </a:solidFill>
          <a:latin typeface="+mn-lt"/>
          <a:ea typeface="+mn-ea"/>
          <a:cs typeface="+mn-cs"/>
        </a:defRPr>
      </a:lvl5pPr>
      <a:lvl6pPr marL="1959078" algn="l" defTabSz="783631" rtl="0" eaLnBrk="1" latinLnBrk="0" hangingPunct="1">
        <a:defRPr sz="943" kern="1100">
          <a:solidFill>
            <a:schemeClr val="tx1"/>
          </a:solidFill>
          <a:latin typeface="+mn-lt"/>
          <a:ea typeface="+mn-ea"/>
          <a:cs typeface="+mn-cs"/>
        </a:defRPr>
      </a:lvl6pPr>
      <a:lvl7pPr marL="2350893" algn="l" defTabSz="783631" rtl="0" eaLnBrk="1" latinLnBrk="0" hangingPunct="1">
        <a:defRPr sz="943" kern="1100">
          <a:solidFill>
            <a:schemeClr val="tx1"/>
          </a:solidFill>
          <a:latin typeface="+mn-lt"/>
          <a:ea typeface="+mn-ea"/>
          <a:cs typeface="+mn-cs"/>
        </a:defRPr>
      </a:lvl7pPr>
      <a:lvl8pPr marL="2742709" algn="l" defTabSz="783631" rtl="0" eaLnBrk="1" latinLnBrk="0" hangingPunct="1">
        <a:defRPr sz="943" kern="1100">
          <a:solidFill>
            <a:schemeClr val="tx1"/>
          </a:solidFill>
          <a:latin typeface="+mn-lt"/>
          <a:ea typeface="+mn-ea"/>
          <a:cs typeface="+mn-cs"/>
        </a:defRPr>
      </a:lvl8pPr>
      <a:lvl9pPr marL="3134524" algn="l" defTabSz="783631" rtl="0" eaLnBrk="1" latinLnBrk="0" hangingPunct="1">
        <a:defRPr sz="943" kern="1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
          <p15:clr>
            <a:srgbClr val="F26B43"/>
          </p15:clr>
        </p15:guide>
        <p15:guide id="2" pos="181">
          <p15:clr>
            <a:srgbClr val="F26B43"/>
          </p15:clr>
        </p15:guide>
        <p15:guide id="3" pos="7076">
          <p15:clr>
            <a:srgbClr val="F26B43"/>
          </p15:clr>
        </p15:guide>
        <p15:guide id="14" pos="3629">
          <p15:clr>
            <a:srgbClr val="F26B43"/>
          </p15:clr>
        </p15:guide>
        <p15:guide id="15" orient="horz" pos="3719">
          <p15:clr>
            <a:srgbClr val="F26B43"/>
          </p15:clr>
        </p15:guide>
        <p15:guide id="16" orient="horz" pos="3493">
          <p15:clr>
            <a:srgbClr val="F26B43"/>
          </p15:clr>
        </p15:guide>
        <p15:guide id="17" orient="horz" pos="3946">
          <p15:clr>
            <a:srgbClr val="F26B43"/>
          </p15:clr>
        </p15:guide>
        <p15:guide id="18" orient="horz" pos="1088">
          <p15:clr>
            <a:srgbClr val="F26B43"/>
          </p15:clr>
        </p15:guide>
        <p15:guide id="20" orient="horz" pos="544">
          <p15:clr>
            <a:srgbClr val="F26B43"/>
          </p15:clr>
        </p15:guide>
        <p15:guide id="21" pos="363">
          <p15:clr>
            <a:srgbClr val="F26B43"/>
          </p15:clr>
        </p15:guide>
        <p15:guide id="22" pos="6894">
          <p15:clr>
            <a:srgbClr val="F26B43"/>
          </p15:clr>
        </p15:guide>
        <p15:guide id="23" orient="horz" pos="658">
          <p15:clr>
            <a:srgbClr val="F26B43"/>
          </p15:clr>
        </p15:guide>
        <p15:guide id="24" orient="horz" pos="181">
          <p15:clr>
            <a:srgbClr val="F26B43"/>
          </p15:clr>
        </p15:guide>
        <p15:guide id="25" orient="horz" pos="90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54"/>
            </p:custData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name="think-cell Slide" r:id="rId56" imgW="503" imgH="503" progId="TCLayout.ActiveDocument.1">
                  <p:embed/>
                </p:oleObj>
              </mc:Choice>
              <mc:Fallback>
                <p:oleObj name="think-cell Slide" r:id="rId56"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57"/>
                      <a:stretch>
                        <a:fillRect/>
                      </a:stretch>
                    </p:blipFill>
                    <p:spPr>
                      <a:xfrm>
                        <a:off x="1500" y="1500"/>
                        <a:ext cx="1501" cy="150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55"/>
            </p:custDataLst>
          </p:nvPr>
        </p:nvSpPr>
        <p:spPr>
          <a:xfrm>
            <a:off x="0" y="0"/>
            <a:ext cx="150006" cy="150004"/>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268" b="1" i="0" baseline="0" dirty="0">
              <a:latin typeface="Arial" panose="020B0604020202020204" pitchFamily="34" charset="0"/>
              <a:ea typeface="+mj-ea"/>
              <a:cs typeface="+mj-cs"/>
              <a:sym typeface="Arial" panose="020B0604020202020204" pitchFamily="34" charset="0"/>
            </a:endParaRPr>
          </a:p>
        </p:txBody>
      </p:sp>
      <p:sp>
        <p:nvSpPr>
          <p:cNvPr id="7" name="TextBox 6">
            <a:extLst>
              <a:ext uri="{FF2B5EF4-FFF2-40B4-BE49-F238E27FC236}">
                <a16:creationId xmlns:a16="http://schemas.microsoft.com/office/drawing/2014/main" id="{18397895-7C2E-AF4A-8147-2E6D88ADE7A2}"/>
              </a:ext>
            </a:extLst>
          </p:cNvPr>
          <p:cNvSpPr txBox="1"/>
          <p:nvPr userDrawn="1"/>
        </p:nvSpPr>
        <p:spPr bwMode="auto">
          <a:xfrm>
            <a:off x="209795" y="6082324"/>
            <a:ext cx="518557" cy="328329"/>
          </a:xfrm>
          <a:prstGeom prst="rect">
            <a:avLst/>
          </a:prstGeom>
          <a:ln/>
        </p:spPr>
        <p:txBody>
          <a:bodyPr wrap="none" lIns="0" tIns="43201" rIns="86402" bIns="43201"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nSpc>
                <a:spcPct val="95000"/>
              </a:lnSpc>
              <a:spcBef>
                <a:spcPts val="0"/>
              </a:spcBef>
              <a:spcAft>
                <a:spcPts val="0"/>
              </a:spcAft>
            </a:pPr>
            <a:fld id="{CB216155-A8A6-4E9B-8861-79A7D7CE7B9D}" type="slidenum">
              <a:rPr lang="en-US" sz="945" b="1" i="0" smtClean="0">
                <a:solidFill>
                  <a:schemeClr val="tx1"/>
                </a:solidFill>
                <a:latin typeface="Avenir Next LT Pro" panose="020B0504020202020204" pitchFamily="34" charset="77"/>
              </a:rPr>
              <a:pPr lvl="0">
                <a:lnSpc>
                  <a:spcPct val="95000"/>
                </a:lnSpc>
                <a:spcBef>
                  <a:spcPts val="0"/>
                </a:spcBef>
                <a:spcAft>
                  <a:spcPts val="0"/>
                </a:spcAft>
              </a:pPr>
              <a:t>‹#›</a:t>
            </a:fld>
            <a:endParaRPr lang="en-US" sz="945" b="1" i="0" dirty="0">
              <a:solidFill>
                <a:schemeClr val="tx1"/>
              </a:solidFill>
              <a:latin typeface="Avenir Next LT Pro" panose="020B0504020202020204" pitchFamily="34" charset="77"/>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576026" y="432013"/>
            <a:ext cx="10368438" cy="436231"/>
          </a:xfrm>
          <a:prstGeom prst="rect">
            <a:avLst/>
          </a:prstGeom>
        </p:spPr>
        <p:txBody>
          <a:bodyPr vert="horz" lIns="0" tIns="45720" rIns="91440" bIns="45720" rtlCol="0" anchor="t" anchorCtr="0">
            <a:noAutofit/>
          </a:bodyPr>
          <a:lstStyle/>
          <a:p>
            <a:pPr lvl="0"/>
            <a:r>
              <a:rPr lang="en-US" dirty="0"/>
              <a:t>Title – Use [Title Case] Avenir Next (28pt, BNYM Teal)</a:t>
            </a:r>
          </a:p>
        </p:txBody>
      </p:sp>
      <p:pic>
        <p:nvPicPr>
          <p:cNvPr id="8" name="Picture 7">
            <a:extLst>
              <a:ext uri="{FF2B5EF4-FFF2-40B4-BE49-F238E27FC236}">
                <a16:creationId xmlns:a16="http://schemas.microsoft.com/office/drawing/2014/main" id="{1A5A47CC-EA27-2626-8FCC-A9CAEE000FED}"/>
              </a:ext>
            </a:extLst>
          </p:cNvPr>
          <p:cNvPicPr>
            <a:picLocks noChangeAspect="1"/>
          </p:cNvPicPr>
          <p:nvPr userDrawn="1"/>
        </p:nvPicPr>
        <p:blipFill>
          <a:blip r:embed="rId58"/>
          <a:stretch>
            <a:fillRect/>
          </a:stretch>
        </p:blipFill>
        <p:spPr>
          <a:xfrm>
            <a:off x="9354830" y="6143286"/>
            <a:ext cx="1896080" cy="152383"/>
          </a:xfrm>
          <a:prstGeom prst="rect">
            <a:avLst/>
          </a:prstGeom>
        </p:spPr>
      </p:pic>
    </p:spTree>
    <p:extLst>
      <p:ext uri="{BB962C8B-B14F-4D97-AF65-F5344CB8AC3E}">
        <p14:creationId xmlns:p14="http://schemas.microsoft.com/office/powerpoint/2010/main" val="1373592755"/>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 id="2147484232" r:id="rId31"/>
    <p:sldLayoutId id="2147484233" r:id="rId32"/>
    <p:sldLayoutId id="2147484234" r:id="rId33"/>
    <p:sldLayoutId id="2147484235" r:id="rId34"/>
    <p:sldLayoutId id="2147484236" r:id="rId35"/>
    <p:sldLayoutId id="2147484237" r:id="rId36"/>
    <p:sldLayoutId id="2147484238" r:id="rId37"/>
    <p:sldLayoutId id="2147484239" r:id="rId38"/>
    <p:sldLayoutId id="2147484240" r:id="rId39"/>
    <p:sldLayoutId id="2147484241" r:id="rId40"/>
    <p:sldLayoutId id="2147484242" r:id="rId41"/>
    <p:sldLayoutId id="2147484243" r:id="rId42"/>
    <p:sldLayoutId id="2147484244" r:id="rId43"/>
    <p:sldLayoutId id="2147484245" r:id="rId44"/>
    <p:sldLayoutId id="2147484246" r:id="rId45"/>
    <p:sldLayoutId id="2147484247" r:id="rId46"/>
    <p:sldLayoutId id="2147484248" r:id="rId47"/>
    <p:sldLayoutId id="2147484249" r:id="rId48"/>
    <p:sldLayoutId id="2147484250" r:id="rId49"/>
    <p:sldLayoutId id="2147484303" r:id="rId50"/>
    <p:sldLayoutId id="2147484304" r:id="rId51"/>
    <p:sldLayoutId id="2147484305" r:id="rId52"/>
  </p:sldLayoutIdLst>
  <p:transition>
    <p:wipe/>
  </p:transition>
  <p:txStyles>
    <p:titleStyle>
      <a:lvl1pPr algn="l" defTabSz="864017" rtl="0" eaLnBrk="1" latinLnBrk="0" hangingPunct="1">
        <a:lnSpc>
          <a:spcPts val="3024"/>
        </a:lnSpc>
        <a:spcBef>
          <a:spcPct val="0"/>
        </a:spcBef>
        <a:buNone/>
        <a:defRPr sz="2646" b="0" i="0" kern="1200" spc="0">
          <a:solidFill>
            <a:schemeClr val="accent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0504" indent="-160504" algn="l" defTabSz="864017" rtl="0" eaLnBrk="1" latinLnBrk="0" hangingPunct="1">
        <a:lnSpc>
          <a:spcPct val="100000"/>
        </a:lnSpc>
        <a:spcBef>
          <a:spcPts val="567"/>
        </a:spcBef>
        <a:buFont typeface="Arial" panose="020B0604020202020204" pitchFamily="34" charset="0"/>
        <a:buChar char="•"/>
        <a:defRPr lang="en-US" sz="1323" kern="1200" spc="0" dirty="0" smtClean="0">
          <a:solidFill>
            <a:schemeClr val="tx1"/>
          </a:solidFill>
          <a:latin typeface="Arial" panose="020B0604020202020204" pitchFamily="34" charset="0"/>
          <a:ea typeface="+mn-ea"/>
          <a:cs typeface="Arial" panose="020B0604020202020204" pitchFamily="34" charset="0"/>
        </a:defRPr>
      </a:lvl1pPr>
      <a:lvl2pPr marL="325507" indent="-165003" algn="l" defTabSz="864017" rtl="0" eaLnBrk="1" latinLnBrk="0" hangingPunct="1">
        <a:lnSpc>
          <a:spcPct val="100000"/>
        </a:lnSpc>
        <a:spcBef>
          <a:spcPts val="567"/>
        </a:spcBef>
        <a:buClr>
          <a:schemeClr val="tx1"/>
        </a:buClr>
        <a:buFont typeface="Arial" panose="020B0604020202020204" pitchFamily="34" charset="0"/>
        <a:buChar char="–"/>
        <a:defRPr lang="en-US" sz="1323" kern="1200" spc="0" dirty="0" smtClean="0">
          <a:solidFill>
            <a:schemeClr val="tx1"/>
          </a:solidFill>
          <a:latin typeface="Arial" panose="020B0604020202020204" pitchFamily="34" charset="0"/>
          <a:ea typeface="+mn-ea"/>
          <a:cs typeface="Arial" panose="020B0604020202020204" pitchFamily="34" charset="0"/>
        </a:defRPr>
      </a:lvl2pPr>
      <a:lvl3pPr marL="486009" indent="-160504" algn="l" defTabSz="864017" rtl="0" eaLnBrk="1" latinLnBrk="0" hangingPunct="1">
        <a:lnSpc>
          <a:spcPct val="100000"/>
        </a:lnSpc>
        <a:spcBef>
          <a:spcPts val="567"/>
        </a:spcBef>
        <a:buFont typeface="Arial" panose="020B0604020202020204" pitchFamily="34" charset="0"/>
        <a:buChar char="&gt;"/>
        <a:defRPr lang="en-US" sz="1323" kern="1200" spc="0" dirty="0" smtClean="0">
          <a:solidFill>
            <a:schemeClr val="tx1"/>
          </a:solidFill>
          <a:latin typeface="Arial" panose="020B0604020202020204" pitchFamily="34" charset="0"/>
          <a:ea typeface="+mn-ea"/>
          <a:cs typeface="Arial" panose="020B0604020202020204" pitchFamily="34" charset="0"/>
        </a:defRPr>
      </a:lvl3pPr>
      <a:lvl4pPr marL="651012" indent="-165003" algn="l" defTabSz="864017" rtl="0" eaLnBrk="1" latinLnBrk="0" hangingPunct="1">
        <a:lnSpc>
          <a:spcPct val="100000"/>
        </a:lnSpc>
        <a:spcBef>
          <a:spcPts val="567"/>
        </a:spcBef>
        <a:buFont typeface="Wingdings" panose="05000000000000000000" pitchFamily="2" charset="2"/>
        <a:buChar char="§"/>
        <a:defRPr lang="en-US" sz="1323" kern="1200" spc="0" dirty="0" smtClean="0">
          <a:solidFill>
            <a:schemeClr val="tx1"/>
          </a:solidFill>
          <a:latin typeface="Arial" panose="020B0604020202020204" pitchFamily="34" charset="0"/>
          <a:ea typeface="+mn-ea"/>
          <a:cs typeface="Arial" panose="020B0604020202020204" pitchFamily="34" charset="0"/>
        </a:defRPr>
      </a:lvl4pPr>
      <a:lvl5pPr marL="864017" indent="-213004" algn="l" defTabSz="864017" rtl="0" eaLnBrk="1" latinLnBrk="0" hangingPunct="1">
        <a:lnSpc>
          <a:spcPct val="100000"/>
        </a:lnSpc>
        <a:spcBef>
          <a:spcPts val="567"/>
        </a:spcBef>
        <a:buFont typeface="Arial" panose="020B0604020202020204" pitchFamily="34" charset="0"/>
        <a:buChar char="•"/>
        <a:defRPr lang="en-US" sz="1323" kern="1200" spc="0" dirty="0">
          <a:solidFill>
            <a:schemeClr val="tx1"/>
          </a:solidFill>
          <a:latin typeface="Arial" panose="020B0604020202020204" pitchFamily="34" charset="0"/>
          <a:ea typeface="+mn-ea"/>
          <a:cs typeface="Arial" panose="020B0604020202020204" pitchFamily="34" charset="0"/>
        </a:defRPr>
      </a:lvl5pPr>
      <a:lvl6pPr marL="2376046"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6pPr>
      <a:lvl7pPr marL="2808054"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7pPr>
      <a:lvl8pPr marL="3240062"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8pPr>
      <a:lvl9pPr marL="3672070" indent="-216004" algn="l" defTabSz="864017" rtl="0" eaLnBrk="1" latinLnBrk="0" hangingPunct="1">
        <a:spcBef>
          <a:spcPct val="20000"/>
        </a:spcBef>
        <a:buFont typeface="Arial" pitchFamily="34" charset="0"/>
        <a:buChar char="•"/>
        <a:defRPr sz="1890" kern="1200">
          <a:solidFill>
            <a:schemeClr val="tx1"/>
          </a:solidFill>
          <a:latin typeface="+mn-lt"/>
          <a:ea typeface="+mn-ea"/>
          <a:cs typeface="+mn-cs"/>
        </a:defRPr>
      </a:lvl9pPr>
    </p:bodyStyle>
    <p:otherStyle>
      <a:defPPr>
        <a:defRPr lang="en-US"/>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1750" name="Rectangle 6"/>
          <p:cNvSpPr>
            <a:spLocks noGrp="1" noChangeArrowheads="1"/>
          </p:cNvSpPr>
          <p:nvPr>
            <p:ph type="body" idx="1"/>
          </p:nvPr>
        </p:nvSpPr>
        <p:spPr bwMode="auto">
          <a:xfrm>
            <a:off x="576262" y="1439999"/>
            <a:ext cx="10367963" cy="41499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endParaRPr lang="en-GB" dirty="0"/>
          </a:p>
        </p:txBody>
      </p:sp>
      <p:sp>
        <p:nvSpPr>
          <p:cNvPr id="31784" name="Rectangle 40"/>
          <p:cNvSpPr>
            <a:spLocks noGrp="1" noChangeArrowheads="1"/>
          </p:cNvSpPr>
          <p:nvPr>
            <p:ph type="title"/>
          </p:nvPr>
        </p:nvSpPr>
        <p:spPr bwMode="auto">
          <a:xfrm>
            <a:off x="576263" y="576263"/>
            <a:ext cx="10367962"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itle style</a:t>
            </a:r>
            <a:endParaRPr lang="en-GB" dirty="0"/>
          </a:p>
        </p:txBody>
      </p:sp>
      <p:sp>
        <p:nvSpPr>
          <p:cNvPr id="10" name="Slide Number Placeholder 9"/>
          <p:cNvSpPr>
            <a:spLocks noGrp="1"/>
          </p:cNvSpPr>
          <p:nvPr>
            <p:ph type="sldNum" sz="quarter" idx="4"/>
          </p:nvPr>
        </p:nvSpPr>
        <p:spPr>
          <a:xfrm>
            <a:off x="288000" y="6120000"/>
            <a:ext cx="288000" cy="169200"/>
          </a:xfrm>
          <a:prstGeom prst="rect">
            <a:avLst/>
          </a:prstGeom>
        </p:spPr>
        <p:txBody>
          <a:bodyPr vert="horz" lIns="0" tIns="0" rIns="0" bIns="0" rtlCol="0" anchor="b" anchorCtr="0"/>
          <a:lstStyle>
            <a:lvl1pPr algn="l">
              <a:lnSpc>
                <a:spcPct val="90000"/>
              </a:lnSpc>
              <a:spcAft>
                <a:spcPts val="0"/>
              </a:spcAft>
              <a:defRPr sz="800" b="0">
                <a:solidFill>
                  <a:schemeClr val="tx2"/>
                </a:solidFill>
                <a:latin typeface="Avenir Next LT Pro Demi" panose="020B0704020202020204" pitchFamily="34" charset="0"/>
              </a:defRPr>
            </a:lvl1pPr>
          </a:lstStyle>
          <a:p>
            <a:fld id="{0F961903-03AF-4EAC-BF2C-945F8C5557D1}" type="slidenum">
              <a:rPr lang="en-GB" smtClean="0"/>
              <a:pPr/>
              <a:t>‹#›</a:t>
            </a:fld>
            <a:endParaRPr lang="en-GB" dirty="0"/>
          </a:p>
        </p:txBody>
      </p:sp>
      <p:sp>
        <p:nvSpPr>
          <p:cNvPr id="3" name="Footer Placeholder 2">
            <a:extLst>
              <a:ext uri="{FF2B5EF4-FFF2-40B4-BE49-F238E27FC236}">
                <a16:creationId xmlns:a16="http://schemas.microsoft.com/office/drawing/2014/main" id="{302D5F3F-ABD0-CAAD-8399-E8AEB0A5D80E}"/>
              </a:ext>
            </a:extLst>
          </p:cNvPr>
          <p:cNvSpPr>
            <a:spLocks noGrp="1"/>
          </p:cNvSpPr>
          <p:nvPr>
            <p:ph type="ftr" sz="quarter" idx="3"/>
          </p:nvPr>
        </p:nvSpPr>
        <p:spPr>
          <a:xfrm>
            <a:off x="576263" y="6120000"/>
            <a:ext cx="3887788" cy="169200"/>
          </a:xfrm>
          <a:prstGeom prst="rect">
            <a:avLst/>
          </a:prstGeom>
        </p:spPr>
        <p:txBody>
          <a:bodyPr vert="horz" lIns="0" tIns="0" rIns="0" bIns="0" rtlCol="0" anchor="b" anchorCtr="0"/>
          <a:lstStyle>
            <a:lvl1pPr algn="l">
              <a:defRPr sz="800" i="0">
                <a:solidFill>
                  <a:srgbClr val="00243D"/>
                </a:solidFill>
                <a:latin typeface="Arial" panose="020B0604020202020204" pitchFamily="34" charset="0"/>
                <a:cs typeface="Arial" panose="020B0604020202020204" pitchFamily="34" charset="0"/>
              </a:defRPr>
            </a:lvl1pPr>
          </a:lstStyle>
          <a:p>
            <a:r>
              <a:rPr lang="en-GB"/>
              <a:t>Information Classification: PUBLIC</a:t>
            </a:r>
            <a:endParaRPr lang="en-GB" dirty="0"/>
          </a:p>
        </p:txBody>
      </p:sp>
      <p:pic>
        <p:nvPicPr>
          <p:cNvPr id="6" name="Picture 5">
            <a:extLst>
              <a:ext uri="{FF2B5EF4-FFF2-40B4-BE49-F238E27FC236}">
                <a16:creationId xmlns:a16="http://schemas.microsoft.com/office/drawing/2014/main" id="{97410408-85A0-BC3E-865C-2F1D101A6CE9}"/>
              </a:ext>
            </a:extLst>
          </p:cNvPr>
          <p:cNvPicPr>
            <a:picLocks noChangeAspect="1"/>
          </p:cNvPicPr>
          <p:nvPr userDrawn="1"/>
        </p:nvPicPr>
        <p:blipFill>
          <a:blip r:embed="rId92"/>
          <a:stretch>
            <a:fillRect/>
          </a:stretch>
        </p:blipFill>
        <p:spPr>
          <a:xfrm>
            <a:off x="9354830" y="6114934"/>
            <a:ext cx="1896080" cy="152383"/>
          </a:xfrm>
          <a:prstGeom prst="rect">
            <a:avLst/>
          </a:prstGeom>
        </p:spPr>
      </p:pic>
    </p:spTree>
    <p:extLst>
      <p:ext uri="{BB962C8B-B14F-4D97-AF65-F5344CB8AC3E}">
        <p14:creationId xmlns:p14="http://schemas.microsoft.com/office/powerpoint/2010/main" val="1375509468"/>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 id="2147484319" r:id="rId13"/>
    <p:sldLayoutId id="2147484320" r:id="rId14"/>
    <p:sldLayoutId id="2147484321" r:id="rId15"/>
    <p:sldLayoutId id="2147484322" r:id="rId16"/>
    <p:sldLayoutId id="2147484323" r:id="rId17"/>
    <p:sldLayoutId id="2147484324" r:id="rId18"/>
    <p:sldLayoutId id="2147484325" r:id="rId19"/>
    <p:sldLayoutId id="2147484326" r:id="rId20"/>
    <p:sldLayoutId id="2147484327" r:id="rId21"/>
    <p:sldLayoutId id="2147484328" r:id="rId22"/>
    <p:sldLayoutId id="2147484329" r:id="rId23"/>
    <p:sldLayoutId id="2147484330" r:id="rId24"/>
    <p:sldLayoutId id="2147484331" r:id="rId25"/>
    <p:sldLayoutId id="2147484332" r:id="rId26"/>
    <p:sldLayoutId id="2147484333" r:id="rId27"/>
    <p:sldLayoutId id="2147484334" r:id="rId28"/>
    <p:sldLayoutId id="2147484335" r:id="rId29"/>
    <p:sldLayoutId id="2147484336" r:id="rId30"/>
    <p:sldLayoutId id="2147484337" r:id="rId31"/>
    <p:sldLayoutId id="2147484338" r:id="rId32"/>
    <p:sldLayoutId id="2147484339" r:id="rId33"/>
    <p:sldLayoutId id="2147484340" r:id="rId34"/>
    <p:sldLayoutId id="2147484341" r:id="rId35"/>
    <p:sldLayoutId id="2147484342" r:id="rId36"/>
    <p:sldLayoutId id="2147484343" r:id="rId37"/>
    <p:sldLayoutId id="2147484344" r:id="rId38"/>
    <p:sldLayoutId id="2147484345" r:id="rId39"/>
    <p:sldLayoutId id="2147484346" r:id="rId40"/>
    <p:sldLayoutId id="2147484347" r:id="rId41"/>
    <p:sldLayoutId id="2147484348" r:id="rId42"/>
    <p:sldLayoutId id="2147484349" r:id="rId43"/>
    <p:sldLayoutId id="2147484350" r:id="rId44"/>
    <p:sldLayoutId id="2147484351" r:id="rId45"/>
    <p:sldLayoutId id="2147484352" r:id="rId46"/>
    <p:sldLayoutId id="2147484353" r:id="rId47"/>
    <p:sldLayoutId id="2147484354" r:id="rId48"/>
    <p:sldLayoutId id="2147484355" r:id="rId49"/>
    <p:sldLayoutId id="2147484356" r:id="rId50"/>
    <p:sldLayoutId id="2147484357" r:id="rId51"/>
    <p:sldLayoutId id="2147484358" r:id="rId52"/>
    <p:sldLayoutId id="2147484359" r:id="rId53"/>
    <p:sldLayoutId id="2147484360" r:id="rId54"/>
    <p:sldLayoutId id="2147484361" r:id="rId55"/>
    <p:sldLayoutId id="2147484362" r:id="rId56"/>
    <p:sldLayoutId id="2147484363" r:id="rId57"/>
    <p:sldLayoutId id="2147484364" r:id="rId58"/>
    <p:sldLayoutId id="2147484365" r:id="rId59"/>
    <p:sldLayoutId id="2147484366" r:id="rId60"/>
    <p:sldLayoutId id="2147484367" r:id="rId61"/>
    <p:sldLayoutId id="2147484368" r:id="rId62"/>
    <p:sldLayoutId id="2147484369" r:id="rId63"/>
    <p:sldLayoutId id="2147484370" r:id="rId64"/>
    <p:sldLayoutId id="2147484371" r:id="rId65"/>
    <p:sldLayoutId id="2147484372" r:id="rId66"/>
    <p:sldLayoutId id="2147484373" r:id="rId67"/>
    <p:sldLayoutId id="2147484374" r:id="rId68"/>
    <p:sldLayoutId id="2147484375" r:id="rId69"/>
    <p:sldLayoutId id="2147484376" r:id="rId70"/>
    <p:sldLayoutId id="2147484377" r:id="rId71"/>
    <p:sldLayoutId id="2147484378" r:id="rId72"/>
    <p:sldLayoutId id="2147484379" r:id="rId73"/>
    <p:sldLayoutId id="2147484380" r:id="rId74"/>
    <p:sldLayoutId id="2147484381" r:id="rId75"/>
    <p:sldLayoutId id="2147484382" r:id="rId76"/>
    <p:sldLayoutId id="2147484383" r:id="rId77"/>
    <p:sldLayoutId id="2147484384" r:id="rId78"/>
    <p:sldLayoutId id="2147484385" r:id="rId79"/>
    <p:sldLayoutId id="2147484386" r:id="rId80"/>
    <p:sldLayoutId id="2147484387" r:id="rId81"/>
    <p:sldLayoutId id="2147484388" r:id="rId82"/>
    <p:sldLayoutId id="2147484389" r:id="rId83"/>
    <p:sldLayoutId id="2147484390" r:id="rId84"/>
    <p:sldLayoutId id="2147484391" r:id="rId85"/>
    <p:sldLayoutId id="2147484392" r:id="rId86"/>
    <p:sldLayoutId id="2147484393" r:id="rId87"/>
    <p:sldLayoutId id="2147484394" r:id="rId88"/>
    <p:sldLayoutId id="2147484395" r:id="rId89"/>
    <p:sldLayoutId id="2147484396" r:id="rId90"/>
  </p:sldLayoutIdLst>
  <p:hf hdr="0" dt="0"/>
  <p:txStyles>
    <p:titleStyle>
      <a:lvl1pPr algn="l" defTabSz="853026" rtl="0" eaLnBrk="1" fontAlgn="base" hangingPunct="1">
        <a:lnSpc>
          <a:spcPct val="85000"/>
        </a:lnSpc>
        <a:spcBef>
          <a:spcPct val="0"/>
        </a:spcBef>
        <a:spcAft>
          <a:spcPct val="0"/>
        </a:spcAft>
        <a:defRPr sz="2800" b="0" spc="0" baseline="0">
          <a:solidFill>
            <a:srgbClr val="00485E"/>
          </a:solidFill>
          <a:latin typeface="+mj-lt"/>
          <a:ea typeface="+mj-ea"/>
          <a:cs typeface="+mj-cs"/>
        </a:defRPr>
      </a:lvl1pPr>
      <a:lvl2pPr algn="l" defTabSz="853026" rtl="0" eaLnBrk="1" fontAlgn="base" hangingPunct="1">
        <a:spcBef>
          <a:spcPct val="0"/>
        </a:spcBef>
        <a:spcAft>
          <a:spcPct val="0"/>
        </a:spcAft>
        <a:defRPr sz="1714">
          <a:solidFill>
            <a:schemeClr val="accent1"/>
          </a:solidFill>
          <a:latin typeface="Arial" charset="0"/>
          <a:cs typeface="Arial" charset="0"/>
        </a:defRPr>
      </a:lvl2pPr>
      <a:lvl3pPr algn="l" defTabSz="853026" rtl="0" eaLnBrk="1" fontAlgn="base" hangingPunct="1">
        <a:spcBef>
          <a:spcPct val="0"/>
        </a:spcBef>
        <a:spcAft>
          <a:spcPct val="0"/>
        </a:spcAft>
        <a:defRPr sz="1714">
          <a:solidFill>
            <a:schemeClr val="accent1"/>
          </a:solidFill>
          <a:latin typeface="Arial" charset="0"/>
          <a:cs typeface="Arial" charset="0"/>
        </a:defRPr>
      </a:lvl3pPr>
      <a:lvl4pPr algn="l" defTabSz="853026" rtl="0" eaLnBrk="1" fontAlgn="base" hangingPunct="1">
        <a:spcBef>
          <a:spcPct val="0"/>
        </a:spcBef>
        <a:spcAft>
          <a:spcPct val="0"/>
        </a:spcAft>
        <a:defRPr sz="1714">
          <a:solidFill>
            <a:schemeClr val="accent1"/>
          </a:solidFill>
          <a:latin typeface="Arial" charset="0"/>
          <a:cs typeface="Arial" charset="0"/>
        </a:defRPr>
      </a:lvl4pPr>
      <a:lvl5pPr algn="l" defTabSz="853026" rtl="0" eaLnBrk="1" fontAlgn="base" hangingPunct="1">
        <a:spcBef>
          <a:spcPct val="0"/>
        </a:spcBef>
        <a:spcAft>
          <a:spcPct val="0"/>
        </a:spcAft>
        <a:defRPr sz="1714">
          <a:solidFill>
            <a:schemeClr val="accent1"/>
          </a:solidFill>
          <a:latin typeface="Arial" charset="0"/>
          <a:cs typeface="Arial" charset="0"/>
        </a:defRPr>
      </a:lvl5pPr>
      <a:lvl6pPr marL="391820" algn="l" defTabSz="853026" rtl="0" eaLnBrk="1" fontAlgn="base" hangingPunct="1">
        <a:spcBef>
          <a:spcPct val="0"/>
        </a:spcBef>
        <a:spcAft>
          <a:spcPct val="0"/>
        </a:spcAft>
        <a:defRPr sz="1714">
          <a:solidFill>
            <a:schemeClr val="accent1"/>
          </a:solidFill>
          <a:latin typeface="Arial" charset="0"/>
          <a:cs typeface="Arial" charset="0"/>
        </a:defRPr>
      </a:lvl6pPr>
      <a:lvl7pPr marL="783641" algn="l" defTabSz="853026" rtl="0" eaLnBrk="1" fontAlgn="base" hangingPunct="1">
        <a:spcBef>
          <a:spcPct val="0"/>
        </a:spcBef>
        <a:spcAft>
          <a:spcPct val="0"/>
        </a:spcAft>
        <a:defRPr sz="1714">
          <a:solidFill>
            <a:schemeClr val="accent1"/>
          </a:solidFill>
          <a:latin typeface="Arial" charset="0"/>
          <a:cs typeface="Arial" charset="0"/>
        </a:defRPr>
      </a:lvl7pPr>
      <a:lvl8pPr marL="1175461" algn="l" defTabSz="853026" rtl="0" eaLnBrk="1" fontAlgn="base" hangingPunct="1">
        <a:spcBef>
          <a:spcPct val="0"/>
        </a:spcBef>
        <a:spcAft>
          <a:spcPct val="0"/>
        </a:spcAft>
        <a:defRPr sz="1714">
          <a:solidFill>
            <a:schemeClr val="accent1"/>
          </a:solidFill>
          <a:latin typeface="Arial" charset="0"/>
          <a:cs typeface="Arial" charset="0"/>
        </a:defRPr>
      </a:lvl8pPr>
      <a:lvl9pPr marL="1567282" algn="l" defTabSz="853026" rtl="0" eaLnBrk="1" fontAlgn="base" hangingPunct="1">
        <a:spcBef>
          <a:spcPct val="0"/>
        </a:spcBef>
        <a:spcAft>
          <a:spcPct val="0"/>
        </a:spcAft>
        <a:defRPr sz="1714">
          <a:solidFill>
            <a:schemeClr val="accent1"/>
          </a:solidFill>
          <a:latin typeface="Arial" charset="0"/>
          <a:cs typeface="Arial" charset="0"/>
        </a:defRPr>
      </a:lvl9pPr>
    </p:titleStyle>
    <p:bodyStyle>
      <a:lvl1pPr algn="l" defTabSz="853026" rtl="0" eaLnBrk="1" fontAlgn="base" hangingPunct="1">
        <a:spcBef>
          <a:spcPts val="900"/>
        </a:spcBef>
        <a:spcAft>
          <a:spcPts val="300"/>
        </a:spcAft>
        <a:buClr>
          <a:schemeClr val="accent1"/>
        </a:buClr>
        <a:buSzPct val="120000"/>
        <a:defRPr sz="1200" b="1" spc="0" baseline="0">
          <a:solidFill>
            <a:srgbClr val="00485E"/>
          </a:solidFill>
          <a:latin typeface="+mn-lt"/>
          <a:ea typeface="+mn-ea"/>
          <a:cs typeface="+mn-cs"/>
        </a:defRPr>
      </a:lvl1pPr>
      <a:lvl2pPr marL="1361" indent="0" algn="l" defTabSz="853026" rtl="0" eaLnBrk="1" fontAlgn="base" hangingPunct="1">
        <a:spcBef>
          <a:spcPts val="0"/>
        </a:spcBef>
        <a:spcAft>
          <a:spcPts val="12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1200"/>
        </a:spcAft>
        <a:buClr>
          <a:schemeClr val="tx2"/>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p:bodyStyle>
    <p:otherStyle>
      <a:defPPr>
        <a:defRPr lang="en-US"/>
      </a:defPPr>
      <a:lvl1pPr marL="0" algn="l" defTabSz="783641" rtl="0" eaLnBrk="1" latinLnBrk="0" hangingPunct="1">
        <a:defRPr sz="943" kern="1100">
          <a:solidFill>
            <a:schemeClr val="tx1"/>
          </a:solidFill>
          <a:latin typeface="+mn-lt"/>
          <a:ea typeface="+mn-ea"/>
          <a:cs typeface="+mn-cs"/>
        </a:defRPr>
      </a:lvl1pPr>
      <a:lvl2pPr marL="391820" algn="l" defTabSz="783641" rtl="0" eaLnBrk="1" latinLnBrk="0" hangingPunct="1">
        <a:defRPr sz="943" kern="1100">
          <a:solidFill>
            <a:schemeClr val="tx1"/>
          </a:solidFill>
          <a:latin typeface="+mn-lt"/>
          <a:ea typeface="+mn-ea"/>
          <a:cs typeface="+mn-cs"/>
        </a:defRPr>
      </a:lvl2pPr>
      <a:lvl3pPr marL="783641" algn="l" defTabSz="783641" rtl="0" eaLnBrk="1" latinLnBrk="0" hangingPunct="1">
        <a:defRPr sz="943" kern="1100">
          <a:solidFill>
            <a:schemeClr val="tx1"/>
          </a:solidFill>
          <a:latin typeface="+mn-lt"/>
          <a:ea typeface="+mn-ea"/>
          <a:cs typeface="+mn-cs"/>
        </a:defRPr>
      </a:lvl3pPr>
      <a:lvl4pPr marL="1175461" algn="l" defTabSz="783641" rtl="0" eaLnBrk="1" latinLnBrk="0" hangingPunct="1">
        <a:defRPr sz="943" kern="1100">
          <a:solidFill>
            <a:schemeClr val="tx1"/>
          </a:solidFill>
          <a:latin typeface="+mn-lt"/>
          <a:ea typeface="+mn-ea"/>
          <a:cs typeface="+mn-cs"/>
        </a:defRPr>
      </a:lvl4pPr>
      <a:lvl5pPr marL="1567282" algn="l" defTabSz="783641" rtl="0" eaLnBrk="1" latinLnBrk="0" hangingPunct="1">
        <a:defRPr sz="943" kern="1100">
          <a:solidFill>
            <a:schemeClr val="tx1"/>
          </a:solidFill>
          <a:latin typeface="+mn-lt"/>
          <a:ea typeface="+mn-ea"/>
          <a:cs typeface="+mn-cs"/>
        </a:defRPr>
      </a:lvl5pPr>
      <a:lvl6pPr marL="1959102" algn="l" defTabSz="783641" rtl="0" eaLnBrk="1" latinLnBrk="0" hangingPunct="1">
        <a:defRPr sz="943" kern="1100">
          <a:solidFill>
            <a:schemeClr val="tx1"/>
          </a:solidFill>
          <a:latin typeface="+mn-lt"/>
          <a:ea typeface="+mn-ea"/>
          <a:cs typeface="+mn-cs"/>
        </a:defRPr>
      </a:lvl6pPr>
      <a:lvl7pPr marL="2350922" algn="l" defTabSz="783641" rtl="0" eaLnBrk="1" latinLnBrk="0" hangingPunct="1">
        <a:defRPr sz="943" kern="1100">
          <a:solidFill>
            <a:schemeClr val="tx1"/>
          </a:solidFill>
          <a:latin typeface="+mn-lt"/>
          <a:ea typeface="+mn-ea"/>
          <a:cs typeface="+mn-cs"/>
        </a:defRPr>
      </a:lvl7pPr>
      <a:lvl8pPr marL="2742743" algn="l" defTabSz="783641" rtl="0" eaLnBrk="1" latinLnBrk="0" hangingPunct="1">
        <a:defRPr sz="943" kern="1100">
          <a:solidFill>
            <a:schemeClr val="tx1"/>
          </a:solidFill>
          <a:latin typeface="+mn-lt"/>
          <a:ea typeface="+mn-ea"/>
          <a:cs typeface="+mn-cs"/>
        </a:defRPr>
      </a:lvl8pPr>
      <a:lvl9pPr marL="3134563" algn="l" defTabSz="783641" rtl="0" eaLnBrk="1" latinLnBrk="0" hangingPunct="1">
        <a:defRPr sz="943" kern="11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3">
          <p15:clr>
            <a:srgbClr val="F26B43"/>
          </p15:clr>
        </p15:guide>
        <p15:guide id="2" pos="181">
          <p15:clr>
            <a:srgbClr val="F26B43"/>
          </p15:clr>
        </p15:guide>
        <p15:guide id="3" pos="7076">
          <p15:clr>
            <a:srgbClr val="F26B43"/>
          </p15:clr>
        </p15:guide>
        <p15:guide id="14" pos="3629">
          <p15:clr>
            <a:srgbClr val="F26B43"/>
          </p15:clr>
        </p15:guide>
        <p15:guide id="15" orient="horz" pos="3719">
          <p15:clr>
            <a:srgbClr val="F26B43"/>
          </p15:clr>
        </p15:guide>
        <p15:guide id="16" orient="horz" pos="3493">
          <p15:clr>
            <a:srgbClr val="F26B43"/>
          </p15:clr>
        </p15:guide>
        <p15:guide id="17" orient="horz" pos="3946">
          <p15:clr>
            <a:srgbClr val="F26B43"/>
          </p15:clr>
        </p15:guide>
        <p15:guide id="18" orient="horz" pos="1088">
          <p15:clr>
            <a:srgbClr val="F26B43"/>
          </p15:clr>
        </p15:guide>
        <p15:guide id="20" orient="horz" pos="544">
          <p15:clr>
            <a:srgbClr val="F26B43"/>
          </p15:clr>
        </p15:guide>
        <p15:guide id="21" pos="363">
          <p15:clr>
            <a:srgbClr val="F26B43"/>
          </p15:clr>
        </p15:guide>
        <p15:guide id="22" pos="6894">
          <p15:clr>
            <a:srgbClr val="F26B43"/>
          </p15:clr>
        </p15:guide>
        <p15:guide id="23" orient="horz" pos="658">
          <p15:clr>
            <a:srgbClr val="F26B43"/>
          </p15:clr>
        </p15:guide>
        <p15:guide id="24" orient="horz" pos="181">
          <p15:clr>
            <a:srgbClr val="F26B43"/>
          </p15:clr>
        </p15:guide>
        <p15:guide id="25" orient="horz" pos="90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4.xml"/><Relationship Id="rId1" Type="http://schemas.openxmlformats.org/officeDocument/2006/relationships/tags" Target="../tags/tag10.xml"/><Relationship Id="rId5" Type="http://schemas.openxmlformats.org/officeDocument/2006/relationships/chart" Target="../charts/chart1.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5.xml"/><Relationship Id="rId1" Type="http://schemas.openxmlformats.org/officeDocument/2006/relationships/tags" Target="../tags/tag11.xml"/><Relationship Id="rId5" Type="http://schemas.openxmlformats.org/officeDocument/2006/relationships/chart" Target="../charts/char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4.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chart" Target="../charts/chart3.xml"/><Relationship Id="rId4" Type="http://schemas.microsoft.com/office/2018/10/relationships/comments" Target="../comments/modernComment_7FFFD1E8_7750D5FE.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4.xml"/><Relationship Id="rId1" Type="http://schemas.openxmlformats.org/officeDocument/2006/relationships/tags" Target="../tags/tag13.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1.xml"/><Relationship Id="rId1"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microsoft.com/office/2018/10/relationships/comments" Target="../comments/modernComment_7FFFF876_F052F291.xm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chart" Target="../charts/char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9.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9.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99.xml"/><Relationship Id="rId1" Type="http://schemas.openxmlformats.org/officeDocument/2006/relationships/tags" Target="../tags/tag17.xml"/><Relationship Id="rId5" Type="http://schemas.openxmlformats.org/officeDocument/2006/relationships/chart" Target="../charts/chart6.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hyperlink" Target="https://www.tax.service.gov.uk/estimate-paye-take-home-pay" TargetMode="External"/><Relationship Id="rId2" Type="http://schemas.openxmlformats.org/officeDocument/2006/relationships/notesSlide" Target="../notesSlides/notesSlide19.xml"/><Relationship Id="rId1" Type="http://schemas.openxmlformats.org/officeDocument/2006/relationships/slideLayout" Target="../slideLayouts/slideLayout1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7.xml"/><Relationship Id="rId1" Type="http://schemas.openxmlformats.org/officeDocument/2006/relationships/tags" Target="../tags/tag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71.xml"/><Relationship Id="rId1" Type="http://schemas.openxmlformats.org/officeDocument/2006/relationships/tags" Target="../tags/tag19.xml"/><Relationship Id="rId4" Type="http://schemas.openxmlformats.org/officeDocument/2006/relationships/chart" Target="../charts/chart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71.xml"/><Relationship Id="rId1" Type="http://schemas.openxmlformats.org/officeDocument/2006/relationships/tags" Target="../tags/tag20.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8" Type="http://schemas.openxmlformats.org/officeDocument/2006/relationships/chart" Target="../charts/chart13.xml"/><Relationship Id="rId13" Type="http://schemas.openxmlformats.org/officeDocument/2006/relationships/image" Target="../media/image20.png"/><Relationship Id="rId18" Type="http://schemas.openxmlformats.org/officeDocument/2006/relationships/image" Target="../media/image25.jpeg"/><Relationship Id="rId26" Type="http://schemas.openxmlformats.org/officeDocument/2006/relationships/image" Target="../media/image33.png"/><Relationship Id="rId3" Type="http://schemas.openxmlformats.org/officeDocument/2006/relationships/notesSlide" Target="../notesSlides/notesSlide24.xml"/><Relationship Id="rId21" Type="http://schemas.openxmlformats.org/officeDocument/2006/relationships/image" Target="../media/image28.png"/><Relationship Id="rId7" Type="http://schemas.openxmlformats.org/officeDocument/2006/relationships/chart" Target="../charts/chart12.xml"/><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jpeg"/><Relationship Id="rId2" Type="http://schemas.openxmlformats.org/officeDocument/2006/relationships/slideLayout" Target="../slideLayouts/slideLayout169.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tags" Target="../tags/tag21.xml"/><Relationship Id="rId6" Type="http://schemas.openxmlformats.org/officeDocument/2006/relationships/chart" Target="../charts/chart11.xml"/><Relationship Id="rId11" Type="http://schemas.openxmlformats.org/officeDocument/2006/relationships/image" Target="../media/image18.png"/><Relationship Id="rId24" Type="http://schemas.openxmlformats.org/officeDocument/2006/relationships/image" Target="../media/image31.png"/><Relationship Id="rId5" Type="http://schemas.openxmlformats.org/officeDocument/2006/relationships/chart" Target="../charts/chart10.xml"/><Relationship Id="rId15" Type="http://schemas.openxmlformats.org/officeDocument/2006/relationships/image" Target="../media/image22.jpeg"/><Relationship Id="rId23" Type="http://schemas.openxmlformats.org/officeDocument/2006/relationships/image" Target="../media/image30.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chart" Target="../charts/chart9.xml"/><Relationship Id="rId9" Type="http://schemas.openxmlformats.org/officeDocument/2006/relationships/image" Target="../media/image16.png"/><Relationship Id="rId14" Type="http://schemas.openxmlformats.org/officeDocument/2006/relationships/image" Target="../media/image21.jpeg"/><Relationship Id="rId22"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22.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23.xml"/><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25.xml"/><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microsoft.com/office/2018/10/relationships/comments" Target="../comments/modernComment_7FFFF875_C1654E09.xml"/><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1.xml"/><Relationship Id="rId1" Type="http://schemas.openxmlformats.org/officeDocument/2006/relationships/tags" Target="../tags/tag28.xml"/><Relationship Id="rId4" Type="http://schemas.openxmlformats.org/officeDocument/2006/relationships/hyperlink" Target="http://www.bnymellonim.com/" TargetMode="Externa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8.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9.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couple of people on surfboards in the water&#10;&#10;Description automatically generated">
            <a:extLst>
              <a:ext uri="{FF2B5EF4-FFF2-40B4-BE49-F238E27FC236}">
                <a16:creationId xmlns:a16="http://schemas.microsoft.com/office/drawing/2014/main" id="{E1354183-58BC-16F1-F503-456BB68C4E54}"/>
              </a:ext>
            </a:extLst>
          </p:cNvPr>
          <p:cNvPicPr>
            <a:picLocks noGrp="1" noChangeAspect="1"/>
          </p:cNvPicPr>
          <p:nvPr>
            <p:ph type="pic" sz="quarter" idx="14"/>
          </p:nvPr>
        </p:nvPicPr>
        <p:blipFill rotWithShape="1">
          <a:blip r:embed="rId4" cstate="screen">
            <a:extLst>
              <a:ext uri="{28A0092B-C50C-407E-A947-70E740481C1C}">
                <a14:useLocalDpi xmlns:a14="http://schemas.microsoft.com/office/drawing/2010/main"/>
              </a:ext>
            </a:extLst>
          </a:blip>
          <a:srcRect l="44100" r="29332"/>
          <a:stretch/>
        </p:blipFill>
        <p:spPr/>
      </p:pic>
      <p:sp>
        <p:nvSpPr>
          <p:cNvPr id="4" name="Text Placeholder 3">
            <a:extLst>
              <a:ext uri="{FF2B5EF4-FFF2-40B4-BE49-F238E27FC236}">
                <a16:creationId xmlns:a16="http://schemas.microsoft.com/office/drawing/2014/main" id="{DCE3028B-315C-B998-D6BE-AE0CEA227D0A}"/>
              </a:ext>
            </a:extLst>
          </p:cNvPr>
          <p:cNvSpPr>
            <a:spLocks noGrp="1"/>
          </p:cNvSpPr>
          <p:nvPr>
            <p:ph type="body" sz="quarter" idx="11"/>
          </p:nvPr>
        </p:nvSpPr>
        <p:spPr/>
        <p:txBody>
          <a:bodyPr/>
          <a:lstStyle/>
          <a:p>
            <a:r>
              <a:rPr lang="en-GB" sz="1800" dirty="0"/>
              <a:t>SimplyBiz Investment Forum</a:t>
            </a:r>
            <a:br>
              <a:rPr lang="en-GB" sz="1800" dirty="0"/>
            </a:br>
            <a:r>
              <a:rPr lang="en-US" dirty="0"/>
              <a:t>November </a:t>
            </a:r>
            <a:r>
              <a:rPr lang="en-US" sz="1800" dirty="0"/>
              <a:t>2024</a:t>
            </a:r>
          </a:p>
        </p:txBody>
      </p:sp>
      <p:sp>
        <p:nvSpPr>
          <p:cNvPr id="15" name="Title 14">
            <a:extLst>
              <a:ext uri="{FF2B5EF4-FFF2-40B4-BE49-F238E27FC236}">
                <a16:creationId xmlns:a16="http://schemas.microsoft.com/office/drawing/2014/main" id="{36A04079-B263-95FB-2082-8AABC442A788}"/>
              </a:ext>
            </a:extLst>
          </p:cNvPr>
          <p:cNvSpPr>
            <a:spLocks noGrp="1"/>
          </p:cNvSpPr>
          <p:nvPr>
            <p:ph type="title"/>
          </p:nvPr>
        </p:nvSpPr>
        <p:spPr/>
        <p:txBody>
          <a:bodyPr/>
          <a:lstStyle/>
          <a:p>
            <a:r>
              <a:rPr lang="en-GB" dirty="0">
                <a:solidFill>
                  <a:srgbClr val="FF6120"/>
                </a:solidFill>
              </a:rPr>
              <a:t>Retirement income</a:t>
            </a:r>
            <a:r>
              <a:rPr lang="en-GB" dirty="0"/>
              <a:t>: How can advisers reduce &amp; prevent serious harm?</a:t>
            </a:r>
          </a:p>
        </p:txBody>
      </p:sp>
      <p:sp>
        <p:nvSpPr>
          <p:cNvPr id="2" name="Footer Placeholder 1">
            <a:extLst>
              <a:ext uri="{FF2B5EF4-FFF2-40B4-BE49-F238E27FC236}">
                <a16:creationId xmlns:a16="http://schemas.microsoft.com/office/drawing/2014/main" id="{9CEF6C83-5BC0-614C-3B34-C3F5120218E3}"/>
              </a:ext>
            </a:extLst>
          </p:cNvPr>
          <p:cNvSpPr>
            <a:spLocks noGrp="1"/>
          </p:cNvSpPr>
          <p:nvPr>
            <p:ph type="ftr" sz="quarter" idx="13"/>
          </p:nvPr>
        </p:nvSpPr>
        <p:spPr/>
        <p:txBody>
          <a:bodyPr/>
          <a:lstStyle/>
          <a:p>
            <a:r>
              <a:rPr lang="en-GB" sz="800" b="1" dirty="0">
                <a:solidFill>
                  <a:schemeClr val="bg1"/>
                </a:solidFill>
                <a:latin typeface="AvenirNext LT Pro Bold" panose="020B0504020202020204" pitchFamily="34" charset="77"/>
              </a:rPr>
              <a:t>For Professional Clients only.</a:t>
            </a:r>
            <a:endParaRPr lang="en-US" sz="800" b="1" dirty="0">
              <a:solidFill>
                <a:schemeClr val="bg1"/>
              </a:solidFill>
              <a:latin typeface="AvenirNext LT Pro Bold" panose="020B0504020202020204" pitchFamily="34" charset="77"/>
            </a:endParaRPr>
          </a:p>
        </p:txBody>
      </p:sp>
    </p:spTree>
    <p:custDataLst>
      <p:tags r:id="rId1"/>
    </p:custDataLst>
    <p:extLst>
      <p:ext uri="{BB962C8B-B14F-4D97-AF65-F5344CB8AC3E}">
        <p14:creationId xmlns:p14="http://schemas.microsoft.com/office/powerpoint/2010/main" val="23782284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2" name="Picture 1" descr="Picture 1"/>
          <p:cNvPicPr>
            <a:picLocks noChangeAspect="1"/>
          </p:cNvPicPr>
          <p:nvPr/>
        </p:nvPicPr>
        <p:blipFill>
          <a:blip r:embed="rId4"/>
          <a:stretch>
            <a:fillRect/>
          </a:stretch>
        </p:blipFill>
        <p:spPr>
          <a:xfrm>
            <a:off x="9897955" y="5779718"/>
            <a:ext cx="1353638" cy="282010"/>
          </a:xfrm>
          <a:prstGeom prst="rect">
            <a:avLst/>
          </a:prstGeom>
          <a:ln w="12700">
            <a:miter lim="400000"/>
          </a:ln>
        </p:spPr>
      </p:pic>
      <p:sp>
        <p:nvSpPr>
          <p:cNvPr id="30" name="Text Placeholder 29">
            <a:extLst>
              <a:ext uri="{FF2B5EF4-FFF2-40B4-BE49-F238E27FC236}">
                <a16:creationId xmlns:a16="http://schemas.microsoft.com/office/drawing/2014/main" id="{FACF50C0-9392-7E62-6343-841024B713A7}"/>
              </a:ext>
            </a:extLst>
          </p:cNvPr>
          <p:cNvSpPr>
            <a:spLocks noGrp="1"/>
          </p:cNvSpPr>
          <p:nvPr>
            <p:ph type="body" sz="quarter" idx="13"/>
          </p:nvPr>
        </p:nvSpPr>
        <p:spPr>
          <a:xfrm>
            <a:off x="576000" y="1138412"/>
            <a:ext cx="5039737" cy="288000"/>
          </a:xfrm>
        </p:spPr>
        <p:txBody>
          <a:bodyPr/>
          <a:lstStyle/>
          <a:p>
            <a:r>
              <a:rPr lang="en-GB" dirty="0"/>
              <a:t>Mechanical Smoothing Example</a:t>
            </a:r>
          </a:p>
        </p:txBody>
      </p:sp>
      <p:sp>
        <p:nvSpPr>
          <p:cNvPr id="27" name="Slide Number Placeholder 26">
            <a:extLst>
              <a:ext uri="{FF2B5EF4-FFF2-40B4-BE49-F238E27FC236}">
                <a16:creationId xmlns:a16="http://schemas.microsoft.com/office/drawing/2014/main" id="{615CD678-33AC-F5F0-F20C-8E720EAAC766}"/>
              </a:ext>
            </a:extLst>
          </p:cNvPr>
          <p:cNvSpPr>
            <a:spLocks noGrp="1"/>
          </p:cNvSpPr>
          <p:nvPr>
            <p:ph type="sldNum" sz="quarter" idx="32"/>
          </p:nvPr>
        </p:nvSpPr>
        <p:spPr/>
        <p:txBody>
          <a:bodyPr/>
          <a:lstStyle/>
          <a:p>
            <a:fld id="{0F961903-03AF-4EAC-BF2C-945F8C5557D1}" type="slidenum">
              <a:rPr lang="en-GB" smtClean="0"/>
              <a:pPr/>
              <a:t>10</a:t>
            </a:fld>
            <a:endParaRPr lang="en-GB" dirty="0"/>
          </a:p>
        </p:txBody>
      </p:sp>
      <p:sp>
        <p:nvSpPr>
          <p:cNvPr id="29" name="Content Placeholder 28">
            <a:extLst>
              <a:ext uri="{FF2B5EF4-FFF2-40B4-BE49-F238E27FC236}">
                <a16:creationId xmlns:a16="http://schemas.microsoft.com/office/drawing/2014/main" id="{FB03F0C1-4E69-5390-3C30-B6075B2E1517}"/>
              </a:ext>
            </a:extLst>
          </p:cNvPr>
          <p:cNvSpPr>
            <a:spLocks noGrp="1"/>
          </p:cNvSpPr>
          <p:nvPr>
            <p:ph sz="quarter" idx="12"/>
          </p:nvPr>
        </p:nvSpPr>
        <p:spPr>
          <a:xfrm>
            <a:off x="576263" y="5802771"/>
            <a:ext cx="10367962" cy="180000"/>
          </a:xfrm>
        </p:spPr>
        <p:txBody>
          <a:bodyPr/>
          <a:lstStyle/>
          <a:p>
            <a:r>
              <a:rPr lang="en-GB" dirty="0"/>
              <a:t>Source: Newton Client Solutions. September 2024. For illustrative purposes only. Performance information shown relates to returns for an illustrative multi-asset balanced portfolio and a smoothed return version of this portfolio using monthly returns from 31/8/2011 to 31/08/2024. The smoothing mechanism applies a growth rate equivalent to the average portfolio return over the whole period to a notional smoothed unit price.  The unit price of the smoothed portfolio resets when deviations versus the underlying balanced portfolio reach trigger levels. On a daily basis, any deviation between the smoothed portfolio unit price and the underlying portfolio unit price of 10% or more results in the smoothed unit price being adjusted to be within 2.5% of the price of the underlying portfolio. A monthly check is also applied and if the difference between the smoothed portfolio unit price and the underlying portfolio unit price is 5% or more then the smoothed unit price is adjusted to reduce this difference by half. Illustrative portfolio performance calculated as total return, income reinvested, gross of fees in GBP. Fees and charges apply and can have a material effect on the performance of your investment.</a:t>
            </a:r>
          </a:p>
        </p:txBody>
      </p:sp>
      <p:sp>
        <p:nvSpPr>
          <p:cNvPr id="28" name="Text Placeholder 27">
            <a:extLst>
              <a:ext uri="{FF2B5EF4-FFF2-40B4-BE49-F238E27FC236}">
                <a16:creationId xmlns:a16="http://schemas.microsoft.com/office/drawing/2014/main" id="{42C1934F-CEF5-A631-B9CF-CD0C4B306063}"/>
              </a:ext>
            </a:extLst>
          </p:cNvPr>
          <p:cNvSpPr>
            <a:spLocks noGrp="1"/>
          </p:cNvSpPr>
          <p:nvPr>
            <p:ph type="body" sz="quarter" idx="11"/>
          </p:nvPr>
        </p:nvSpPr>
        <p:spPr/>
        <p:txBody>
          <a:bodyPr/>
          <a:lstStyle/>
          <a:p>
            <a:r>
              <a:rPr lang="en-GB" dirty="0"/>
              <a:t> </a:t>
            </a:r>
          </a:p>
        </p:txBody>
      </p:sp>
      <p:sp>
        <p:nvSpPr>
          <p:cNvPr id="23" name="Title 1">
            <a:extLst>
              <a:ext uri="{FF2B5EF4-FFF2-40B4-BE49-F238E27FC236}">
                <a16:creationId xmlns:a16="http://schemas.microsoft.com/office/drawing/2014/main" id="{547B53A1-65B9-A3C8-6EEB-B7A44FCDA8FD}"/>
              </a:ext>
            </a:extLst>
          </p:cNvPr>
          <p:cNvSpPr>
            <a:spLocks noGrp="1"/>
          </p:cNvSpPr>
          <p:nvPr>
            <p:ph type="title"/>
          </p:nvPr>
        </p:nvSpPr>
        <p:spPr/>
        <p:txBody>
          <a:bodyPr>
            <a:noAutofit/>
          </a:bodyPr>
          <a:lstStyle/>
          <a:p>
            <a:r>
              <a:rPr lang="en-GB" dirty="0"/>
              <a:t>Does reducing volatility and </a:t>
            </a:r>
            <a:r>
              <a:rPr lang="en-GB" dirty="0" err="1"/>
              <a:t>VaR</a:t>
            </a:r>
            <a:r>
              <a:rPr lang="en-GB" dirty="0"/>
              <a:t> </a:t>
            </a:r>
            <a:r>
              <a:rPr lang="en-GB" dirty="0">
                <a:solidFill>
                  <a:srgbClr val="FF6120"/>
                </a:solidFill>
              </a:rPr>
              <a:t>improve outcomes?</a:t>
            </a:r>
          </a:p>
        </p:txBody>
      </p:sp>
      <p:sp>
        <p:nvSpPr>
          <p:cNvPr id="31" name="Text Placeholder 30">
            <a:extLst>
              <a:ext uri="{FF2B5EF4-FFF2-40B4-BE49-F238E27FC236}">
                <a16:creationId xmlns:a16="http://schemas.microsoft.com/office/drawing/2014/main" id="{D8B16AD7-DFCB-EECC-2CFF-19B70D05249C}"/>
              </a:ext>
            </a:extLst>
          </p:cNvPr>
          <p:cNvSpPr>
            <a:spLocks noGrp="1"/>
          </p:cNvSpPr>
          <p:nvPr>
            <p:ph type="body" sz="quarter" idx="14"/>
          </p:nvPr>
        </p:nvSpPr>
        <p:spPr/>
        <p:txBody>
          <a:bodyPr/>
          <a:lstStyle/>
          <a:p>
            <a:r>
              <a:rPr lang="en-GB" dirty="0"/>
              <a:t> </a:t>
            </a:r>
          </a:p>
        </p:txBody>
      </p:sp>
      <p:sp>
        <p:nvSpPr>
          <p:cNvPr id="2" name="Text Placeholder 1">
            <a:extLst>
              <a:ext uri="{FF2B5EF4-FFF2-40B4-BE49-F238E27FC236}">
                <a16:creationId xmlns:a16="http://schemas.microsoft.com/office/drawing/2014/main" id="{D1AC1A9C-9DF7-A7ED-F7CF-51AE62D0961F}"/>
              </a:ext>
            </a:extLst>
          </p:cNvPr>
          <p:cNvSpPr txBox="1">
            <a:spLocks/>
          </p:cNvSpPr>
          <p:nvPr/>
        </p:nvSpPr>
        <p:spPr>
          <a:xfrm>
            <a:off x="6658448" y="4227148"/>
            <a:ext cx="4534547" cy="766721"/>
          </a:xfrm>
          <a:prstGeom prst="rect">
            <a:avLst/>
          </a:prstGeom>
        </p:spPr>
        <p:txBody>
          <a:bodyPr lIns="0" tIns="0" rIns="0" bIns="0">
            <a:noAutofit/>
          </a:bodyPr>
          <a:lstStyle>
            <a:lvl1pPr marL="0" marR="0" indent="0" algn="l" defTabSz="914400" latinLnBrk="0">
              <a:lnSpc>
                <a:spcPct val="100000"/>
              </a:lnSpc>
              <a:spcBef>
                <a:spcPts val="600"/>
              </a:spcBef>
              <a:spcAft>
                <a:spcPts val="0"/>
              </a:spcAft>
              <a:buClrTx/>
              <a:buSzTx/>
              <a:buFontTx/>
              <a:buNone/>
              <a:tabLst/>
              <a:defRPr sz="800" b="0" i="0" u="none" strike="noStrike" cap="none" spc="0" baseline="0">
                <a:solidFill>
                  <a:srgbClr val="000000"/>
                </a:solidFill>
                <a:uFillTx/>
                <a:latin typeface="Avenir"/>
                <a:ea typeface="Avenir"/>
                <a:cs typeface="Avenir"/>
                <a:sym typeface="Avenir Roman"/>
              </a:defRPr>
            </a:lvl1pPr>
            <a:lvl2pPr marL="0" marR="0" indent="0" algn="l" defTabSz="914400" latinLnBrk="0">
              <a:lnSpc>
                <a:spcPct val="100000"/>
              </a:lnSpc>
              <a:spcBef>
                <a:spcPts val="600"/>
              </a:spcBef>
              <a:spcAft>
                <a:spcPts val="0"/>
              </a:spcAft>
              <a:buClrTx/>
              <a:buSzTx/>
              <a:buFontTx/>
              <a:buNone/>
              <a:tabLst/>
              <a:defRPr sz="800" b="0" i="0" u="none" strike="noStrike" cap="none" spc="0" baseline="0">
                <a:solidFill>
                  <a:srgbClr val="000000"/>
                </a:solidFill>
                <a:uFillTx/>
                <a:latin typeface="Avenir"/>
                <a:ea typeface="Avenir"/>
                <a:cs typeface="Avenir"/>
                <a:sym typeface="Avenir Roman"/>
              </a:defRPr>
            </a:lvl2pPr>
            <a:lvl3pPr marL="0" marR="0" indent="0" algn="l" defTabSz="914400" latinLnBrk="0">
              <a:lnSpc>
                <a:spcPct val="100000"/>
              </a:lnSpc>
              <a:spcBef>
                <a:spcPts val="600"/>
              </a:spcBef>
              <a:spcAft>
                <a:spcPts val="0"/>
              </a:spcAft>
              <a:buClrTx/>
              <a:buSzTx/>
              <a:buFontTx/>
              <a:buNone/>
              <a:tabLst/>
              <a:defRPr sz="800" b="0" i="0" u="none" strike="noStrike" cap="none" spc="0" baseline="0">
                <a:solidFill>
                  <a:srgbClr val="000000"/>
                </a:solidFill>
                <a:uFillTx/>
                <a:latin typeface="Avenir"/>
                <a:ea typeface="Avenir"/>
                <a:cs typeface="Avenir"/>
                <a:sym typeface="Avenir Roman"/>
              </a:defRPr>
            </a:lvl3pPr>
            <a:lvl4pPr marL="0" marR="0" indent="0" algn="l" defTabSz="914400" latinLnBrk="0">
              <a:lnSpc>
                <a:spcPct val="100000"/>
              </a:lnSpc>
              <a:spcBef>
                <a:spcPts val="600"/>
              </a:spcBef>
              <a:spcAft>
                <a:spcPts val="0"/>
              </a:spcAft>
              <a:buClrTx/>
              <a:buSzTx/>
              <a:buFontTx/>
              <a:buNone/>
              <a:tabLst/>
              <a:defRPr sz="800" b="0" i="0" u="none" strike="noStrike" cap="none" spc="0" baseline="0">
                <a:solidFill>
                  <a:srgbClr val="000000"/>
                </a:solidFill>
                <a:uFillTx/>
                <a:latin typeface="Avenir"/>
                <a:ea typeface="Avenir"/>
                <a:cs typeface="Avenir"/>
                <a:sym typeface="Avenir Roman"/>
              </a:defRPr>
            </a:lvl4pPr>
            <a:lvl5pPr marL="0" marR="0" indent="0" algn="l" defTabSz="914400" latinLnBrk="0">
              <a:lnSpc>
                <a:spcPct val="100000"/>
              </a:lnSpc>
              <a:spcBef>
                <a:spcPts val="600"/>
              </a:spcBef>
              <a:spcAft>
                <a:spcPts val="0"/>
              </a:spcAft>
              <a:buClrTx/>
              <a:buSzTx/>
              <a:buFontTx/>
              <a:buNone/>
              <a:tabLst/>
              <a:defRPr sz="800" b="0" i="0" u="none" strike="noStrike" cap="none" spc="0" baseline="0">
                <a:solidFill>
                  <a:srgbClr val="000000"/>
                </a:solidFill>
                <a:uFillTx/>
                <a:latin typeface="Avenir"/>
                <a:ea typeface="Avenir"/>
                <a:cs typeface="Avenir"/>
                <a:sym typeface="Avenir Roman"/>
              </a:defRPr>
            </a:lvl5pPr>
            <a:lvl6pPr marL="2377439" marR="0" indent="-91439" algn="l" defTabSz="914400" latinLnBrk="0">
              <a:lnSpc>
                <a:spcPct val="100000"/>
              </a:lnSpc>
              <a:spcBef>
                <a:spcPts val="600"/>
              </a:spcBef>
              <a:spcAft>
                <a:spcPts val="0"/>
              </a:spcAft>
              <a:buClrTx/>
              <a:buSzPct val="100000"/>
              <a:buFontTx/>
              <a:buChar char="•"/>
              <a:tabLst/>
              <a:defRPr sz="800" b="0" i="0" u="none" strike="noStrike" cap="none" spc="0" baseline="0">
                <a:solidFill>
                  <a:srgbClr val="000000"/>
                </a:solidFill>
                <a:uFillTx/>
                <a:latin typeface="Avenir"/>
                <a:ea typeface="Avenir"/>
                <a:cs typeface="Avenir"/>
                <a:sym typeface="Avenir Roman"/>
              </a:defRPr>
            </a:lvl6pPr>
            <a:lvl7pPr marL="2834639" marR="0" indent="-91439" algn="l" defTabSz="914400" latinLnBrk="0">
              <a:lnSpc>
                <a:spcPct val="100000"/>
              </a:lnSpc>
              <a:spcBef>
                <a:spcPts val="600"/>
              </a:spcBef>
              <a:spcAft>
                <a:spcPts val="0"/>
              </a:spcAft>
              <a:buClrTx/>
              <a:buSzPct val="100000"/>
              <a:buFontTx/>
              <a:buChar char="•"/>
              <a:tabLst/>
              <a:defRPr sz="800" b="0" i="0" u="none" strike="noStrike" cap="none" spc="0" baseline="0">
                <a:solidFill>
                  <a:srgbClr val="000000"/>
                </a:solidFill>
                <a:uFillTx/>
                <a:latin typeface="Avenir"/>
                <a:ea typeface="Avenir"/>
                <a:cs typeface="Avenir"/>
                <a:sym typeface="Avenir Roman"/>
              </a:defRPr>
            </a:lvl7pPr>
            <a:lvl8pPr marL="3291840" marR="0" indent="-91440" algn="l" defTabSz="914400" latinLnBrk="0">
              <a:lnSpc>
                <a:spcPct val="100000"/>
              </a:lnSpc>
              <a:spcBef>
                <a:spcPts val="600"/>
              </a:spcBef>
              <a:spcAft>
                <a:spcPts val="0"/>
              </a:spcAft>
              <a:buClrTx/>
              <a:buSzPct val="100000"/>
              <a:buFontTx/>
              <a:buChar char="•"/>
              <a:tabLst/>
              <a:defRPr sz="800" b="0" i="0" u="none" strike="noStrike" cap="none" spc="0" baseline="0">
                <a:solidFill>
                  <a:srgbClr val="000000"/>
                </a:solidFill>
                <a:uFillTx/>
                <a:latin typeface="Avenir"/>
                <a:ea typeface="Avenir"/>
                <a:cs typeface="Avenir"/>
                <a:sym typeface="Avenir Roman"/>
              </a:defRPr>
            </a:lvl8pPr>
            <a:lvl9pPr marL="3749040" marR="0" indent="-91440" algn="l" defTabSz="914400" latinLnBrk="0">
              <a:lnSpc>
                <a:spcPct val="100000"/>
              </a:lnSpc>
              <a:spcBef>
                <a:spcPts val="600"/>
              </a:spcBef>
              <a:spcAft>
                <a:spcPts val="0"/>
              </a:spcAft>
              <a:buClrTx/>
              <a:buSzPct val="100000"/>
              <a:buFontTx/>
              <a:buChar char="•"/>
              <a:tabLst/>
              <a:defRPr sz="800" b="0" i="0" u="none" strike="noStrike" cap="none" spc="0" baseline="0">
                <a:solidFill>
                  <a:srgbClr val="000000"/>
                </a:solidFill>
                <a:uFillTx/>
                <a:latin typeface="Avenir"/>
                <a:ea typeface="Avenir"/>
                <a:cs typeface="Avenir"/>
                <a:sym typeface="Avenir Roman"/>
              </a:defRPr>
            </a:lvl9pPr>
          </a:lstStyle>
          <a:p>
            <a:pPr hangingPunct="1"/>
            <a:r>
              <a:rPr lang="en-GB" sz="2268" dirty="0">
                <a:solidFill>
                  <a:srgbClr val="FF6120"/>
                </a:solidFill>
                <a:latin typeface="Impact" panose="020B0806030902050204" pitchFamily="34" charset="0"/>
              </a:rPr>
              <a:t>Smoothing </a:t>
            </a:r>
            <a:r>
              <a:rPr lang="en-GB" sz="2268" dirty="0">
                <a:solidFill>
                  <a:schemeClr val="accent1"/>
                </a:solidFill>
                <a:latin typeface="Impact" panose="020B0806030902050204" pitchFamily="34" charset="0"/>
                <a:ea typeface="Avenir Next LT Pro" panose="020B0504020202020204" pitchFamily="34" charset="77"/>
                <a:cs typeface="Times New Roman" panose="02020603050405020304" pitchFamily="18" charset="0"/>
              </a:rPr>
              <a:t>creates a materially different risk profile for portfolios…</a:t>
            </a:r>
            <a:endParaRPr lang="en-GB" sz="2268" cap="all" dirty="0">
              <a:solidFill>
                <a:schemeClr val="accent1"/>
              </a:solidFill>
              <a:latin typeface="Impact" panose="020B0806030902050204" pitchFamily="34" charset="0"/>
              <a:ea typeface="Avenir Next LT Pro" panose="020B0504020202020204" pitchFamily="34" charset="77"/>
              <a:cs typeface="Times New Roman" panose="02020603050405020304" pitchFamily="18" charset="0"/>
            </a:endParaRPr>
          </a:p>
        </p:txBody>
      </p:sp>
      <p:graphicFrame>
        <p:nvGraphicFramePr>
          <p:cNvPr id="35" name="Content Placeholder 34">
            <a:extLst>
              <a:ext uri="{FF2B5EF4-FFF2-40B4-BE49-F238E27FC236}">
                <a16:creationId xmlns:a16="http://schemas.microsoft.com/office/drawing/2014/main" id="{04A7D25C-5B32-4E3B-2BFF-886A0682A0D2}"/>
              </a:ext>
            </a:extLst>
          </p:cNvPr>
          <p:cNvGraphicFramePr>
            <a:graphicFrameLocks noGrp="1"/>
          </p:cNvGraphicFramePr>
          <p:nvPr>
            <p:ph sz="quarter" idx="31"/>
            <p:extLst>
              <p:ext uri="{D42A27DB-BD31-4B8C-83A1-F6EECF244321}">
                <p14:modId xmlns:p14="http://schemas.microsoft.com/office/powerpoint/2010/main" val="3936559306"/>
              </p:ext>
            </p:extLst>
          </p:nvPr>
        </p:nvGraphicFramePr>
        <p:xfrm>
          <a:off x="6409639" y="1264504"/>
          <a:ext cx="4534587" cy="2755704"/>
        </p:xfrm>
        <a:graphic>
          <a:graphicData uri="http://schemas.openxmlformats.org/drawingml/2006/table">
            <a:tbl>
              <a:tblPr firstRow="1" bandRow="1">
                <a:tableStyleId>{B301B821-A1FF-4177-AEE7-76D212191A09}</a:tableStyleId>
              </a:tblPr>
              <a:tblGrid>
                <a:gridCol w="2130679">
                  <a:extLst>
                    <a:ext uri="{9D8B030D-6E8A-4147-A177-3AD203B41FA5}">
                      <a16:colId xmlns:a16="http://schemas.microsoft.com/office/drawing/2014/main" val="3247130553"/>
                    </a:ext>
                  </a:extLst>
                </a:gridCol>
                <a:gridCol w="835554">
                  <a:extLst>
                    <a:ext uri="{9D8B030D-6E8A-4147-A177-3AD203B41FA5}">
                      <a16:colId xmlns:a16="http://schemas.microsoft.com/office/drawing/2014/main" val="1913145759"/>
                    </a:ext>
                  </a:extLst>
                </a:gridCol>
                <a:gridCol w="784177">
                  <a:extLst>
                    <a:ext uri="{9D8B030D-6E8A-4147-A177-3AD203B41FA5}">
                      <a16:colId xmlns:a16="http://schemas.microsoft.com/office/drawing/2014/main" val="1066600897"/>
                    </a:ext>
                  </a:extLst>
                </a:gridCol>
                <a:gridCol w="784177">
                  <a:extLst>
                    <a:ext uri="{9D8B030D-6E8A-4147-A177-3AD203B41FA5}">
                      <a16:colId xmlns:a16="http://schemas.microsoft.com/office/drawing/2014/main" val="1833328120"/>
                    </a:ext>
                  </a:extLst>
                </a:gridCol>
              </a:tblGrid>
              <a:tr h="490077">
                <a:tc>
                  <a:txBody>
                    <a:bodyPr/>
                    <a:lstStyle/>
                    <a:p>
                      <a:pPr algn="l" fontAlgn="b"/>
                      <a:endParaRPr lang="en-GB" sz="1000" b="0" i="0" u="none" strike="noStrike" dirty="0">
                        <a:solidFill>
                          <a:schemeClr val="bg1"/>
                        </a:solidFill>
                        <a:effectLst/>
                        <a:latin typeface="+mn-lt"/>
                      </a:endParaRPr>
                    </a:p>
                  </a:txBody>
                  <a:tcPr marL="72000" marR="72000" marT="72000" marB="72000" anchor="b">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000" b="1" u="none" strike="noStrike" dirty="0">
                          <a:solidFill>
                            <a:schemeClr val="bg1"/>
                          </a:solidFill>
                          <a:effectLst/>
                          <a:latin typeface="+mn-lt"/>
                        </a:rPr>
                        <a:t>Balanced Portfolio</a:t>
                      </a:r>
                      <a:endParaRPr lang="en-GB" sz="1000" b="1" i="0" u="none" strike="noStrike" dirty="0">
                        <a:solidFill>
                          <a:schemeClr val="bg1"/>
                        </a:solidFill>
                        <a:effectLst/>
                        <a:latin typeface="+mn-lt"/>
                      </a:endParaRPr>
                    </a:p>
                  </a:txBody>
                  <a:tcPr marL="72000" marR="72000" marT="72000" marB="7200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r" fontAlgn="b"/>
                      <a:r>
                        <a:rPr lang="en-GB" sz="1000" b="1" u="none" strike="noStrike" dirty="0">
                          <a:solidFill>
                            <a:schemeClr val="bg1"/>
                          </a:solidFill>
                          <a:effectLst/>
                          <a:latin typeface="+mn-lt"/>
                        </a:rPr>
                        <a:t>Smoothed Portfolio</a:t>
                      </a:r>
                      <a:endParaRPr lang="en-GB" sz="1000" b="1" i="0" u="none" strike="noStrike" dirty="0">
                        <a:solidFill>
                          <a:schemeClr val="bg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1" i="0" u="none" strike="noStrike" dirty="0">
                        <a:solidFill>
                          <a:schemeClr val="bg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6514306"/>
                  </a:ext>
                </a:extLst>
              </a:tr>
              <a:tr h="323661">
                <a:tc>
                  <a:txBody>
                    <a:bodyPr/>
                    <a:lstStyle/>
                    <a:p>
                      <a:pPr algn="l" fontAlgn="b"/>
                      <a:r>
                        <a:rPr lang="en-GB" sz="1000" u="none" strike="noStrike" dirty="0">
                          <a:solidFill>
                            <a:schemeClr val="tx1"/>
                          </a:solidFill>
                          <a:effectLst/>
                          <a:latin typeface="+mn-lt"/>
                        </a:rPr>
                        <a:t>Volatility</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8.30%</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4.80%</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70759324"/>
                  </a:ext>
                </a:extLst>
              </a:tr>
              <a:tr h="323661">
                <a:tc>
                  <a:txBody>
                    <a:bodyPr/>
                    <a:lstStyle/>
                    <a:p>
                      <a:pPr algn="l" fontAlgn="b"/>
                      <a:r>
                        <a:rPr lang="en-GB" sz="1000" u="none" strike="noStrike" dirty="0">
                          <a:solidFill>
                            <a:schemeClr val="tx1"/>
                          </a:solidFill>
                          <a:effectLst/>
                          <a:latin typeface="+mn-lt"/>
                        </a:rPr>
                        <a:t>Max Drawdown</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21.6%</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12.3%</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45728375"/>
                  </a:ext>
                </a:extLst>
              </a:tr>
              <a:tr h="323661">
                <a:tc>
                  <a:txBody>
                    <a:bodyPr/>
                    <a:lstStyle/>
                    <a:p>
                      <a:pPr algn="l" fontAlgn="b"/>
                      <a:r>
                        <a:rPr lang="en-GB" sz="1000" u="none" strike="noStrike" dirty="0">
                          <a:solidFill>
                            <a:schemeClr val="tx1"/>
                          </a:solidFill>
                          <a:effectLst/>
                          <a:latin typeface="+mn-lt"/>
                        </a:rPr>
                        <a:t>95%ile Drawdown</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7.1%</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2.1%</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01757857"/>
                  </a:ext>
                </a:extLst>
              </a:tr>
              <a:tr h="323661">
                <a:tc>
                  <a:txBody>
                    <a:bodyPr/>
                    <a:lstStyle/>
                    <a:p>
                      <a:pPr algn="l" fontAlgn="b"/>
                      <a:r>
                        <a:rPr lang="en-GB" sz="1000" u="none" strike="noStrike" dirty="0">
                          <a:solidFill>
                            <a:schemeClr val="tx1"/>
                          </a:solidFill>
                          <a:effectLst/>
                          <a:latin typeface="+mn-lt"/>
                        </a:rPr>
                        <a:t>Sharpe ratio</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a:solidFill>
                            <a:schemeClr val="tx1"/>
                          </a:solidFill>
                          <a:effectLst/>
                          <a:latin typeface="+mn-lt"/>
                          <a:ea typeface="+mn-ea"/>
                          <a:cs typeface="+mn-cs"/>
                        </a:rPr>
                        <a:t>0.86</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1.40</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0228064"/>
                  </a:ext>
                </a:extLst>
              </a:tr>
              <a:tr h="323661">
                <a:tc>
                  <a:txBody>
                    <a:bodyPr/>
                    <a:lstStyle/>
                    <a:p>
                      <a:pPr algn="l" fontAlgn="b"/>
                      <a:r>
                        <a:rPr lang="en-GB" sz="1000" u="none" strike="noStrike" dirty="0" err="1">
                          <a:solidFill>
                            <a:schemeClr val="tx1"/>
                          </a:solidFill>
                          <a:effectLst/>
                          <a:latin typeface="+mn-lt"/>
                        </a:rPr>
                        <a:t>Sortino</a:t>
                      </a:r>
                      <a:r>
                        <a:rPr lang="en-GB" sz="1000" u="none" strike="noStrike" dirty="0">
                          <a:solidFill>
                            <a:schemeClr val="tx1"/>
                          </a:solidFill>
                          <a:effectLst/>
                          <a:latin typeface="+mn-lt"/>
                        </a:rPr>
                        <a:t> ratio</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a:solidFill>
                            <a:schemeClr val="tx1"/>
                          </a:solidFill>
                          <a:effectLst/>
                          <a:latin typeface="+mn-lt"/>
                          <a:ea typeface="+mn-ea"/>
                          <a:cs typeface="+mn-cs"/>
                        </a:rPr>
                        <a:t>1.47</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1.94</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50217283"/>
                  </a:ext>
                </a:extLst>
              </a:tr>
              <a:tr h="323661">
                <a:tc>
                  <a:txBody>
                    <a:bodyPr/>
                    <a:lstStyle/>
                    <a:p>
                      <a:pPr algn="l" fontAlgn="b"/>
                      <a:r>
                        <a:rPr lang="en-GB" sz="1000" u="none" strike="noStrike" dirty="0">
                          <a:solidFill>
                            <a:schemeClr val="tx1"/>
                          </a:solidFill>
                          <a:effectLst/>
                          <a:latin typeface="+mn-lt"/>
                        </a:rPr>
                        <a:t>Upside Capture</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a:solidFill>
                            <a:schemeClr val="tx1"/>
                          </a:solidFill>
                          <a:effectLst/>
                          <a:latin typeface="+mn-lt"/>
                          <a:ea typeface="+mn-ea"/>
                          <a:cs typeface="+mn-cs"/>
                        </a:rPr>
                        <a:t>101.0%</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21.2%</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03612983"/>
                  </a:ext>
                </a:extLst>
              </a:tr>
              <a:tr h="323661">
                <a:tc>
                  <a:txBody>
                    <a:bodyPr/>
                    <a:lstStyle/>
                    <a:p>
                      <a:pPr algn="l" fontAlgn="b"/>
                      <a:r>
                        <a:rPr lang="en-GB" sz="1000" u="none" strike="noStrike" dirty="0">
                          <a:solidFill>
                            <a:schemeClr val="tx1"/>
                          </a:solidFill>
                          <a:effectLst/>
                          <a:latin typeface="+mn-lt"/>
                        </a:rPr>
                        <a:t>Downside Capture</a:t>
                      </a:r>
                      <a:endParaRPr lang="en-GB" sz="1000" b="0" i="0" u="none" strike="noStrike" dirty="0">
                        <a:solidFill>
                          <a:schemeClr val="tx1"/>
                        </a:solidFill>
                        <a:effectLst/>
                        <a:latin typeface="+mn-lt"/>
                      </a:endParaRPr>
                    </a:p>
                  </a:txBody>
                  <a:tcPr marL="72000" marR="72000" marT="72000" marB="72000"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a:solidFill>
                            <a:schemeClr val="tx1"/>
                          </a:solidFill>
                          <a:effectLst/>
                          <a:latin typeface="+mn-lt"/>
                          <a:ea typeface="+mn-ea"/>
                          <a:cs typeface="+mn-cs"/>
                        </a:rPr>
                        <a:t>89.3%</a:t>
                      </a:r>
                    </a:p>
                  </a:txBody>
                  <a:tcPr anchor="b">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r" defTabSz="783641" rtl="0" eaLnBrk="1" fontAlgn="b" latinLnBrk="0" hangingPunct="1"/>
                      <a:r>
                        <a:rPr lang="en-GB" sz="1000" u="none" strike="noStrike" kern="1100" dirty="0">
                          <a:solidFill>
                            <a:schemeClr val="tx1"/>
                          </a:solidFill>
                          <a:effectLst/>
                          <a:latin typeface="+mn-lt"/>
                          <a:ea typeface="+mn-ea"/>
                          <a:cs typeface="+mn-cs"/>
                        </a:rPr>
                        <a:t>-29.7%</a:t>
                      </a:r>
                    </a:p>
                  </a:txBody>
                  <a:tcPr anchor="b">
                    <a:lnL>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endParaRPr lang="en-GB" sz="1000" b="0" i="0" u="none" strike="noStrike" dirty="0">
                        <a:solidFill>
                          <a:schemeClr val="tx1"/>
                        </a:solidFill>
                        <a:effectLst/>
                        <a:latin typeface="+mn-lt"/>
                      </a:endParaRPr>
                    </a:p>
                  </a:txBody>
                  <a:tcPr marL="72000" marR="72000" marT="72000" marB="7200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60800785"/>
                  </a:ext>
                </a:extLst>
              </a:tr>
            </a:tbl>
          </a:graphicData>
        </a:graphic>
      </p:graphicFrame>
      <p:sp>
        <p:nvSpPr>
          <p:cNvPr id="36" name="TextBox 35">
            <a:extLst>
              <a:ext uri="{FF2B5EF4-FFF2-40B4-BE49-F238E27FC236}">
                <a16:creationId xmlns:a16="http://schemas.microsoft.com/office/drawing/2014/main" id="{486F78CF-F0C0-2BAE-829F-C6FB9AA12C63}"/>
              </a:ext>
            </a:extLst>
          </p:cNvPr>
          <p:cNvSpPr txBox="1"/>
          <p:nvPr/>
        </p:nvSpPr>
        <p:spPr>
          <a:xfrm>
            <a:off x="10308908" y="1733061"/>
            <a:ext cx="312216" cy="23904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t">
            <a:spAutoFit/>
          </a:bodyPr>
          <a:lstStyle/>
          <a:p>
            <a:pPr algn="ctr">
              <a:spcAft>
                <a:spcPts val="200"/>
              </a:spcAft>
            </a:pPr>
            <a:r>
              <a:rPr lang="en-GB" sz="20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a:p>
            <a:pPr algn="ctr">
              <a:spcAft>
                <a:spcPts val="200"/>
              </a:spcAft>
            </a:pPr>
            <a:r>
              <a:rPr lang="en-GB" sz="20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a:p>
            <a:pPr algn="ctr">
              <a:spcAft>
                <a:spcPts val="200"/>
              </a:spcAft>
            </a:pPr>
            <a:r>
              <a:rPr lang="en-GB" sz="20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a:p>
            <a:pPr algn="ctr">
              <a:spcAft>
                <a:spcPts val="200"/>
              </a:spcAft>
            </a:pPr>
            <a:r>
              <a:rPr lang="en-GB" sz="20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a:p>
            <a:pPr algn="ctr">
              <a:spcAft>
                <a:spcPts val="200"/>
              </a:spcAft>
            </a:pPr>
            <a:r>
              <a:rPr lang="en-GB" sz="20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a:p>
            <a:pPr>
              <a:spcAft>
                <a:spcPts val="200"/>
              </a:spcAft>
            </a:pPr>
            <a:r>
              <a:rPr lang="en-GB" sz="2000" dirty="0">
                <a:solidFill>
                  <a:srgbClr val="FF0000"/>
                </a:solidFill>
                <a:latin typeface="Wingdings" panose="05000000000000000000" pitchFamily="2" charset="2"/>
              </a:rPr>
              <a:t>û</a:t>
            </a:r>
            <a:endParaRPr lang="en-GB" sz="2000" dirty="0">
              <a:solidFill>
                <a:srgbClr val="FF0000"/>
              </a:solidFill>
              <a:latin typeface="MS Shell Dlg 2" panose="020B0604030504040204" pitchFamily="34" charset="0"/>
            </a:endParaRPr>
          </a:p>
          <a:p>
            <a:pPr>
              <a:spcAft>
                <a:spcPts val="200"/>
              </a:spcAft>
            </a:pPr>
            <a:r>
              <a:rPr lang="en-GB" sz="1800" dirty="0">
                <a:solidFill>
                  <a:srgbClr val="00B050"/>
                </a:solidFill>
                <a:latin typeface="Wingdings" panose="05000000000000000000" pitchFamily="2" charset="2"/>
              </a:rPr>
              <a:t>ü</a:t>
            </a:r>
            <a:endParaRPr lang="en-GB" sz="2000" dirty="0">
              <a:solidFill>
                <a:srgbClr val="00B050"/>
              </a:solidFill>
              <a:latin typeface="MS Shell Dlg 2" panose="020B0604030504040204" pitchFamily="34" charset="0"/>
            </a:endParaRPr>
          </a:p>
        </p:txBody>
      </p:sp>
      <p:graphicFrame>
        <p:nvGraphicFramePr>
          <p:cNvPr id="3" name="Chart 2">
            <a:extLst>
              <a:ext uri="{FF2B5EF4-FFF2-40B4-BE49-F238E27FC236}">
                <a16:creationId xmlns:a16="http://schemas.microsoft.com/office/drawing/2014/main" id="{D2FFF00A-DE80-209D-1758-A16966B7303B}"/>
              </a:ext>
            </a:extLst>
          </p:cNvPr>
          <p:cNvGraphicFramePr>
            <a:graphicFrameLocks/>
          </p:cNvGraphicFramePr>
          <p:nvPr>
            <p:extLst>
              <p:ext uri="{D42A27DB-BD31-4B8C-83A1-F6EECF244321}">
                <p14:modId xmlns:p14="http://schemas.microsoft.com/office/powerpoint/2010/main" val="2969258204"/>
              </p:ext>
            </p:extLst>
          </p:nvPr>
        </p:nvGraphicFramePr>
        <p:xfrm>
          <a:off x="576000" y="1476263"/>
          <a:ext cx="5833638" cy="3724547"/>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520038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chart seriesIdx="-3" categoryIdx="-3" bldStep="gridLegend"/>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3">
                                            <p:graphicEl>
                                              <a:chart seriesIdx="0" categoryIdx="-4" bldStep="series"/>
                                            </p:graphicEl>
                                          </p:spTgt>
                                        </p:tgtEl>
                                        <p:attrNameLst>
                                          <p:attrName>style.visibility</p:attrName>
                                        </p:attrNameLst>
                                      </p:cBhvr>
                                      <p:to>
                                        <p:strVal val="visible"/>
                                      </p:to>
                                    </p:set>
                                    <p:animEffect transition="in" filter="wipe(left)">
                                      <p:cBhvr>
                                        <p:cTn id="13" dur="2500"/>
                                        <p:tgtEl>
                                          <p:spTgt spid="3">
                                            <p:graphicEl>
                                              <a:chart seriesIdx="0" categoryIdx="-4" bldStep="series"/>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3">
                                            <p:graphicEl>
                                              <a:chart seriesIdx="1" categoryIdx="-4" bldStep="series"/>
                                            </p:graphicEl>
                                          </p:spTgt>
                                        </p:tgtEl>
                                        <p:attrNameLst>
                                          <p:attrName>style.visibility</p:attrName>
                                        </p:attrNameLst>
                                      </p:cBhvr>
                                      <p:to>
                                        <p:strVal val="visible"/>
                                      </p:to>
                                    </p:set>
                                    <p:animEffect transition="in" filter="wipe(left)">
                                      <p:cBhvr>
                                        <p:cTn id="18" dur="2500"/>
                                        <p:tgtEl>
                                          <p:spTgt spid="3">
                                            <p:graphicEl>
                                              <a:chart seriesIdx="1" categoryIdx="-4" bldStep="series"/>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2" grpId="0"/>
      <p:bldP spid="36" grpId="0"/>
      <p:bldGraphic spid="3" grpId="0" uiExpand="1">
        <p:bldSub>
          <a:bldChart bld="series"/>
        </p:bldSub>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2" name="Picture 1" descr="Picture 1"/>
          <p:cNvPicPr>
            <a:picLocks noChangeAspect="1"/>
          </p:cNvPicPr>
          <p:nvPr/>
        </p:nvPicPr>
        <p:blipFill>
          <a:blip r:embed="rId4"/>
          <a:stretch>
            <a:fillRect/>
          </a:stretch>
        </p:blipFill>
        <p:spPr>
          <a:xfrm>
            <a:off x="9897891" y="5779679"/>
            <a:ext cx="1353618" cy="282006"/>
          </a:xfrm>
          <a:prstGeom prst="rect">
            <a:avLst/>
          </a:prstGeom>
          <a:ln w="12700">
            <a:miter lim="400000"/>
          </a:ln>
        </p:spPr>
      </p:pic>
      <p:sp>
        <p:nvSpPr>
          <p:cNvPr id="25" name="Text Placeholder 24">
            <a:extLst>
              <a:ext uri="{FF2B5EF4-FFF2-40B4-BE49-F238E27FC236}">
                <a16:creationId xmlns:a16="http://schemas.microsoft.com/office/drawing/2014/main" id="{CE79A2A9-3911-F5A8-3436-BF75A8985F99}"/>
              </a:ext>
            </a:extLst>
          </p:cNvPr>
          <p:cNvSpPr>
            <a:spLocks noGrp="1"/>
          </p:cNvSpPr>
          <p:nvPr>
            <p:ph type="body" sz="quarter" idx="13"/>
          </p:nvPr>
        </p:nvSpPr>
        <p:spPr>
          <a:xfrm>
            <a:off x="576263" y="1351766"/>
            <a:ext cx="10367962" cy="288000"/>
          </a:xfrm>
        </p:spPr>
        <p:txBody>
          <a:bodyPr/>
          <a:lstStyle/>
          <a:p>
            <a:r>
              <a:rPr lang="en-GB" dirty="0"/>
              <a:t>Mechanical Smoothing Example</a:t>
            </a:r>
          </a:p>
        </p:txBody>
      </p:sp>
      <p:sp>
        <p:nvSpPr>
          <p:cNvPr id="22" name="Slide Number Placeholder 21">
            <a:extLst>
              <a:ext uri="{FF2B5EF4-FFF2-40B4-BE49-F238E27FC236}">
                <a16:creationId xmlns:a16="http://schemas.microsoft.com/office/drawing/2014/main" id="{2AE8B5A0-49CB-9ADB-489F-6A94B5842457}"/>
              </a:ext>
            </a:extLst>
          </p:cNvPr>
          <p:cNvSpPr>
            <a:spLocks noGrp="1"/>
          </p:cNvSpPr>
          <p:nvPr>
            <p:ph type="sldNum" sz="quarter" idx="15"/>
          </p:nvPr>
        </p:nvSpPr>
        <p:spPr/>
        <p:txBody>
          <a:bodyPr/>
          <a:lstStyle/>
          <a:p>
            <a:fld id="{0F961903-03AF-4EAC-BF2C-945F8C5557D1}" type="slidenum">
              <a:rPr lang="en-GB" smtClean="0"/>
              <a:pPr/>
              <a:t>11</a:t>
            </a:fld>
            <a:endParaRPr lang="en-GB" dirty="0"/>
          </a:p>
        </p:txBody>
      </p:sp>
      <p:sp>
        <p:nvSpPr>
          <p:cNvPr id="24" name="Content Placeholder 23">
            <a:extLst>
              <a:ext uri="{FF2B5EF4-FFF2-40B4-BE49-F238E27FC236}">
                <a16:creationId xmlns:a16="http://schemas.microsoft.com/office/drawing/2014/main" id="{150DE226-7208-6429-33C5-F6DDB7FA7AA3}"/>
              </a:ext>
            </a:extLst>
          </p:cNvPr>
          <p:cNvSpPr>
            <a:spLocks noGrp="1"/>
          </p:cNvSpPr>
          <p:nvPr>
            <p:ph sz="quarter" idx="12"/>
          </p:nvPr>
        </p:nvSpPr>
        <p:spPr/>
        <p:txBody>
          <a:bodyPr/>
          <a:lstStyle/>
          <a:p>
            <a:r>
              <a:rPr lang="en-GB" dirty="0"/>
              <a:t>Source: Newton Client Solutions. September 2024. For illustrative purposes only. Performance information shown relates to returns for an illustrative multi-asset balanced portfolio and a smoothed return version of this portfolio using monthly returns from 31/8/2011 to 31/08/2024. The smoothing mechanism applies a growth rate equivalent to the average portfolio return over the whole period to a notional smoothed unit price.  The unit price of the smoothed portfolio resets when deviations versus the underlying balanced portfolio reach trigger levels. On a daily basis, any deviation between the smoothed portfolio unit price and the underlying portfolio unit price of 10% or more results in the smoothed unit price being adjusted to be within 2.5% of the price of the underlying portfolio. A monthly check is also applied and if the difference between the smoothed portfolio unit price and the underlying portfolio unit price is 5% or more then the smoothed unit price is adjusted to reduce this difference by half. Analysis assumes withdrawal of £991.86 per month from a starting investment of £100,000. Illustrative portfolio performance calculated as total return, income reinvested, gross of fees in GBP. Fees and charges apply and can have a material effect on the performance of your investment.</a:t>
            </a:r>
          </a:p>
        </p:txBody>
      </p:sp>
      <p:sp>
        <p:nvSpPr>
          <p:cNvPr id="8" name="Text Placeholder 7">
            <a:extLst>
              <a:ext uri="{FF2B5EF4-FFF2-40B4-BE49-F238E27FC236}">
                <a16:creationId xmlns:a16="http://schemas.microsoft.com/office/drawing/2014/main" id="{32C15193-5F60-B57B-5D21-2BA0F7707F56}"/>
              </a:ext>
            </a:extLst>
          </p:cNvPr>
          <p:cNvSpPr>
            <a:spLocks noGrp="1"/>
          </p:cNvSpPr>
          <p:nvPr>
            <p:ph type="body" sz="quarter" idx="11"/>
          </p:nvPr>
        </p:nvSpPr>
        <p:spPr/>
        <p:txBody>
          <a:bodyPr/>
          <a:lstStyle/>
          <a:p>
            <a:r>
              <a:rPr lang="en-GB" dirty="0"/>
              <a:t>Smoothing may provide peace of mind but it’s not clear it improves outcomes</a:t>
            </a:r>
          </a:p>
        </p:txBody>
      </p:sp>
      <p:sp>
        <p:nvSpPr>
          <p:cNvPr id="23" name="Title 1">
            <a:extLst>
              <a:ext uri="{FF2B5EF4-FFF2-40B4-BE49-F238E27FC236}">
                <a16:creationId xmlns:a16="http://schemas.microsoft.com/office/drawing/2014/main" id="{547B53A1-65B9-A3C8-6EEB-B7A44FCDA8FD}"/>
              </a:ext>
            </a:extLst>
          </p:cNvPr>
          <p:cNvSpPr>
            <a:spLocks noGrp="1"/>
          </p:cNvSpPr>
          <p:nvPr>
            <p:ph type="title"/>
          </p:nvPr>
        </p:nvSpPr>
        <p:spPr/>
        <p:txBody>
          <a:bodyPr>
            <a:noAutofit/>
          </a:bodyPr>
          <a:lstStyle/>
          <a:p>
            <a:r>
              <a:rPr lang="en-GB" dirty="0">
                <a:solidFill>
                  <a:srgbClr val="FF6120"/>
                </a:solidFill>
              </a:rPr>
              <a:t>…but smoothing </a:t>
            </a:r>
            <a:r>
              <a:rPr lang="en-GB" dirty="0"/>
              <a:t>doesn’t actually improve the outcome</a:t>
            </a:r>
          </a:p>
        </p:txBody>
      </p:sp>
      <p:sp>
        <p:nvSpPr>
          <p:cNvPr id="27" name="Text Placeholder 26">
            <a:extLst>
              <a:ext uri="{FF2B5EF4-FFF2-40B4-BE49-F238E27FC236}">
                <a16:creationId xmlns:a16="http://schemas.microsoft.com/office/drawing/2014/main" id="{85B639DD-F7DE-2A72-0A16-4C272A80A21C}"/>
              </a:ext>
            </a:extLst>
          </p:cNvPr>
          <p:cNvSpPr>
            <a:spLocks noGrp="1"/>
          </p:cNvSpPr>
          <p:nvPr>
            <p:ph type="body" sz="quarter" idx="17"/>
          </p:nvPr>
        </p:nvSpPr>
        <p:spPr/>
        <p:txBody>
          <a:bodyPr/>
          <a:lstStyle/>
          <a:p>
            <a:r>
              <a:rPr lang="en-GB" dirty="0"/>
              <a:t> </a:t>
            </a:r>
          </a:p>
        </p:txBody>
      </p:sp>
      <p:graphicFrame>
        <p:nvGraphicFramePr>
          <p:cNvPr id="4" name="Chart 3">
            <a:extLst>
              <a:ext uri="{FF2B5EF4-FFF2-40B4-BE49-F238E27FC236}">
                <a16:creationId xmlns:a16="http://schemas.microsoft.com/office/drawing/2014/main" id="{065B636A-6A93-4A2B-BFF1-2E57F0FF88BC}"/>
              </a:ext>
            </a:extLst>
          </p:cNvPr>
          <p:cNvGraphicFramePr>
            <a:graphicFrameLocks/>
          </p:cNvGraphicFramePr>
          <p:nvPr>
            <p:extLst>
              <p:ext uri="{D42A27DB-BD31-4B8C-83A1-F6EECF244321}">
                <p14:modId xmlns:p14="http://schemas.microsoft.com/office/powerpoint/2010/main" val="289736065"/>
              </p:ext>
            </p:extLst>
          </p:nvPr>
        </p:nvGraphicFramePr>
        <p:xfrm>
          <a:off x="578643" y="1656087"/>
          <a:ext cx="10575691" cy="3384226"/>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542650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graphicEl>
                                              <a:chart seriesIdx="-3" categoryIdx="-3" bldStep="gridLegend"/>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grpId="0" nodeType="clickEffect">
                                  <p:stCondLst>
                                    <p:cond delay="0"/>
                                  </p:stCondLst>
                                  <p:childTnLst>
                                    <p:set>
                                      <p:cBhvr>
                                        <p:cTn id="12" dur="1" fill="hold">
                                          <p:stCondLst>
                                            <p:cond delay="0"/>
                                          </p:stCondLst>
                                        </p:cTn>
                                        <p:tgtEl>
                                          <p:spTgt spid="4">
                                            <p:graphicEl>
                                              <a:chart seriesIdx="0" categoryIdx="-4" bldStep="series"/>
                                            </p:graphicEl>
                                          </p:spTgt>
                                        </p:tgtEl>
                                        <p:attrNameLst>
                                          <p:attrName>style.visibility</p:attrName>
                                        </p:attrNameLst>
                                      </p:cBhvr>
                                      <p:to>
                                        <p:strVal val="visible"/>
                                      </p:to>
                                    </p:set>
                                    <p:animEffect transition="in" filter="wipe(left)">
                                      <p:cBhvr>
                                        <p:cTn id="13" dur="3500"/>
                                        <p:tgtEl>
                                          <p:spTgt spid="4">
                                            <p:graphicEl>
                                              <a:chart seriesIdx="0" categoryIdx="-4" bldStep="series"/>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4">
                                            <p:graphicEl>
                                              <a:chart seriesIdx="1" categoryIdx="-4" bldStep="series"/>
                                            </p:graphicEl>
                                          </p:spTgt>
                                        </p:tgtEl>
                                        <p:attrNameLst>
                                          <p:attrName>style.visibility</p:attrName>
                                        </p:attrNameLst>
                                      </p:cBhvr>
                                      <p:to>
                                        <p:strVal val="visible"/>
                                      </p:to>
                                    </p:set>
                                    <p:animEffect transition="in" filter="wipe(left)">
                                      <p:cBhvr>
                                        <p:cTn id="18" dur="3500"/>
                                        <p:tgtEl>
                                          <p:spTgt spid="4">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bldGraphic spid="4" grpId="0" uiExpand="1">
        <p:bldSub>
          <a:bldChart bld="series"/>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9BD3D83-D769-A76F-24F6-467E7DC9A24C}"/>
              </a:ext>
            </a:extLst>
          </p:cNvPr>
          <p:cNvGraphicFramePr>
            <a:graphicFrameLocks/>
          </p:cNvGraphicFramePr>
          <p:nvPr>
            <p:extLst>
              <p:ext uri="{D42A27DB-BD31-4B8C-83A1-F6EECF244321}">
                <p14:modId xmlns:p14="http://schemas.microsoft.com/office/powerpoint/2010/main" val="509622930"/>
              </p:ext>
            </p:extLst>
          </p:nvPr>
        </p:nvGraphicFramePr>
        <p:xfrm>
          <a:off x="576000" y="1377813"/>
          <a:ext cx="10367962" cy="3724547"/>
        </p:xfrm>
        <a:graphic>
          <a:graphicData uri="http://schemas.openxmlformats.org/drawingml/2006/chart">
            <c:chart xmlns:c="http://schemas.openxmlformats.org/drawingml/2006/chart" xmlns:r="http://schemas.openxmlformats.org/officeDocument/2006/relationships" r:id="rId5"/>
          </a:graphicData>
        </a:graphic>
      </p:graphicFrame>
      <p:pic>
        <p:nvPicPr>
          <p:cNvPr id="2362" name="Picture 1" descr="Picture 1"/>
          <p:cNvPicPr>
            <a:picLocks noChangeAspect="1"/>
          </p:cNvPicPr>
          <p:nvPr/>
        </p:nvPicPr>
        <p:blipFill>
          <a:blip r:embed="rId6"/>
          <a:stretch>
            <a:fillRect/>
          </a:stretch>
        </p:blipFill>
        <p:spPr>
          <a:xfrm>
            <a:off x="9897955" y="5779718"/>
            <a:ext cx="1353638" cy="282010"/>
          </a:xfrm>
          <a:prstGeom prst="rect">
            <a:avLst/>
          </a:prstGeom>
          <a:ln w="12700">
            <a:miter lim="400000"/>
          </a:ln>
        </p:spPr>
      </p:pic>
      <p:sp>
        <p:nvSpPr>
          <p:cNvPr id="27" name="Slide Number Placeholder 26">
            <a:extLst>
              <a:ext uri="{FF2B5EF4-FFF2-40B4-BE49-F238E27FC236}">
                <a16:creationId xmlns:a16="http://schemas.microsoft.com/office/drawing/2014/main" id="{615CD678-33AC-F5F0-F20C-8E720EAAC766}"/>
              </a:ext>
            </a:extLst>
          </p:cNvPr>
          <p:cNvSpPr>
            <a:spLocks noGrp="1"/>
          </p:cNvSpPr>
          <p:nvPr>
            <p:ph type="sldNum" sz="quarter" idx="32"/>
          </p:nvPr>
        </p:nvSpPr>
        <p:spPr/>
        <p:txBody>
          <a:bodyPr/>
          <a:lstStyle/>
          <a:p>
            <a:pPr marL="0" marR="0" lvl="0" indent="0" algn="l" defTabSz="914400" rtl="0" eaLnBrk="1" fontAlgn="base" latinLnBrk="0" hangingPunct="1">
              <a:lnSpc>
                <a:spcPct val="90000"/>
              </a:lnSpc>
              <a:spcBef>
                <a:spcPct val="0"/>
              </a:spcBef>
              <a:spcAft>
                <a:spcPts val="0"/>
              </a:spcAft>
              <a:buClrTx/>
              <a:buSzTx/>
              <a:buFontTx/>
              <a:buNone/>
              <a:tabLst/>
              <a:defRPr/>
            </a:pPr>
            <a:fld id="{0F961903-03AF-4EAC-BF2C-945F8C5557D1}" type="slidenum">
              <a:rPr kumimoji="0" lang="en-GB" sz="1000" b="1"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l" defTabSz="914400" rtl="0" eaLnBrk="1" fontAlgn="base" latinLnBrk="0" hangingPunct="1">
                <a:lnSpc>
                  <a:spcPct val="90000"/>
                </a:lnSpc>
                <a:spcBef>
                  <a:spcPct val="0"/>
                </a:spcBef>
                <a:spcAft>
                  <a:spcPts val="0"/>
                </a:spcAft>
                <a:buClrTx/>
                <a:buSzTx/>
                <a:buFontTx/>
                <a:buNone/>
                <a:tabLst/>
                <a:defRPr/>
              </a:pPr>
              <a:t>12</a:t>
            </a:fld>
            <a:endParaRPr kumimoji="0" lang="en-GB" sz="1000"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9" name="Content Placeholder 28">
            <a:extLst>
              <a:ext uri="{FF2B5EF4-FFF2-40B4-BE49-F238E27FC236}">
                <a16:creationId xmlns:a16="http://schemas.microsoft.com/office/drawing/2014/main" id="{FB03F0C1-4E69-5390-3C30-B6075B2E1517}"/>
              </a:ext>
            </a:extLst>
          </p:cNvPr>
          <p:cNvSpPr>
            <a:spLocks noGrp="1"/>
          </p:cNvSpPr>
          <p:nvPr>
            <p:ph sz="quarter" idx="12"/>
          </p:nvPr>
        </p:nvSpPr>
        <p:spPr/>
        <p:txBody>
          <a:bodyPr/>
          <a:lstStyle/>
          <a:p>
            <a:r>
              <a:rPr lang="en-GB" dirty="0"/>
              <a:t>Source: Newton Client Solutions. September 2024. For illustrative purposes only. Performance information shown relates to returns for an illustrative multi-asset balanced portfolio and a smoothed return version of this portfolio using monthly returns from 31/8/2011 to 31/08/2024. The smoothing mechanism applies a growth rate equivalent to the average portfolio return over the whole period to a notional smoothed unit price.  The unit price of the smoothed portfolio resets when deviations versus the underlying balanced portfolio reach trigger levels. On a daily basis, any deviation between the smoothed portfolio unit price and the underlying portfolio unit price of 10% or more results in the smoothed unit price being adjusted to be within 2.5% of the price of the underlying portfolio. A monthly check is also applied and if the difference between the smoothed portfolio unit price and the underlying portfolio unit price is 5% or more then the smoothed unit price is adjusted to reduce this difference by half. Illustrative portfolio performance calculated as total return, income reinvested, gross of fees in GBP. Fees and charges apply and can have a material effect on the performance of your investment.</a:t>
            </a:r>
          </a:p>
        </p:txBody>
      </p:sp>
      <p:sp>
        <p:nvSpPr>
          <p:cNvPr id="28" name="Text Placeholder 27">
            <a:extLst>
              <a:ext uri="{FF2B5EF4-FFF2-40B4-BE49-F238E27FC236}">
                <a16:creationId xmlns:a16="http://schemas.microsoft.com/office/drawing/2014/main" id="{42C1934F-CEF5-A631-B9CF-CD0C4B306063}"/>
              </a:ext>
            </a:extLst>
          </p:cNvPr>
          <p:cNvSpPr>
            <a:spLocks noGrp="1"/>
          </p:cNvSpPr>
          <p:nvPr>
            <p:ph type="body" sz="quarter" idx="11"/>
          </p:nvPr>
        </p:nvSpPr>
        <p:spPr/>
        <p:txBody>
          <a:bodyPr/>
          <a:lstStyle/>
          <a:p>
            <a:r>
              <a:rPr lang="en-GB" dirty="0"/>
              <a:t> Smoothing protects against small losses but can also mean slower recovery affecting outcomes</a:t>
            </a:r>
          </a:p>
        </p:txBody>
      </p:sp>
      <p:sp>
        <p:nvSpPr>
          <p:cNvPr id="23" name="Title 1">
            <a:extLst>
              <a:ext uri="{FF2B5EF4-FFF2-40B4-BE49-F238E27FC236}">
                <a16:creationId xmlns:a16="http://schemas.microsoft.com/office/drawing/2014/main" id="{547B53A1-65B9-A3C8-6EEB-B7A44FCDA8FD}"/>
              </a:ext>
            </a:extLst>
          </p:cNvPr>
          <p:cNvSpPr>
            <a:spLocks noGrp="1"/>
          </p:cNvSpPr>
          <p:nvPr>
            <p:ph type="title"/>
          </p:nvPr>
        </p:nvSpPr>
        <p:spPr/>
        <p:txBody>
          <a:bodyPr>
            <a:noAutofit/>
          </a:bodyPr>
          <a:lstStyle/>
          <a:p>
            <a:r>
              <a:rPr lang="en-GB" dirty="0">
                <a:solidFill>
                  <a:srgbClr val="FF6120"/>
                </a:solidFill>
              </a:rPr>
              <a:t>Lower volatility </a:t>
            </a:r>
            <a:r>
              <a:rPr lang="en-GB" dirty="0"/>
              <a:t>can also mean upside isn’t captured</a:t>
            </a:r>
          </a:p>
        </p:txBody>
      </p:sp>
      <p:sp>
        <p:nvSpPr>
          <p:cNvPr id="31" name="Text Placeholder 30">
            <a:extLst>
              <a:ext uri="{FF2B5EF4-FFF2-40B4-BE49-F238E27FC236}">
                <a16:creationId xmlns:a16="http://schemas.microsoft.com/office/drawing/2014/main" id="{D8B16AD7-DFCB-EECC-2CFF-19B70D05249C}"/>
              </a:ext>
            </a:extLst>
          </p:cNvPr>
          <p:cNvSpPr>
            <a:spLocks noGrp="1"/>
          </p:cNvSpPr>
          <p:nvPr>
            <p:ph type="body" sz="quarter" idx="14"/>
          </p:nvPr>
        </p:nvSpPr>
        <p:spPr/>
        <p:txBody>
          <a:bodyPr/>
          <a:lstStyle/>
          <a:p>
            <a:r>
              <a:rPr lang="en-GB" dirty="0"/>
              <a:t> </a:t>
            </a:r>
          </a:p>
        </p:txBody>
      </p:sp>
      <p:sp>
        <p:nvSpPr>
          <p:cNvPr id="7" name="Oval 6">
            <a:extLst>
              <a:ext uri="{FF2B5EF4-FFF2-40B4-BE49-F238E27FC236}">
                <a16:creationId xmlns:a16="http://schemas.microsoft.com/office/drawing/2014/main" id="{77A53C97-4ED0-E031-4176-039A80E2D8C5}"/>
              </a:ext>
            </a:extLst>
          </p:cNvPr>
          <p:cNvSpPr/>
          <p:nvPr/>
        </p:nvSpPr>
        <p:spPr bwMode="auto">
          <a:xfrm>
            <a:off x="7271132" y="1800225"/>
            <a:ext cx="1803190" cy="1152295"/>
          </a:xfrm>
          <a:prstGeom prst="ellipse">
            <a:avLst/>
          </a:prstGeom>
          <a:noFill/>
          <a:ln w="28575" algn="ctr">
            <a:solidFill>
              <a:srgbClr val="FF0000"/>
            </a:solidFill>
            <a:miter lim="800000"/>
            <a:headEnd/>
            <a:tailEnd/>
          </a:ln>
          <a:effectLst/>
        </p:spPr>
        <p:txBody>
          <a:bodyPr wrap="none" lIns="36000" tIns="36000" rIns="36000" bIns="36000" rtlCol="0" anchor="t"/>
          <a:lstStyle/>
          <a:p>
            <a:pPr marL="0" marR="0" lvl="0" indent="0" algn="ctr" defTabSz="863600" rtl="0" eaLnBrk="1" fontAlgn="base" latinLnBrk="0" hangingPunct="1">
              <a:lnSpc>
                <a:spcPct val="100000"/>
              </a:lnSpc>
              <a:spcBef>
                <a:spcPct val="0"/>
              </a:spcBef>
              <a:spcAft>
                <a:spcPct val="30000"/>
              </a:spcAft>
              <a:buClrTx/>
              <a:buSzTx/>
              <a:buFontTx/>
              <a:buNone/>
              <a:tabLst/>
              <a:defRPr/>
            </a:pPr>
            <a:endParaRPr kumimoji="0" lang="en-GB" sz="1100" b="0" i="0" u="none" strike="noStrike" kern="1200" cap="none" spc="0" normalizeH="0" baseline="0" noProof="0" dirty="0">
              <a:ln>
                <a:noFill/>
              </a:ln>
              <a:solidFill>
                <a:srgbClr val="FF0000"/>
              </a:solidFill>
              <a:effectLst/>
              <a:uLnTx/>
              <a:uFillTx/>
              <a:latin typeface="Arial" charset="0"/>
              <a:ea typeface="+mn-ea"/>
              <a:cs typeface="Arial" charset="0"/>
            </a:endParaRPr>
          </a:p>
        </p:txBody>
      </p:sp>
      <p:sp>
        <p:nvSpPr>
          <p:cNvPr id="8" name="Oval 7">
            <a:extLst>
              <a:ext uri="{FF2B5EF4-FFF2-40B4-BE49-F238E27FC236}">
                <a16:creationId xmlns:a16="http://schemas.microsoft.com/office/drawing/2014/main" id="{12F2B856-D19F-2CF3-3DE6-B04292857D45}"/>
              </a:ext>
            </a:extLst>
          </p:cNvPr>
          <p:cNvSpPr/>
          <p:nvPr/>
        </p:nvSpPr>
        <p:spPr bwMode="auto">
          <a:xfrm>
            <a:off x="2402098" y="2539667"/>
            <a:ext cx="2438400" cy="856764"/>
          </a:xfrm>
          <a:prstGeom prst="ellipse">
            <a:avLst/>
          </a:prstGeom>
          <a:noFill/>
          <a:ln w="28575" algn="ctr">
            <a:solidFill>
              <a:srgbClr val="FF0000"/>
            </a:solidFill>
            <a:miter lim="800000"/>
            <a:headEnd/>
            <a:tailEnd/>
          </a:ln>
          <a:effectLst/>
        </p:spPr>
        <p:txBody>
          <a:bodyPr wrap="none" lIns="36000" tIns="36000" rIns="36000" bIns="36000" rtlCol="0" anchor="t"/>
          <a:lstStyle/>
          <a:p>
            <a:pPr marL="0" marR="0" lvl="0" indent="0" algn="ctr" defTabSz="863600" rtl="0" eaLnBrk="1" fontAlgn="base" latinLnBrk="0" hangingPunct="1">
              <a:lnSpc>
                <a:spcPct val="100000"/>
              </a:lnSpc>
              <a:spcBef>
                <a:spcPct val="0"/>
              </a:spcBef>
              <a:spcAft>
                <a:spcPct val="30000"/>
              </a:spcAft>
              <a:buClrTx/>
              <a:buSzTx/>
              <a:buFontTx/>
              <a:buNone/>
              <a:tabLst/>
              <a:defRPr/>
            </a:pPr>
            <a:endParaRPr kumimoji="0" lang="en-GB" sz="1100" b="0" i="0" u="none" strike="noStrike" kern="1200" cap="none" spc="0" normalizeH="0" baseline="0" noProof="0" dirty="0">
              <a:ln>
                <a:noFill/>
              </a:ln>
              <a:solidFill>
                <a:srgbClr val="FF0000"/>
              </a:solidFill>
              <a:effectLst/>
              <a:uLnTx/>
              <a:uFillTx/>
              <a:latin typeface="Arial" charset="0"/>
              <a:ea typeface="+mn-ea"/>
              <a:cs typeface="Arial" charset="0"/>
            </a:endParaRPr>
          </a:p>
        </p:txBody>
      </p:sp>
    </p:spTree>
    <p:custDataLst>
      <p:tags r:id="rId1"/>
    </p:custDataLst>
    <p:extLst>
      <p:ext uri="{BB962C8B-B14F-4D97-AF65-F5344CB8AC3E}">
        <p14:creationId xmlns:p14="http://schemas.microsoft.com/office/powerpoint/2010/main" val="2001786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2" name="Picture 1" descr="Picture 1"/>
          <p:cNvPicPr>
            <a:picLocks noChangeAspect="1"/>
          </p:cNvPicPr>
          <p:nvPr/>
        </p:nvPicPr>
        <p:blipFill>
          <a:blip r:embed="rId4"/>
          <a:stretch>
            <a:fillRect/>
          </a:stretch>
        </p:blipFill>
        <p:spPr>
          <a:xfrm>
            <a:off x="9897955" y="5779718"/>
            <a:ext cx="1353638" cy="282010"/>
          </a:xfrm>
          <a:prstGeom prst="rect">
            <a:avLst/>
          </a:prstGeom>
          <a:ln w="12700">
            <a:miter lim="400000"/>
          </a:ln>
        </p:spPr>
      </p:pic>
      <p:sp>
        <p:nvSpPr>
          <p:cNvPr id="27" name="Slide Number Placeholder 26">
            <a:extLst>
              <a:ext uri="{FF2B5EF4-FFF2-40B4-BE49-F238E27FC236}">
                <a16:creationId xmlns:a16="http://schemas.microsoft.com/office/drawing/2014/main" id="{615CD678-33AC-F5F0-F20C-8E720EAAC766}"/>
              </a:ext>
            </a:extLst>
          </p:cNvPr>
          <p:cNvSpPr>
            <a:spLocks noGrp="1"/>
          </p:cNvSpPr>
          <p:nvPr>
            <p:ph type="sldNum" sz="quarter" idx="32"/>
          </p:nvPr>
        </p:nvSpPr>
        <p:spPr/>
        <p:txBody>
          <a:bodyPr/>
          <a:lstStyle/>
          <a:p>
            <a:pPr marL="0" marR="0" lvl="0" indent="0" algn="l" defTabSz="914400" rtl="0" eaLnBrk="1" fontAlgn="base" latinLnBrk="0" hangingPunct="1">
              <a:lnSpc>
                <a:spcPct val="90000"/>
              </a:lnSpc>
              <a:spcBef>
                <a:spcPct val="0"/>
              </a:spcBef>
              <a:spcAft>
                <a:spcPts val="0"/>
              </a:spcAft>
              <a:buClrTx/>
              <a:buSzTx/>
              <a:buFontTx/>
              <a:buNone/>
              <a:tabLst/>
              <a:defRPr/>
            </a:pPr>
            <a:fld id="{0F961903-03AF-4EAC-BF2C-945F8C5557D1}" type="slidenum">
              <a:rPr kumimoji="0" lang="en-GB" sz="1000" b="1"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l" defTabSz="914400" rtl="0" eaLnBrk="1" fontAlgn="base" latinLnBrk="0" hangingPunct="1">
                <a:lnSpc>
                  <a:spcPct val="90000"/>
                </a:lnSpc>
                <a:spcBef>
                  <a:spcPct val="0"/>
                </a:spcBef>
                <a:spcAft>
                  <a:spcPts val="0"/>
                </a:spcAft>
                <a:buClrTx/>
                <a:buSzTx/>
                <a:buFontTx/>
                <a:buNone/>
                <a:tabLst/>
                <a:defRPr/>
              </a:pPr>
              <a:t>13</a:t>
            </a:fld>
            <a:endParaRPr kumimoji="0" lang="en-GB" sz="1000"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8" name="Text Placeholder 27">
            <a:extLst>
              <a:ext uri="{FF2B5EF4-FFF2-40B4-BE49-F238E27FC236}">
                <a16:creationId xmlns:a16="http://schemas.microsoft.com/office/drawing/2014/main" id="{42C1934F-CEF5-A631-B9CF-CD0C4B306063}"/>
              </a:ext>
            </a:extLst>
          </p:cNvPr>
          <p:cNvSpPr>
            <a:spLocks noGrp="1"/>
          </p:cNvSpPr>
          <p:nvPr>
            <p:ph type="body" sz="quarter" idx="11"/>
          </p:nvPr>
        </p:nvSpPr>
        <p:spPr/>
        <p:txBody>
          <a:bodyPr/>
          <a:lstStyle/>
          <a:p>
            <a:r>
              <a:rPr lang="en-GB" dirty="0"/>
              <a:t> Assessing sequencing risk requires looking at different measures</a:t>
            </a:r>
          </a:p>
          <a:p>
            <a:endParaRPr lang="en-GB" dirty="0"/>
          </a:p>
        </p:txBody>
      </p:sp>
      <p:sp>
        <p:nvSpPr>
          <p:cNvPr id="23" name="Title 1">
            <a:extLst>
              <a:ext uri="{FF2B5EF4-FFF2-40B4-BE49-F238E27FC236}">
                <a16:creationId xmlns:a16="http://schemas.microsoft.com/office/drawing/2014/main" id="{547B53A1-65B9-A3C8-6EEB-B7A44FCDA8FD}"/>
              </a:ext>
            </a:extLst>
          </p:cNvPr>
          <p:cNvSpPr>
            <a:spLocks noGrp="1"/>
          </p:cNvSpPr>
          <p:nvPr>
            <p:ph type="title"/>
          </p:nvPr>
        </p:nvSpPr>
        <p:spPr/>
        <p:txBody>
          <a:bodyPr>
            <a:noAutofit/>
          </a:bodyPr>
          <a:lstStyle/>
          <a:p>
            <a:r>
              <a:rPr lang="en-GB" dirty="0"/>
              <a:t>Measuring the characteristics that </a:t>
            </a:r>
            <a:r>
              <a:rPr lang="en-GB" dirty="0">
                <a:solidFill>
                  <a:srgbClr val="FF6120"/>
                </a:solidFill>
              </a:rPr>
              <a:t>matter</a:t>
            </a:r>
            <a:endParaRPr lang="en-GB" dirty="0"/>
          </a:p>
        </p:txBody>
      </p:sp>
      <p:sp>
        <p:nvSpPr>
          <p:cNvPr id="31" name="Text Placeholder 30">
            <a:extLst>
              <a:ext uri="{FF2B5EF4-FFF2-40B4-BE49-F238E27FC236}">
                <a16:creationId xmlns:a16="http://schemas.microsoft.com/office/drawing/2014/main" id="{D8B16AD7-DFCB-EECC-2CFF-19B70D05249C}"/>
              </a:ext>
            </a:extLst>
          </p:cNvPr>
          <p:cNvSpPr>
            <a:spLocks noGrp="1"/>
          </p:cNvSpPr>
          <p:nvPr>
            <p:ph type="body" sz="quarter" idx="14"/>
          </p:nvPr>
        </p:nvSpPr>
        <p:spPr/>
        <p:txBody>
          <a:bodyPr/>
          <a:lstStyle/>
          <a:p>
            <a:r>
              <a:rPr lang="en-GB" dirty="0"/>
              <a:t> </a:t>
            </a:r>
          </a:p>
        </p:txBody>
      </p:sp>
      <p:sp>
        <p:nvSpPr>
          <p:cNvPr id="3" name="Text Placeholder 62">
            <a:extLst>
              <a:ext uri="{FF2B5EF4-FFF2-40B4-BE49-F238E27FC236}">
                <a16:creationId xmlns:a16="http://schemas.microsoft.com/office/drawing/2014/main" id="{829BD903-74C9-338F-3FA4-DD9A258E67CA}"/>
              </a:ext>
            </a:extLst>
          </p:cNvPr>
          <p:cNvSpPr txBox="1">
            <a:spLocks/>
          </p:cNvSpPr>
          <p:nvPr/>
        </p:nvSpPr>
        <p:spPr>
          <a:xfrm>
            <a:off x="7703780" y="1439863"/>
            <a:ext cx="3240000" cy="288000"/>
          </a:xfrm>
          <a:prstGeom prst="rect">
            <a:avLst/>
          </a:prstGeom>
        </p:spPr>
        <p:txBody>
          <a:bodyPr/>
          <a:lstStyle>
            <a:lvl1pPr algn="l" defTabSz="853026"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algn="ctr" defTabSz="864017" fontAlgn="auto">
              <a:spcBef>
                <a:spcPts val="0"/>
              </a:spcBef>
              <a:spcAft>
                <a:spcPts val="0"/>
              </a:spcAft>
              <a:defRPr/>
            </a:pPr>
            <a:r>
              <a:rPr lang="en-GB" sz="1400" kern="0" dirty="0"/>
              <a:t>Negative Downside Autocorrelation</a:t>
            </a:r>
          </a:p>
        </p:txBody>
      </p:sp>
      <p:sp>
        <p:nvSpPr>
          <p:cNvPr id="4" name="Text Placeholder 61">
            <a:extLst>
              <a:ext uri="{FF2B5EF4-FFF2-40B4-BE49-F238E27FC236}">
                <a16:creationId xmlns:a16="http://schemas.microsoft.com/office/drawing/2014/main" id="{DF26860D-B8EA-6832-F0A4-E00F92DC6314}"/>
              </a:ext>
            </a:extLst>
          </p:cNvPr>
          <p:cNvSpPr txBox="1">
            <a:spLocks/>
          </p:cNvSpPr>
          <p:nvPr/>
        </p:nvSpPr>
        <p:spPr>
          <a:xfrm>
            <a:off x="4140021" y="1439863"/>
            <a:ext cx="3240000" cy="288000"/>
          </a:xfrm>
          <a:prstGeom prst="rect">
            <a:avLst/>
          </a:prstGeom>
        </p:spPr>
        <p:txBody>
          <a:bodyPr/>
          <a:lstStyle>
            <a:lvl1pPr algn="l" defTabSz="853026"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algn="ctr" defTabSz="864017" fontAlgn="auto">
              <a:spcBef>
                <a:spcPts val="0"/>
              </a:spcBef>
              <a:spcAft>
                <a:spcPts val="0"/>
              </a:spcAft>
              <a:defRPr/>
            </a:pPr>
            <a:r>
              <a:rPr lang="en-GB" sz="1400" kern="0" dirty="0"/>
              <a:t>Negative Kurtosis</a:t>
            </a:r>
          </a:p>
        </p:txBody>
      </p:sp>
      <p:sp>
        <p:nvSpPr>
          <p:cNvPr id="9" name="Content Placeholder 59">
            <a:extLst>
              <a:ext uri="{FF2B5EF4-FFF2-40B4-BE49-F238E27FC236}">
                <a16:creationId xmlns:a16="http://schemas.microsoft.com/office/drawing/2014/main" id="{BB8B887B-B3E3-4E0A-C292-B788DD375BD0}"/>
              </a:ext>
            </a:extLst>
          </p:cNvPr>
          <p:cNvSpPr txBox="1">
            <a:spLocks/>
          </p:cNvSpPr>
          <p:nvPr/>
        </p:nvSpPr>
        <p:spPr bwMode="auto">
          <a:xfrm>
            <a:off x="575818" y="5645884"/>
            <a:ext cx="10367962"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853026" rtl="0" eaLnBrk="1" fontAlgn="base" hangingPunct="1">
              <a:lnSpc>
                <a:spcPct val="100000"/>
              </a:lnSpc>
              <a:spcBef>
                <a:spcPts val="0"/>
              </a:spcBef>
              <a:spcAft>
                <a:spcPts val="257"/>
              </a:spcAft>
              <a:buClr>
                <a:schemeClr val="accent1"/>
              </a:buClr>
              <a:buSzPct val="120000"/>
              <a:defRPr sz="800" b="0" spc="0" baseline="0">
                <a:solidFill>
                  <a:schemeClr val="tx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r>
              <a:rPr lang="en-GB" kern="0" dirty="0"/>
              <a:t>Source: BNY </a:t>
            </a:r>
            <a:r>
              <a:rPr lang="en-GB" kern="0" dirty="0">
                <a:solidFill>
                  <a:schemeClr val="tx1"/>
                </a:solidFill>
              </a:rPr>
              <a:t>Investments</a:t>
            </a:r>
            <a:r>
              <a:rPr lang="en-GB" kern="0" dirty="0"/>
              <a:t>. For illustrative purposes only.</a:t>
            </a:r>
          </a:p>
        </p:txBody>
      </p:sp>
      <p:sp>
        <p:nvSpPr>
          <p:cNvPr id="10" name="TextBox 9">
            <a:extLst>
              <a:ext uri="{FF2B5EF4-FFF2-40B4-BE49-F238E27FC236}">
                <a16:creationId xmlns:a16="http://schemas.microsoft.com/office/drawing/2014/main" id="{373C2807-931D-6166-7C3E-9FF739968D05}"/>
              </a:ext>
            </a:extLst>
          </p:cNvPr>
          <p:cNvSpPr txBox="1">
            <a:spLocks/>
          </p:cNvSpPr>
          <p:nvPr/>
        </p:nvSpPr>
        <p:spPr>
          <a:xfrm>
            <a:off x="3778250" y="2641325"/>
            <a:ext cx="387927" cy="794188"/>
          </a:xfrm>
          <a:prstGeom prst="rect">
            <a:avLst/>
          </a:prstGeom>
          <a:noFill/>
        </p:spPr>
        <p:txBody>
          <a:bodyPr wrap="none" lIns="0" tIns="47623" rIns="0" bIns="47623" rtlCol="0">
            <a:spAutoFit/>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en-GB" sz="4536" b="0" i="0" u="none" strike="noStrike" kern="1200" cap="none" spc="0" normalizeH="0" baseline="0" noProof="0" dirty="0">
                <a:ln>
                  <a:noFill/>
                </a:ln>
                <a:solidFill>
                  <a:schemeClr val="accent2"/>
                </a:solidFill>
                <a:effectLst/>
                <a:uLnTx/>
                <a:uFillTx/>
                <a:latin typeface="Avenir Next LT Pro"/>
                <a:ea typeface="+mn-ea"/>
                <a:cs typeface="Arial"/>
              </a:rPr>
              <a:t>+</a:t>
            </a:r>
          </a:p>
        </p:txBody>
      </p:sp>
      <p:grpSp>
        <p:nvGrpSpPr>
          <p:cNvPr id="11" name="Group 10">
            <a:extLst>
              <a:ext uri="{FF2B5EF4-FFF2-40B4-BE49-F238E27FC236}">
                <a16:creationId xmlns:a16="http://schemas.microsoft.com/office/drawing/2014/main" id="{1A5B7C25-5FD2-38EB-6C31-963C4A2086E1}"/>
              </a:ext>
            </a:extLst>
          </p:cNvPr>
          <p:cNvGrpSpPr>
            <a:grpSpLocks/>
          </p:cNvGrpSpPr>
          <p:nvPr/>
        </p:nvGrpSpPr>
        <p:grpSpPr>
          <a:xfrm>
            <a:off x="4140200" y="1846965"/>
            <a:ext cx="3240088" cy="2151752"/>
            <a:chOff x="5269785" y="1268362"/>
            <a:chExt cx="1920692" cy="1494841"/>
          </a:xfrm>
        </p:grpSpPr>
        <p:cxnSp>
          <p:nvCxnSpPr>
            <p:cNvPr id="12" name="Straight Connector 11">
              <a:extLst>
                <a:ext uri="{FF2B5EF4-FFF2-40B4-BE49-F238E27FC236}">
                  <a16:creationId xmlns:a16="http://schemas.microsoft.com/office/drawing/2014/main" id="{8BA4CCD7-7E3E-A50F-63F4-5120D349F289}"/>
                </a:ext>
              </a:extLst>
            </p:cNvPr>
            <p:cNvCxnSpPr>
              <a:cxnSpLocks/>
            </p:cNvCxnSpPr>
            <p:nvPr/>
          </p:nvCxnSpPr>
          <p:spPr>
            <a:xfrm>
              <a:off x="5269785" y="2689710"/>
              <a:ext cx="1920692" cy="0"/>
            </a:xfrm>
            <a:prstGeom prst="line">
              <a:avLst/>
            </a:prstGeom>
            <a:noFill/>
            <a:ln w="12700" cap="sq" cmpd="sng" algn="ctr">
              <a:solidFill>
                <a:schemeClr val="tx1"/>
              </a:solidFill>
              <a:prstDash val="solid"/>
              <a:miter lim="800000"/>
              <a:headEnd type="none"/>
              <a:tailEnd type="none"/>
            </a:ln>
            <a:effectLst/>
          </p:spPr>
        </p:cxnSp>
        <p:cxnSp>
          <p:nvCxnSpPr>
            <p:cNvPr id="13" name="Straight Connector 12">
              <a:extLst>
                <a:ext uri="{FF2B5EF4-FFF2-40B4-BE49-F238E27FC236}">
                  <a16:creationId xmlns:a16="http://schemas.microsoft.com/office/drawing/2014/main" id="{20409EC7-2080-66B8-9787-21C4851DF01B}"/>
                </a:ext>
              </a:extLst>
            </p:cNvPr>
            <p:cNvCxnSpPr>
              <a:cxnSpLocks/>
            </p:cNvCxnSpPr>
            <p:nvPr/>
          </p:nvCxnSpPr>
          <p:spPr>
            <a:xfrm>
              <a:off x="5345896" y="1444394"/>
              <a:ext cx="0" cy="1318809"/>
            </a:xfrm>
            <a:prstGeom prst="line">
              <a:avLst/>
            </a:prstGeom>
            <a:noFill/>
            <a:ln w="12700" cap="sq" cmpd="sng" algn="ctr">
              <a:solidFill>
                <a:schemeClr val="tx1"/>
              </a:solidFill>
              <a:prstDash val="solid"/>
              <a:miter lim="800000"/>
              <a:headEnd type="none"/>
              <a:tailEnd type="none"/>
            </a:ln>
            <a:effectLst/>
          </p:spPr>
        </p:cxnSp>
        <p:sp>
          <p:nvSpPr>
            <p:cNvPr id="14" name="Freeform: Shape 13">
              <a:extLst>
                <a:ext uri="{FF2B5EF4-FFF2-40B4-BE49-F238E27FC236}">
                  <a16:creationId xmlns:a16="http://schemas.microsoft.com/office/drawing/2014/main" id="{0A1527EE-A36A-7B32-8FE9-DC6C9610F6ED}"/>
                </a:ext>
              </a:extLst>
            </p:cNvPr>
            <p:cNvSpPr>
              <a:spLocks/>
            </p:cNvSpPr>
            <p:nvPr/>
          </p:nvSpPr>
          <p:spPr>
            <a:xfrm>
              <a:off x="5361677" y="1670885"/>
              <a:ext cx="1776173" cy="1013392"/>
            </a:xfrm>
            <a:custGeom>
              <a:avLst/>
              <a:gdLst>
                <a:gd name="connsiteX0" fmla="*/ 0 w 1776173"/>
                <a:gd name="connsiteY0" fmla="*/ 1020652 h 1020935"/>
                <a:gd name="connsiteX1" fmla="*/ 282872 w 1776173"/>
                <a:gd name="connsiteY1" fmla="*/ 954868 h 1020935"/>
                <a:gd name="connsiteX2" fmla="*/ 493382 w 1776173"/>
                <a:gd name="connsiteY2" fmla="*/ 691731 h 1020935"/>
                <a:gd name="connsiteX3" fmla="*/ 644685 w 1776173"/>
                <a:gd name="connsiteY3" fmla="*/ 349654 h 1020935"/>
                <a:gd name="connsiteX4" fmla="*/ 763097 w 1776173"/>
                <a:gd name="connsiteY4" fmla="*/ 106252 h 1020935"/>
                <a:gd name="connsiteX5" fmla="*/ 861773 w 1776173"/>
                <a:gd name="connsiteY5" fmla="*/ 7576 h 1020935"/>
                <a:gd name="connsiteX6" fmla="*/ 920979 w 1776173"/>
                <a:gd name="connsiteY6" fmla="*/ 14154 h 1020935"/>
                <a:gd name="connsiteX7" fmla="*/ 1013077 w 1776173"/>
                <a:gd name="connsiteY7" fmla="*/ 73360 h 1020935"/>
                <a:gd name="connsiteX8" fmla="*/ 1085439 w 1776173"/>
                <a:gd name="connsiteY8" fmla="*/ 237821 h 1020935"/>
                <a:gd name="connsiteX9" fmla="*/ 1249900 w 1776173"/>
                <a:gd name="connsiteY9" fmla="*/ 547006 h 1020935"/>
                <a:gd name="connsiteX10" fmla="*/ 1348576 w 1776173"/>
                <a:gd name="connsiteY10" fmla="*/ 777251 h 1020935"/>
                <a:gd name="connsiteX11" fmla="*/ 1427517 w 1776173"/>
                <a:gd name="connsiteY11" fmla="*/ 889084 h 1020935"/>
                <a:gd name="connsiteX12" fmla="*/ 1545928 w 1776173"/>
                <a:gd name="connsiteY12" fmla="*/ 974603 h 1020935"/>
                <a:gd name="connsiteX13" fmla="*/ 1677497 w 1776173"/>
                <a:gd name="connsiteY13" fmla="*/ 1014074 h 1020935"/>
                <a:gd name="connsiteX14" fmla="*/ 1776173 w 1776173"/>
                <a:gd name="connsiteY14" fmla="*/ 1020652 h 1020935"/>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85439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5137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35612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617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998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326 h 1013609"/>
                <a:gd name="connsiteX1" fmla="*/ 282872 w 1776173"/>
                <a:gd name="connsiteY1" fmla="*/ 947542 h 1013609"/>
                <a:gd name="connsiteX2" fmla="*/ 493382 w 1776173"/>
                <a:gd name="connsiteY2" fmla="*/ 684405 h 1013609"/>
                <a:gd name="connsiteX3" fmla="*/ 644685 w 1776173"/>
                <a:gd name="connsiteY3" fmla="*/ 342328 h 1013609"/>
                <a:gd name="connsiteX4" fmla="*/ 763097 w 1776173"/>
                <a:gd name="connsiteY4" fmla="*/ 98926 h 1013609"/>
                <a:gd name="connsiteX5" fmla="*/ 899873 w 1776173"/>
                <a:gd name="connsiteY5" fmla="*/ 250 h 1013609"/>
                <a:gd name="connsiteX6" fmla="*/ 1013077 w 1776173"/>
                <a:gd name="connsiteY6" fmla="*/ 66034 h 1013609"/>
                <a:gd name="connsiteX7" fmla="*/ 1099727 w 1776173"/>
                <a:gd name="connsiteY7" fmla="*/ 230495 h 1013609"/>
                <a:gd name="connsiteX8" fmla="*/ 1235612 w 1776173"/>
                <a:gd name="connsiteY8" fmla="*/ 539680 h 1013609"/>
                <a:gd name="connsiteX9" fmla="*/ 1348576 w 1776173"/>
                <a:gd name="connsiteY9" fmla="*/ 769925 h 1013609"/>
                <a:gd name="connsiteX10" fmla="*/ 1427517 w 1776173"/>
                <a:gd name="connsiteY10" fmla="*/ 881758 h 1013609"/>
                <a:gd name="connsiteX11" fmla="*/ 1545928 w 1776173"/>
                <a:gd name="connsiteY11" fmla="*/ 967277 h 1013609"/>
                <a:gd name="connsiteX12" fmla="*/ 1677497 w 1776173"/>
                <a:gd name="connsiteY12" fmla="*/ 1006748 h 1013609"/>
                <a:gd name="connsiteX13" fmla="*/ 1776173 w 1776173"/>
                <a:gd name="connsiteY13" fmla="*/ 1013326 h 1013609"/>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241 h 1013524"/>
                <a:gd name="connsiteX1" fmla="*/ 282872 w 1776173"/>
                <a:gd name="connsiteY1" fmla="*/ 947457 h 1013524"/>
                <a:gd name="connsiteX2" fmla="*/ 493382 w 1776173"/>
                <a:gd name="connsiteY2" fmla="*/ 684320 h 1013524"/>
                <a:gd name="connsiteX3" fmla="*/ 644685 w 1776173"/>
                <a:gd name="connsiteY3" fmla="*/ 342243 h 1013524"/>
                <a:gd name="connsiteX4" fmla="*/ 763097 w 1776173"/>
                <a:gd name="connsiteY4" fmla="*/ 98841 h 1013524"/>
                <a:gd name="connsiteX5" fmla="*/ 899873 w 1776173"/>
                <a:gd name="connsiteY5" fmla="*/ 165 h 1013524"/>
                <a:gd name="connsiteX6" fmla="*/ 1013077 w 1776173"/>
                <a:gd name="connsiteY6" fmla="*/ 89762 h 1013524"/>
                <a:gd name="connsiteX7" fmla="*/ 1099727 w 1776173"/>
                <a:gd name="connsiteY7" fmla="*/ 230410 h 1013524"/>
                <a:gd name="connsiteX8" fmla="*/ 1235612 w 1776173"/>
                <a:gd name="connsiteY8" fmla="*/ 539595 h 1013524"/>
                <a:gd name="connsiteX9" fmla="*/ 1348576 w 1776173"/>
                <a:gd name="connsiteY9" fmla="*/ 769840 h 1013524"/>
                <a:gd name="connsiteX10" fmla="*/ 1427517 w 1776173"/>
                <a:gd name="connsiteY10" fmla="*/ 881673 h 1013524"/>
                <a:gd name="connsiteX11" fmla="*/ 1545928 w 1776173"/>
                <a:gd name="connsiteY11" fmla="*/ 967192 h 1013524"/>
                <a:gd name="connsiteX12" fmla="*/ 1677497 w 1776173"/>
                <a:gd name="connsiteY12" fmla="*/ 1006663 h 1013524"/>
                <a:gd name="connsiteX13" fmla="*/ 1776173 w 1776173"/>
                <a:gd name="connsiteY13" fmla="*/ 1013241 h 1013524"/>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8792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9 h 1013392"/>
                <a:gd name="connsiteX1" fmla="*/ 282872 w 1776173"/>
                <a:gd name="connsiteY1" fmla="*/ 947325 h 1013392"/>
                <a:gd name="connsiteX2" fmla="*/ 493382 w 1776173"/>
                <a:gd name="connsiteY2" fmla="*/ 684188 h 1013392"/>
                <a:gd name="connsiteX3" fmla="*/ 644685 w 1776173"/>
                <a:gd name="connsiteY3" fmla="*/ 342111 h 1013392"/>
                <a:gd name="connsiteX4" fmla="*/ 763097 w 1776173"/>
                <a:gd name="connsiteY4" fmla="*/ 98709 h 1013392"/>
                <a:gd name="connsiteX5" fmla="*/ 899873 w 1776173"/>
                <a:gd name="connsiteY5" fmla="*/ 33 h 1013392"/>
                <a:gd name="connsiteX6" fmla="*/ 1018792 w 1776173"/>
                <a:gd name="connsiteY6" fmla="*/ 89630 h 1013392"/>
                <a:gd name="connsiteX7" fmla="*/ 1099727 w 1776173"/>
                <a:gd name="connsiteY7" fmla="*/ 230278 h 1013392"/>
                <a:gd name="connsiteX8" fmla="*/ 1235612 w 1776173"/>
                <a:gd name="connsiteY8" fmla="*/ 539463 h 1013392"/>
                <a:gd name="connsiteX9" fmla="*/ 1348576 w 1776173"/>
                <a:gd name="connsiteY9" fmla="*/ 769708 h 1013392"/>
                <a:gd name="connsiteX10" fmla="*/ 1427517 w 1776173"/>
                <a:gd name="connsiteY10" fmla="*/ 881541 h 1013392"/>
                <a:gd name="connsiteX11" fmla="*/ 1545928 w 1776173"/>
                <a:gd name="connsiteY11" fmla="*/ 967060 h 1013392"/>
                <a:gd name="connsiteX12" fmla="*/ 1677497 w 1776173"/>
                <a:gd name="connsiteY12" fmla="*/ 1006531 h 1013392"/>
                <a:gd name="connsiteX13" fmla="*/ 1776173 w 1776173"/>
                <a:gd name="connsiteY13" fmla="*/ 1013109 h 101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6173" h="1013392">
                  <a:moveTo>
                    <a:pt x="0" y="1013109"/>
                  </a:moveTo>
                  <a:cubicBezTo>
                    <a:pt x="100321" y="1007627"/>
                    <a:pt x="200642" y="1002145"/>
                    <a:pt x="282872" y="947325"/>
                  </a:cubicBezTo>
                  <a:cubicBezTo>
                    <a:pt x="365102" y="892505"/>
                    <a:pt x="433080" y="785057"/>
                    <a:pt x="493382" y="684188"/>
                  </a:cubicBezTo>
                  <a:cubicBezTo>
                    <a:pt x="553684" y="583319"/>
                    <a:pt x="599733" y="439691"/>
                    <a:pt x="644685" y="342111"/>
                  </a:cubicBezTo>
                  <a:cubicBezTo>
                    <a:pt x="689637" y="244531"/>
                    <a:pt x="720566" y="155722"/>
                    <a:pt x="763097" y="98709"/>
                  </a:cubicBezTo>
                  <a:cubicBezTo>
                    <a:pt x="805628" y="41696"/>
                    <a:pt x="857257" y="1546"/>
                    <a:pt x="899873" y="33"/>
                  </a:cubicBezTo>
                  <a:cubicBezTo>
                    <a:pt x="942489" y="-1480"/>
                    <a:pt x="991198" y="48398"/>
                    <a:pt x="1018792" y="89630"/>
                  </a:cubicBezTo>
                  <a:cubicBezTo>
                    <a:pt x="1046386" y="130862"/>
                    <a:pt x="1063590" y="155306"/>
                    <a:pt x="1099727" y="230278"/>
                  </a:cubicBezTo>
                  <a:cubicBezTo>
                    <a:pt x="1135864" y="305250"/>
                    <a:pt x="1194137" y="449558"/>
                    <a:pt x="1235612" y="539463"/>
                  </a:cubicBezTo>
                  <a:cubicBezTo>
                    <a:pt x="1277087" y="629368"/>
                    <a:pt x="1316592" y="712695"/>
                    <a:pt x="1348576" y="769708"/>
                  </a:cubicBezTo>
                  <a:cubicBezTo>
                    <a:pt x="1380560" y="826721"/>
                    <a:pt x="1394625" y="848649"/>
                    <a:pt x="1427517" y="881541"/>
                  </a:cubicBezTo>
                  <a:cubicBezTo>
                    <a:pt x="1460409" y="914433"/>
                    <a:pt x="1504265" y="946228"/>
                    <a:pt x="1545928" y="967060"/>
                  </a:cubicBezTo>
                  <a:cubicBezTo>
                    <a:pt x="1587591" y="987892"/>
                    <a:pt x="1639123" y="998856"/>
                    <a:pt x="1677497" y="1006531"/>
                  </a:cubicBezTo>
                  <a:cubicBezTo>
                    <a:pt x="1715871" y="1014206"/>
                    <a:pt x="1746022" y="1013657"/>
                    <a:pt x="1776173" y="1013109"/>
                  </a:cubicBezTo>
                </a:path>
              </a:pathLst>
            </a:custGeom>
            <a:noFill/>
            <a:ln w="28575" cap="flat" cmpd="sng" algn="ctr">
              <a:solidFill>
                <a:schemeClr val="accent1"/>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sp>
          <p:nvSpPr>
            <p:cNvPr id="15" name="Freeform: Shape 14">
              <a:extLst>
                <a:ext uri="{FF2B5EF4-FFF2-40B4-BE49-F238E27FC236}">
                  <a16:creationId xmlns:a16="http://schemas.microsoft.com/office/drawing/2014/main" id="{6CE14BB4-CD9F-31BD-5C31-9764549B7957}"/>
                </a:ext>
              </a:extLst>
            </p:cNvPr>
            <p:cNvSpPr>
              <a:spLocks/>
            </p:cNvSpPr>
            <p:nvPr/>
          </p:nvSpPr>
          <p:spPr>
            <a:xfrm>
              <a:off x="5716912" y="1893976"/>
              <a:ext cx="1105174" cy="790018"/>
            </a:xfrm>
            <a:custGeom>
              <a:avLst/>
              <a:gdLst>
                <a:gd name="connsiteX0" fmla="*/ 0 w 1105174"/>
                <a:gd name="connsiteY0" fmla="*/ 790018 h 790018"/>
                <a:gd name="connsiteX1" fmla="*/ 46049 w 1105174"/>
                <a:gd name="connsiteY1" fmla="*/ 592666 h 790018"/>
                <a:gd name="connsiteX2" fmla="*/ 131568 w 1105174"/>
                <a:gd name="connsiteY2" fmla="*/ 355843 h 790018"/>
                <a:gd name="connsiteX3" fmla="*/ 236823 w 1105174"/>
                <a:gd name="connsiteY3" fmla="*/ 184804 h 790018"/>
                <a:gd name="connsiteX4" fmla="*/ 388126 w 1105174"/>
                <a:gd name="connsiteY4" fmla="*/ 46657 h 790018"/>
                <a:gd name="connsiteX5" fmla="*/ 565744 w 1105174"/>
                <a:gd name="connsiteY5" fmla="*/ 608 h 790018"/>
                <a:gd name="connsiteX6" fmla="*/ 769675 w 1105174"/>
                <a:gd name="connsiteY6" fmla="*/ 72971 h 790018"/>
                <a:gd name="connsiteX7" fmla="*/ 907821 w 1105174"/>
                <a:gd name="connsiteY7" fmla="*/ 211118 h 790018"/>
                <a:gd name="connsiteX8" fmla="*/ 986762 w 1105174"/>
                <a:gd name="connsiteY8" fmla="*/ 355843 h 790018"/>
                <a:gd name="connsiteX9" fmla="*/ 1039390 w 1105174"/>
                <a:gd name="connsiteY9" fmla="*/ 500568 h 790018"/>
                <a:gd name="connsiteX10" fmla="*/ 1085439 w 1105174"/>
                <a:gd name="connsiteY10" fmla="*/ 665028 h 790018"/>
                <a:gd name="connsiteX11" fmla="*/ 1105174 w 1105174"/>
                <a:gd name="connsiteY11" fmla="*/ 783440 h 79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174" h="790018">
                  <a:moveTo>
                    <a:pt x="0" y="790018"/>
                  </a:moveTo>
                  <a:cubicBezTo>
                    <a:pt x="12060" y="727523"/>
                    <a:pt x="24121" y="665028"/>
                    <a:pt x="46049" y="592666"/>
                  </a:cubicBezTo>
                  <a:cubicBezTo>
                    <a:pt x="67977" y="520304"/>
                    <a:pt x="99772" y="423820"/>
                    <a:pt x="131568" y="355843"/>
                  </a:cubicBezTo>
                  <a:cubicBezTo>
                    <a:pt x="163364" y="287866"/>
                    <a:pt x="194063" y="236335"/>
                    <a:pt x="236823" y="184804"/>
                  </a:cubicBezTo>
                  <a:cubicBezTo>
                    <a:pt x="279583" y="133273"/>
                    <a:pt x="333306" y="77356"/>
                    <a:pt x="388126" y="46657"/>
                  </a:cubicBezTo>
                  <a:cubicBezTo>
                    <a:pt x="442946" y="15958"/>
                    <a:pt x="502153" y="-3778"/>
                    <a:pt x="565744" y="608"/>
                  </a:cubicBezTo>
                  <a:cubicBezTo>
                    <a:pt x="629335" y="4994"/>
                    <a:pt x="712662" y="37886"/>
                    <a:pt x="769675" y="72971"/>
                  </a:cubicBezTo>
                  <a:cubicBezTo>
                    <a:pt x="826688" y="108056"/>
                    <a:pt x="871640" y="163973"/>
                    <a:pt x="907821" y="211118"/>
                  </a:cubicBezTo>
                  <a:cubicBezTo>
                    <a:pt x="944002" y="258263"/>
                    <a:pt x="964834" y="307601"/>
                    <a:pt x="986762" y="355843"/>
                  </a:cubicBezTo>
                  <a:cubicBezTo>
                    <a:pt x="1008690" y="404085"/>
                    <a:pt x="1022944" y="449037"/>
                    <a:pt x="1039390" y="500568"/>
                  </a:cubicBezTo>
                  <a:cubicBezTo>
                    <a:pt x="1055836" y="552099"/>
                    <a:pt x="1074475" y="617883"/>
                    <a:pt x="1085439" y="665028"/>
                  </a:cubicBezTo>
                  <a:cubicBezTo>
                    <a:pt x="1096403" y="712173"/>
                    <a:pt x="1100788" y="747806"/>
                    <a:pt x="1105174" y="783440"/>
                  </a:cubicBezTo>
                </a:path>
              </a:pathLst>
            </a:custGeom>
            <a:noFill/>
            <a:ln w="28575" cap="flat" cmpd="sng" algn="ctr">
              <a:solidFill>
                <a:srgbClr val="FF6120"/>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sp>
          <p:nvSpPr>
            <p:cNvPr id="16" name="TextBox 15">
              <a:extLst>
                <a:ext uri="{FF2B5EF4-FFF2-40B4-BE49-F238E27FC236}">
                  <a16:creationId xmlns:a16="http://schemas.microsoft.com/office/drawing/2014/main" id="{DF67959B-677D-BB7B-AD04-ABA2275BCA55}"/>
                </a:ext>
              </a:extLst>
            </p:cNvPr>
            <p:cNvSpPr txBox="1">
              <a:spLocks/>
            </p:cNvSpPr>
            <p:nvPr/>
          </p:nvSpPr>
          <p:spPr>
            <a:xfrm>
              <a:off x="6109349" y="1502064"/>
              <a:ext cx="273510" cy="167842"/>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Normal</a:t>
              </a:r>
            </a:p>
          </p:txBody>
        </p:sp>
        <p:sp>
          <p:nvSpPr>
            <p:cNvPr id="17" name="TextBox 16">
              <a:extLst>
                <a:ext uri="{FF2B5EF4-FFF2-40B4-BE49-F238E27FC236}">
                  <a16:creationId xmlns:a16="http://schemas.microsoft.com/office/drawing/2014/main" id="{411B9281-0066-72D5-E539-D18A717A8086}"/>
                </a:ext>
              </a:extLst>
            </p:cNvPr>
            <p:cNvSpPr txBox="1">
              <a:spLocks/>
            </p:cNvSpPr>
            <p:nvPr/>
          </p:nvSpPr>
          <p:spPr>
            <a:xfrm>
              <a:off x="6071189" y="1959748"/>
              <a:ext cx="377806" cy="167842"/>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Platykurtic</a:t>
              </a:r>
            </a:p>
          </p:txBody>
        </p:sp>
        <p:sp>
          <p:nvSpPr>
            <p:cNvPr id="18" name="TextBox 17">
              <a:extLst>
                <a:ext uri="{FF2B5EF4-FFF2-40B4-BE49-F238E27FC236}">
                  <a16:creationId xmlns:a16="http://schemas.microsoft.com/office/drawing/2014/main" id="{97FB3C8F-2C12-0083-028A-147EF5BE58BC}"/>
                </a:ext>
              </a:extLst>
            </p:cNvPr>
            <p:cNvSpPr txBox="1">
              <a:spLocks/>
            </p:cNvSpPr>
            <p:nvPr/>
          </p:nvSpPr>
          <p:spPr>
            <a:xfrm>
              <a:off x="6128618" y="1268362"/>
              <a:ext cx="42" cy="177909"/>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dirty="0">
                <a:ln>
                  <a:noFill/>
                </a:ln>
                <a:solidFill>
                  <a:srgbClr val="353535"/>
                </a:solidFill>
                <a:effectLst/>
                <a:uLnTx/>
                <a:uFillTx/>
                <a:latin typeface="Avenir Next LT Pro"/>
                <a:ea typeface="+mn-ea"/>
                <a:cs typeface="Arial" charset="0"/>
              </a:endParaRPr>
            </a:p>
          </p:txBody>
        </p:sp>
      </p:grpSp>
      <p:grpSp>
        <p:nvGrpSpPr>
          <p:cNvPr id="19" name="Group 18">
            <a:extLst>
              <a:ext uri="{FF2B5EF4-FFF2-40B4-BE49-F238E27FC236}">
                <a16:creationId xmlns:a16="http://schemas.microsoft.com/office/drawing/2014/main" id="{14BEA654-B235-387C-5296-2CBF89E88BC4}"/>
              </a:ext>
            </a:extLst>
          </p:cNvPr>
          <p:cNvGrpSpPr>
            <a:grpSpLocks/>
          </p:cNvGrpSpPr>
          <p:nvPr/>
        </p:nvGrpSpPr>
        <p:grpSpPr>
          <a:xfrm>
            <a:off x="591963" y="1811168"/>
            <a:ext cx="3224388" cy="2176292"/>
            <a:chOff x="1947540" y="1268362"/>
            <a:chExt cx="2750190" cy="1511889"/>
          </a:xfrm>
        </p:grpSpPr>
        <p:cxnSp>
          <p:nvCxnSpPr>
            <p:cNvPr id="20" name="Straight Connector 19">
              <a:extLst>
                <a:ext uri="{FF2B5EF4-FFF2-40B4-BE49-F238E27FC236}">
                  <a16:creationId xmlns:a16="http://schemas.microsoft.com/office/drawing/2014/main" id="{2AA2A899-4CAE-E353-E907-9ADBDDD2FFE0}"/>
                </a:ext>
              </a:extLst>
            </p:cNvPr>
            <p:cNvCxnSpPr>
              <a:cxnSpLocks/>
            </p:cNvCxnSpPr>
            <p:nvPr/>
          </p:nvCxnSpPr>
          <p:spPr>
            <a:xfrm>
              <a:off x="2016353" y="1535834"/>
              <a:ext cx="0" cy="1244417"/>
            </a:xfrm>
            <a:prstGeom prst="line">
              <a:avLst/>
            </a:prstGeom>
            <a:noFill/>
            <a:ln w="12700" cap="sq" cmpd="sng" algn="ctr">
              <a:solidFill>
                <a:schemeClr val="tx1"/>
              </a:solidFill>
              <a:prstDash val="solid"/>
              <a:miter lim="800000"/>
              <a:headEnd type="none"/>
              <a:tailEnd type="none"/>
            </a:ln>
            <a:effectLst/>
          </p:spPr>
        </p:cxnSp>
        <p:cxnSp>
          <p:nvCxnSpPr>
            <p:cNvPr id="21" name="Straight Connector 20">
              <a:extLst>
                <a:ext uri="{FF2B5EF4-FFF2-40B4-BE49-F238E27FC236}">
                  <a16:creationId xmlns:a16="http://schemas.microsoft.com/office/drawing/2014/main" id="{219315F1-62DA-40CA-B6F9-24AA9813555C}"/>
                </a:ext>
              </a:extLst>
            </p:cNvPr>
            <p:cNvCxnSpPr>
              <a:cxnSpLocks/>
            </p:cNvCxnSpPr>
            <p:nvPr/>
          </p:nvCxnSpPr>
          <p:spPr>
            <a:xfrm>
              <a:off x="1947540" y="2698282"/>
              <a:ext cx="2750190" cy="0"/>
            </a:xfrm>
            <a:prstGeom prst="line">
              <a:avLst/>
            </a:prstGeom>
            <a:noFill/>
            <a:ln w="12700" cap="sq" cmpd="sng" algn="ctr">
              <a:solidFill>
                <a:schemeClr val="tx1"/>
              </a:solidFill>
              <a:prstDash val="solid"/>
              <a:miter lim="800000"/>
              <a:headEnd type="none"/>
              <a:tailEnd type="none"/>
            </a:ln>
            <a:effectLst/>
          </p:spPr>
        </p:cxnSp>
        <p:sp>
          <p:nvSpPr>
            <p:cNvPr id="22" name="Freeform: Shape 21">
              <a:extLst>
                <a:ext uri="{FF2B5EF4-FFF2-40B4-BE49-F238E27FC236}">
                  <a16:creationId xmlns:a16="http://schemas.microsoft.com/office/drawing/2014/main" id="{0389359F-948A-6B78-F522-7BFA17FF669A}"/>
                </a:ext>
              </a:extLst>
            </p:cNvPr>
            <p:cNvSpPr>
              <a:spLocks/>
            </p:cNvSpPr>
            <p:nvPr/>
          </p:nvSpPr>
          <p:spPr>
            <a:xfrm>
              <a:off x="2024467" y="1792205"/>
              <a:ext cx="2625364" cy="902355"/>
            </a:xfrm>
            <a:custGeom>
              <a:avLst/>
              <a:gdLst>
                <a:gd name="connsiteX0" fmla="*/ 0 w 1105174"/>
                <a:gd name="connsiteY0" fmla="*/ 790018 h 790018"/>
                <a:gd name="connsiteX1" fmla="*/ 46049 w 1105174"/>
                <a:gd name="connsiteY1" fmla="*/ 592666 h 790018"/>
                <a:gd name="connsiteX2" fmla="*/ 131568 w 1105174"/>
                <a:gd name="connsiteY2" fmla="*/ 355843 h 790018"/>
                <a:gd name="connsiteX3" fmla="*/ 236823 w 1105174"/>
                <a:gd name="connsiteY3" fmla="*/ 184804 h 790018"/>
                <a:gd name="connsiteX4" fmla="*/ 388126 w 1105174"/>
                <a:gd name="connsiteY4" fmla="*/ 46657 h 790018"/>
                <a:gd name="connsiteX5" fmla="*/ 565744 w 1105174"/>
                <a:gd name="connsiteY5" fmla="*/ 608 h 790018"/>
                <a:gd name="connsiteX6" fmla="*/ 769675 w 1105174"/>
                <a:gd name="connsiteY6" fmla="*/ 72971 h 790018"/>
                <a:gd name="connsiteX7" fmla="*/ 907821 w 1105174"/>
                <a:gd name="connsiteY7" fmla="*/ 211118 h 790018"/>
                <a:gd name="connsiteX8" fmla="*/ 986762 w 1105174"/>
                <a:gd name="connsiteY8" fmla="*/ 355843 h 790018"/>
                <a:gd name="connsiteX9" fmla="*/ 1039390 w 1105174"/>
                <a:gd name="connsiteY9" fmla="*/ 500568 h 790018"/>
                <a:gd name="connsiteX10" fmla="*/ 1085439 w 1105174"/>
                <a:gd name="connsiteY10" fmla="*/ 665028 h 790018"/>
                <a:gd name="connsiteX11" fmla="*/ 1105174 w 1105174"/>
                <a:gd name="connsiteY11" fmla="*/ 783440 h 790018"/>
                <a:gd name="connsiteX0" fmla="*/ 0 w 1545229"/>
                <a:gd name="connsiteY0" fmla="*/ 784303 h 784303"/>
                <a:gd name="connsiteX1" fmla="*/ 486104 w 1545229"/>
                <a:gd name="connsiteY1" fmla="*/ 592666 h 784303"/>
                <a:gd name="connsiteX2" fmla="*/ 571623 w 1545229"/>
                <a:gd name="connsiteY2" fmla="*/ 355843 h 784303"/>
                <a:gd name="connsiteX3" fmla="*/ 676878 w 1545229"/>
                <a:gd name="connsiteY3" fmla="*/ 184804 h 784303"/>
                <a:gd name="connsiteX4" fmla="*/ 828181 w 1545229"/>
                <a:gd name="connsiteY4" fmla="*/ 46657 h 784303"/>
                <a:gd name="connsiteX5" fmla="*/ 1005799 w 1545229"/>
                <a:gd name="connsiteY5" fmla="*/ 608 h 784303"/>
                <a:gd name="connsiteX6" fmla="*/ 1209730 w 1545229"/>
                <a:gd name="connsiteY6" fmla="*/ 72971 h 784303"/>
                <a:gd name="connsiteX7" fmla="*/ 1347876 w 1545229"/>
                <a:gd name="connsiteY7" fmla="*/ 211118 h 784303"/>
                <a:gd name="connsiteX8" fmla="*/ 1426817 w 1545229"/>
                <a:gd name="connsiteY8" fmla="*/ 355843 h 784303"/>
                <a:gd name="connsiteX9" fmla="*/ 1479445 w 1545229"/>
                <a:gd name="connsiteY9" fmla="*/ 500568 h 784303"/>
                <a:gd name="connsiteX10" fmla="*/ 1525494 w 1545229"/>
                <a:gd name="connsiteY10" fmla="*/ 665028 h 784303"/>
                <a:gd name="connsiteX11" fmla="*/ 1545229 w 1545229"/>
                <a:gd name="connsiteY11" fmla="*/ 783440 h 784303"/>
                <a:gd name="connsiteX0" fmla="*/ 0 w 1545229"/>
                <a:gd name="connsiteY0" fmla="*/ 784303 h 784303"/>
                <a:gd name="connsiteX1" fmla="*/ 486104 w 1545229"/>
                <a:gd name="connsiteY1" fmla="*/ 592666 h 784303"/>
                <a:gd name="connsiteX2" fmla="*/ 571623 w 1545229"/>
                <a:gd name="connsiteY2" fmla="*/ 355843 h 784303"/>
                <a:gd name="connsiteX3" fmla="*/ 676878 w 1545229"/>
                <a:gd name="connsiteY3" fmla="*/ 184804 h 784303"/>
                <a:gd name="connsiteX4" fmla="*/ 828181 w 1545229"/>
                <a:gd name="connsiteY4" fmla="*/ 46657 h 784303"/>
                <a:gd name="connsiteX5" fmla="*/ 1005799 w 1545229"/>
                <a:gd name="connsiteY5" fmla="*/ 608 h 784303"/>
                <a:gd name="connsiteX6" fmla="*/ 1209730 w 1545229"/>
                <a:gd name="connsiteY6" fmla="*/ 72971 h 784303"/>
                <a:gd name="connsiteX7" fmla="*/ 1347876 w 1545229"/>
                <a:gd name="connsiteY7" fmla="*/ 211118 h 784303"/>
                <a:gd name="connsiteX8" fmla="*/ 1426817 w 1545229"/>
                <a:gd name="connsiteY8" fmla="*/ 355843 h 784303"/>
                <a:gd name="connsiteX9" fmla="*/ 1479445 w 1545229"/>
                <a:gd name="connsiteY9" fmla="*/ 500568 h 784303"/>
                <a:gd name="connsiteX10" fmla="*/ 1525494 w 1545229"/>
                <a:gd name="connsiteY10" fmla="*/ 665028 h 784303"/>
                <a:gd name="connsiteX11" fmla="*/ 1545229 w 1545229"/>
                <a:gd name="connsiteY11" fmla="*/ 783440 h 784303"/>
                <a:gd name="connsiteX0" fmla="*/ 0 w 1545229"/>
                <a:gd name="connsiteY0" fmla="*/ 784303 h 784303"/>
                <a:gd name="connsiteX1" fmla="*/ 486104 w 1545229"/>
                <a:gd name="connsiteY1" fmla="*/ 592666 h 784303"/>
                <a:gd name="connsiteX2" fmla="*/ 571623 w 1545229"/>
                <a:gd name="connsiteY2" fmla="*/ 355843 h 784303"/>
                <a:gd name="connsiteX3" fmla="*/ 676878 w 1545229"/>
                <a:gd name="connsiteY3" fmla="*/ 184804 h 784303"/>
                <a:gd name="connsiteX4" fmla="*/ 828181 w 1545229"/>
                <a:gd name="connsiteY4" fmla="*/ 46657 h 784303"/>
                <a:gd name="connsiteX5" fmla="*/ 1005799 w 1545229"/>
                <a:gd name="connsiteY5" fmla="*/ 608 h 784303"/>
                <a:gd name="connsiteX6" fmla="*/ 1209730 w 1545229"/>
                <a:gd name="connsiteY6" fmla="*/ 72971 h 784303"/>
                <a:gd name="connsiteX7" fmla="*/ 1347876 w 1545229"/>
                <a:gd name="connsiteY7" fmla="*/ 211118 h 784303"/>
                <a:gd name="connsiteX8" fmla="*/ 1426817 w 1545229"/>
                <a:gd name="connsiteY8" fmla="*/ 355843 h 784303"/>
                <a:gd name="connsiteX9" fmla="*/ 1479445 w 1545229"/>
                <a:gd name="connsiteY9" fmla="*/ 500568 h 784303"/>
                <a:gd name="connsiteX10" fmla="*/ 1525494 w 1545229"/>
                <a:gd name="connsiteY10" fmla="*/ 665028 h 784303"/>
                <a:gd name="connsiteX11" fmla="*/ 1545229 w 1545229"/>
                <a:gd name="connsiteY11" fmla="*/ 783440 h 784303"/>
                <a:gd name="connsiteX0" fmla="*/ 0 w 1545229"/>
                <a:gd name="connsiteY0" fmla="*/ 784303 h 784303"/>
                <a:gd name="connsiteX1" fmla="*/ 486104 w 1545229"/>
                <a:gd name="connsiteY1" fmla="*/ 592666 h 784303"/>
                <a:gd name="connsiteX2" fmla="*/ 588768 w 1545229"/>
                <a:gd name="connsiteY2" fmla="*/ 355843 h 784303"/>
                <a:gd name="connsiteX3" fmla="*/ 676878 w 1545229"/>
                <a:gd name="connsiteY3" fmla="*/ 184804 h 784303"/>
                <a:gd name="connsiteX4" fmla="*/ 828181 w 1545229"/>
                <a:gd name="connsiteY4" fmla="*/ 46657 h 784303"/>
                <a:gd name="connsiteX5" fmla="*/ 1005799 w 1545229"/>
                <a:gd name="connsiteY5" fmla="*/ 608 h 784303"/>
                <a:gd name="connsiteX6" fmla="*/ 1209730 w 1545229"/>
                <a:gd name="connsiteY6" fmla="*/ 72971 h 784303"/>
                <a:gd name="connsiteX7" fmla="*/ 1347876 w 1545229"/>
                <a:gd name="connsiteY7" fmla="*/ 211118 h 784303"/>
                <a:gd name="connsiteX8" fmla="*/ 1426817 w 1545229"/>
                <a:gd name="connsiteY8" fmla="*/ 355843 h 784303"/>
                <a:gd name="connsiteX9" fmla="*/ 1479445 w 1545229"/>
                <a:gd name="connsiteY9" fmla="*/ 500568 h 784303"/>
                <a:gd name="connsiteX10" fmla="*/ 1525494 w 1545229"/>
                <a:gd name="connsiteY10" fmla="*/ 665028 h 784303"/>
                <a:gd name="connsiteX11" fmla="*/ 1545229 w 1545229"/>
                <a:gd name="connsiteY11" fmla="*/ 783440 h 784303"/>
                <a:gd name="connsiteX0" fmla="*/ 0 w 1545229"/>
                <a:gd name="connsiteY0" fmla="*/ 784303 h 784303"/>
                <a:gd name="connsiteX1" fmla="*/ 486104 w 1545229"/>
                <a:gd name="connsiteY1" fmla="*/ 592666 h 784303"/>
                <a:gd name="connsiteX2" fmla="*/ 588768 w 1545229"/>
                <a:gd name="connsiteY2" fmla="*/ 355843 h 784303"/>
                <a:gd name="connsiteX3" fmla="*/ 676878 w 1545229"/>
                <a:gd name="connsiteY3" fmla="*/ 184804 h 784303"/>
                <a:gd name="connsiteX4" fmla="*/ 828181 w 1545229"/>
                <a:gd name="connsiteY4" fmla="*/ 46657 h 784303"/>
                <a:gd name="connsiteX5" fmla="*/ 1005799 w 1545229"/>
                <a:gd name="connsiteY5" fmla="*/ 608 h 784303"/>
                <a:gd name="connsiteX6" fmla="*/ 1209730 w 1545229"/>
                <a:gd name="connsiteY6" fmla="*/ 72971 h 784303"/>
                <a:gd name="connsiteX7" fmla="*/ 1347876 w 1545229"/>
                <a:gd name="connsiteY7" fmla="*/ 211118 h 784303"/>
                <a:gd name="connsiteX8" fmla="*/ 1426817 w 1545229"/>
                <a:gd name="connsiteY8" fmla="*/ 355843 h 784303"/>
                <a:gd name="connsiteX9" fmla="*/ 1479445 w 1545229"/>
                <a:gd name="connsiteY9" fmla="*/ 500568 h 784303"/>
                <a:gd name="connsiteX10" fmla="*/ 1525494 w 1545229"/>
                <a:gd name="connsiteY10" fmla="*/ 665028 h 784303"/>
                <a:gd name="connsiteX11" fmla="*/ 1545229 w 1545229"/>
                <a:gd name="connsiteY11" fmla="*/ 783440 h 784303"/>
                <a:gd name="connsiteX0" fmla="*/ 0 w 1545229"/>
                <a:gd name="connsiteY0" fmla="*/ 784303 h 784303"/>
                <a:gd name="connsiteX1" fmla="*/ 486104 w 1545229"/>
                <a:gd name="connsiteY1" fmla="*/ 592666 h 784303"/>
                <a:gd name="connsiteX2" fmla="*/ 676878 w 1545229"/>
                <a:gd name="connsiteY2" fmla="*/ 184804 h 784303"/>
                <a:gd name="connsiteX3" fmla="*/ 828181 w 1545229"/>
                <a:gd name="connsiteY3" fmla="*/ 46657 h 784303"/>
                <a:gd name="connsiteX4" fmla="*/ 1005799 w 1545229"/>
                <a:gd name="connsiteY4" fmla="*/ 608 h 784303"/>
                <a:gd name="connsiteX5" fmla="*/ 1209730 w 1545229"/>
                <a:gd name="connsiteY5" fmla="*/ 72971 h 784303"/>
                <a:gd name="connsiteX6" fmla="*/ 1347876 w 1545229"/>
                <a:gd name="connsiteY6" fmla="*/ 211118 h 784303"/>
                <a:gd name="connsiteX7" fmla="*/ 1426817 w 1545229"/>
                <a:gd name="connsiteY7" fmla="*/ 355843 h 784303"/>
                <a:gd name="connsiteX8" fmla="*/ 1479445 w 1545229"/>
                <a:gd name="connsiteY8" fmla="*/ 500568 h 784303"/>
                <a:gd name="connsiteX9" fmla="*/ 1525494 w 1545229"/>
                <a:gd name="connsiteY9" fmla="*/ 665028 h 784303"/>
                <a:gd name="connsiteX10" fmla="*/ 1545229 w 1545229"/>
                <a:gd name="connsiteY10" fmla="*/ 783440 h 784303"/>
                <a:gd name="connsiteX0" fmla="*/ 0 w 1545229"/>
                <a:gd name="connsiteY0" fmla="*/ 784303 h 784303"/>
                <a:gd name="connsiteX1" fmla="*/ 486104 w 1545229"/>
                <a:gd name="connsiteY1" fmla="*/ 592666 h 784303"/>
                <a:gd name="connsiteX2" fmla="*/ 676878 w 1545229"/>
                <a:gd name="connsiteY2" fmla="*/ 184804 h 784303"/>
                <a:gd name="connsiteX3" fmla="*/ 828181 w 1545229"/>
                <a:gd name="connsiteY3" fmla="*/ 46657 h 784303"/>
                <a:gd name="connsiteX4" fmla="*/ 1005799 w 1545229"/>
                <a:gd name="connsiteY4" fmla="*/ 608 h 784303"/>
                <a:gd name="connsiteX5" fmla="*/ 1209730 w 1545229"/>
                <a:gd name="connsiteY5" fmla="*/ 72971 h 784303"/>
                <a:gd name="connsiteX6" fmla="*/ 1347876 w 1545229"/>
                <a:gd name="connsiteY6" fmla="*/ 211118 h 784303"/>
                <a:gd name="connsiteX7" fmla="*/ 1426817 w 1545229"/>
                <a:gd name="connsiteY7" fmla="*/ 355843 h 784303"/>
                <a:gd name="connsiteX8" fmla="*/ 1479445 w 1545229"/>
                <a:gd name="connsiteY8" fmla="*/ 500568 h 784303"/>
                <a:gd name="connsiteX9" fmla="*/ 1525494 w 1545229"/>
                <a:gd name="connsiteY9" fmla="*/ 665028 h 784303"/>
                <a:gd name="connsiteX10" fmla="*/ 1545229 w 1545229"/>
                <a:gd name="connsiteY10" fmla="*/ 783440 h 784303"/>
                <a:gd name="connsiteX0" fmla="*/ 0 w 1545229"/>
                <a:gd name="connsiteY0" fmla="*/ 784303 h 784303"/>
                <a:gd name="connsiteX1" fmla="*/ 486104 w 1545229"/>
                <a:gd name="connsiteY1" fmla="*/ 592666 h 784303"/>
                <a:gd name="connsiteX2" fmla="*/ 676878 w 1545229"/>
                <a:gd name="connsiteY2" fmla="*/ 184804 h 784303"/>
                <a:gd name="connsiteX3" fmla="*/ 828181 w 1545229"/>
                <a:gd name="connsiteY3" fmla="*/ 46657 h 784303"/>
                <a:gd name="connsiteX4" fmla="*/ 1005799 w 1545229"/>
                <a:gd name="connsiteY4" fmla="*/ 608 h 784303"/>
                <a:gd name="connsiteX5" fmla="*/ 1209730 w 1545229"/>
                <a:gd name="connsiteY5" fmla="*/ 72971 h 784303"/>
                <a:gd name="connsiteX6" fmla="*/ 1347876 w 1545229"/>
                <a:gd name="connsiteY6" fmla="*/ 211118 h 784303"/>
                <a:gd name="connsiteX7" fmla="*/ 1426817 w 1545229"/>
                <a:gd name="connsiteY7" fmla="*/ 355843 h 784303"/>
                <a:gd name="connsiteX8" fmla="*/ 1479445 w 1545229"/>
                <a:gd name="connsiteY8" fmla="*/ 500568 h 784303"/>
                <a:gd name="connsiteX9" fmla="*/ 1525494 w 1545229"/>
                <a:gd name="connsiteY9" fmla="*/ 665028 h 784303"/>
                <a:gd name="connsiteX10" fmla="*/ 1545229 w 1545229"/>
                <a:gd name="connsiteY10" fmla="*/ 783440 h 784303"/>
                <a:gd name="connsiteX0" fmla="*/ 0 w 1545229"/>
                <a:gd name="connsiteY0" fmla="*/ 859178 h 859178"/>
                <a:gd name="connsiteX1" fmla="*/ 486104 w 1545229"/>
                <a:gd name="connsiteY1" fmla="*/ 667541 h 859178"/>
                <a:gd name="connsiteX2" fmla="*/ 676878 w 1545229"/>
                <a:gd name="connsiteY2" fmla="*/ 259679 h 859178"/>
                <a:gd name="connsiteX3" fmla="*/ 822466 w 1545229"/>
                <a:gd name="connsiteY3" fmla="*/ 7232 h 859178"/>
                <a:gd name="connsiteX4" fmla="*/ 1005799 w 1545229"/>
                <a:gd name="connsiteY4" fmla="*/ 75483 h 859178"/>
                <a:gd name="connsiteX5" fmla="*/ 1209730 w 1545229"/>
                <a:gd name="connsiteY5" fmla="*/ 147846 h 859178"/>
                <a:gd name="connsiteX6" fmla="*/ 1347876 w 1545229"/>
                <a:gd name="connsiteY6" fmla="*/ 285993 h 859178"/>
                <a:gd name="connsiteX7" fmla="*/ 1426817 w 1545229"/>
                <a:gd name="connsiteY7" fmla="*/ 430718 h 859178"/>
                <a:gd name="connsiteX8" fmla="*/ 1479445 w 1545229"/>
                <a:gd name="connsiteY8" fmla="*/ 575443 h 859178"/>
                <a:gd name="connsiteX9" fmla="*/ 1525494 w 1545229"/>
                <a:gd name="connsiteY9" fmla="*/ 739903 h 859178"/>
                <a:gd name="connsiteX10" fmla="*/ 1545229 w 1545229"/>
                <a:gd name="connsiteY10" fmla="*/ 858315 h 859178"/>
                <a:gd name="connsiteX0" fmla="*/ 0 w 1545229"/>
                <a:gd name="connsiteY0" fmla="*/ 888429 h 888429"/>
                <a:gd name="connsiteX1" fmla="*/ 486104 w 1545229"/>
                <a:gd name="connsiteY1" fmla="*/ 696792 h 888429"/>
                <a:gd name="connsiteX2" fmla="*/ 676878 w 1545229"/>
                <a:gd name="connsiteY2" fmla="*/ 288930 h 888429"/>
                <a:gd name="connsiteX3" fmla="*/ 822466 w 1545229"/>
                <a:gd name="connsiteY3" fmla="*/ 36483 h 888429"/>
                <a:gd name="connsiteX4" fmla="*/ 974367 w 1545229"/>
                <a:gd name="connsiteY4" fmla="*/ 16152 h 888429"/>
                <a:gd name="connsiteX5" fmla="*/ 1209730 w 1545229"/>
                <a:gd name="connsiteY5" fmla="*/ 177097 h 888429"/>
                <a:gd name="connsiteX6" fmla="*/ 1347876 w 1545229"/>
                <a:gd name="connsiteY6" fmla="*/ 315244 h 888429"/>
                <a:gd name="connsiteX7" fmla="*/ 1426817 w 1545229"/>
                <a:gd name="connsiteY7" fmla="*/ 459969 h 888429"/>
                <a:gd name="connsiteX8" fmla="*/ 1479445 w 1545229"/>
                <a:gd name="connsiteY8" fmla="*/ 604694 h 888429"/>
                <a:gd name="connsiteX9" fmla="*/ 1525494 w 1545229"/>
                <a:gd name="connsiteY9" fmla="*/ 769154 h 888429"/>
                <a:gd name="connsiteX10" fmla="*/ 1545229 w 1545229"/>
                <a:gd name="connsiteY10" fmla="*/ 887566 h 888429"/>
                <a:gd name="connsiteX0" fmla="*/ 0 w 1545229"/>
                <a:gd name="connsiteY0" fmla="*/ 900711 h 900711"/>
                <a:gd name="connsiteX1" fmla="*/ 486104 w 1545229"/>
                <a:gd name="connsiteY1" fmla="*/ 709074 h 900711"/>
                <a:gd name="connsiteX2" fmla="*/ 676878 w 1545229"/>
                <a:gd name="connsiteY2" fmla="*/ 301212 h 900711"/>
                <a:gd name="connsiteX3" fmla="*/ 822466 w 1545229"/>
                <a:gd name="connsiteY3" fmla="*/ 48765 h 900711"/>
                <a:gd name="connsiteX4" fmla="*/ 974367 w 1545229"/>
                <a:gd name="connsiteY4" fmla="*/ 28434 h 900711"/>
                <a:gd name="connsiteX5" fmla="*/ 1204015 w 1545229"/>
                <a:gd name="connsiteY5" fmla="*/ 360829 h 900711"/>
                <a:gd name="connsiteX6" fmla="*/ 1347876 w 1545229"/>
                <a:gd name="connsiteY6" fmla="*/ 327526 h 900711"/>
                <a:gd name="connsiteX7" fmla="*/ 1426817 w 1545229"/>
                <a:gd name="connsiteY7" fmla="*/ 472251 h 900711"/>
                <a:gd name="connsiteX8" fmla="*/ 1479445 w 1545229"/>
                <a:gd name="connsiteY8" fmla="*/ 616976 h 900711"/>
                <a:gd name="connsiteX9" fmla="*/ 1525494 w 1545229"/>
                <a:gd name="connsiteY9" fmla="*/ 781436 h 900711"/>
                <a:gd name="connsiteX10" fmla="*/ 1545229 w 1545229"/>
                <a:gd name="connsiteY10" fmla="*/ 899848 h 900711"/>
                <a:gd name="connsiteX0" fmla="*/ 0 w 1545229"/>
                <a:gd name="connsiteY0" fmla="*/ 900711 h 900711"/>
                <a:gd name="connsiteX1" fmla="*/ 486104 w 1545229"/>
                <a:gd name="connsiteY1" fmla="*/ 709074 h 900711"/>
                <a:gd name="connsiteX2" fmla="*/ 676878 w 1545229"/>
                <a:gd name="connsiteY2" fmla="*/ 301212 h 900711"/>
                <a:gd name="connsiteX3" fmla="*/ 822466 w 1545229"/>
                <a:gd name="connsiteY3" fmla="*/ 48765 h 900711"/>
                <a:gd name="connsiteX4" fmla="*/ 974367 w 1545229"/>
                <a:gd name="connsiteY4" fmla="*/ 28434 h 900711"/>
                <a:gd name="connsiteX5" fmla="*/ 1204015 w 1545229"/>
                <a:gd name="connsiteY5" fmla="*/ 360829 h 900711"/>
                <a:gd name="connsiteX6" fmla="*/ 1347876 w 1545229"/>
                <a:gd name="connsiteY6" fmla="*/ 327526 h 900711"/>
                <a:gd name="connsiteX7" fmla="*/ 1426817 w 1545229"/>
                <a:gd name="connsiteY7" fmla="*/ 472251 h 900711"/>
                <a:gd name="connsiteX8" fmla="*/ 1479445 w 1545229"/>
                <a:gd name="connsiteY8" fmla="*/ 616976 h 900711"/>
                <a:gd name="connsiteX9" fmla="*/ 1525494 w 1545229"/>
                <a:gd name="connsiteY9" fmla="*/ 781436 h 900711"/>
                <a:gd name="connsiteX10" fmla="*/ 1545229 w 1545229"/>
                <a:gd name="connsiteY10" fmla="*/ 899848 h 900711"/>
                <a:gd name="connsiteX0" fmla="*/ 0 w 2625364"/>
                <a:gd name="connsiteY0" fmla="*/ 900711 h 939853"/>
                <a:gd name="connsiteX1" fmla="*/ 486104 w 2625364"/>
                <a:gd name="connsiteY1" fmla="*/ 709074 h 939853"/>
                <a:gd name="connsiteX2" fmla="*/ 676878 w 2625364"/>
                <a:gd name="connsiteY2" fmla="*/ 301212 h 939853"/>
                <a:gd name="connsiteX3" fmla="*/ 822466 w 2625364"/>
                <a:gd name="connsiteY3" fmla="*/ 48765 h 939853"/>
                <a:gd name="connsiteX4" fmla="*/ 974367 w 2625364"/>
                <a:gd name="connsiteY4" fmla="*/ 28434 h 939853"/>
                <a:gd name="connsiteX5" fmla="*/ 1204015 w 2625364"/>
                <a:gd name="connsiteY5" fmla="*/ 360829 h 939853"/>
                <a:gd name="connsiteX6" fmla="*/ 1347876 w 2625364"/>
                <a:gd name="connsiteY6" fmla="*/ 327526 h 939853"/>
                <a:gd name="connsiteX7" fmla="*/ 1426817 w 2625364"/>
                <a:gd name="connsiteY7" fmla="*/ 472251 h 939853"/>
                <a:gd name="connsiteX8" fmla="*/ 1479445 w 2625364"/>
                <a:gd name="connsiteY8" fmla="*/ 616976 h 939853"/>
                <a:gd name="connsiteX9" fmla="*/ 1525494 w 2625364"/>
                <a:gd name="connsiteY9" fmla="*/ 781436 h 939853"/>
                <a:gd name="connsiteX10" fmla="*/ 2625364 w 2625364"/>
                <a:gd name="connsiteY10" fmla="*/ 939853 h 939853"/>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26817 w 2625364"/>
                <a:gd name="connsiteY7" fmla="*/ 472251 h 914135"/>
                <a:gd name="connsiteX8" fmla="*/ 1479445 w 2625364"/>
                <a:gd name="connsiteY8" fmla="*/ 616976 h 914135"/>
                <a:gd name="connsiteX9" fmla="*/ 1525494 w 2625364"/>
                <a:gd name="connsiteY9" fmla="*/ 781436 h 914135"/>
                <a:gd name="connsiteX10" fmla="*/ 2625364 w 2625364"/>
                <a:gd name="connsiteY10"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26817 w 2625364"/>
                <a:gd name="connsiteY7" fmla="*/ 472251 h 914135"/>
                <a:gd name="connsiteX8" fmla="*/ 1479445 w 2625364"/>
                <a:gd name="connsiteY8" fmla="*/ 616976 h 914135"/>
                <a:gd name="connsiteX9" fmla="*/ 1525494 w 2625364"/>
                <a:gd name="connsiteY9" fmla="*/ 781436 h 914135"/>
                <a:gd name="connsiteX10" fmla="*/ 2625364 w 2625364"/>
                <a:gd name="connsiteY10"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26817 w 2625364"/>
                <a:gd name="connsiteY7" fmla="*/ 472251 h 914135"/>
                <a:gd name="connsiteX8" fmla="*/ 1479445 w 2625364"/>
                <a:gd name="connsiteY8" fmla="*/ 616976 h 914135"/>
                <a:gd name="connsiteX9" fmla="*/ 1648367 w 2625364"/>
                <a:gd name="connsiteY9" fmla="*/ 741431 h 914135"/>
                <a:gd name="connsiteX10" fmla="*/ 2625364 w 2625364"/>
                <a:gd name="connsiteY10"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26817 w 2625364"/>
                <a:gd name="connsiteY7" fmla="*/ 472251 h 914135"/>
                <a:gd name="connsiteX8" fmla="*/ 1479445 w 2625364"/>
                <a:gd name="connsiteY8" fmla="*/ 616976 h 914135"/>
                <a:gd name="connsiteX9" fmla="*/ 1648367 w 2625364"/>
                <a:gd name="connsiteY9" fmla="*/ 741431 h 914135"/>
                <a:gd name="connsiteX10" fmla="*/ 2625364 w 2625364"/>
                <a:gd name="connsiteY10"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26817 w 2625364"/>
                <a:gd name="connsiteY7" fmla="*/ 472251 h 914135"/>
                <a:gd name="connsiteX8" fmla="*/ 1479445 w 2625364"/>
                <a:gd name="connsiteY8" fmla="*/ 616976 h 914135"/>
                <a:gd name="connsiteX9" fmla="*/ 1648367 w 2625364"/>
                <a:gd name="connsiteY9" fmla="*/ 741431 h 914135"/>
                <a:gd name="connsiteX10" fmla="*/ 2625364 w 2625364"/>
                <a:gd name="connsiteY10"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347876 w 2625364"/>
                <a:gd name="connsiteY6" fmla="*/ 327526 h 914135"/>
                <a:gd name="connsiteX7" fmla="*/ 1479445 w 2625364"/>
                <a:gd name="connsiteY7" fmla="*/ 616976 h 914135"/>
                <a:gd name="connsiteX8" fmla="*/ 1648367 w 2625364"/>
                <a:gd name="connsiteY8" fmla="*/ 741431 h 914135"/>
                <a:gd name="connsiteX9" fmla="*/ 2625364 w 2625364"/>
                <a:gd name="connsiteY9"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479445 w 2625364"/>
                <a:gd name="connsiteY6" fmla="*/ 616976 h 914135"/>
                <a:gd name="connsiteX7" fmla="*/ 1648367 w 2625364"/>
                <a:gd name="connsiteY7" fmla="*/ 741431 h 914135"/>
                <a:gd name="connsiteX8" fmla="*/ 2625364 w 2625364"/>
                <a:gd name="connsiteY8"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416580 w 2625364"/>
                <a:gd name="connsiteY6" fmla="*/ 619833 h 914135"/>
                <a:gd name="connsiteX7" fmla="*/ 1648367 w 2625364"/>
                <a:gd name="connsiteY7" fmla="*/ 741431 h 914135"/>
                <a:gd name="connsiteX8" fmla="*/ 2625364 w 2625364"/>
                <a:gd name="connsiteY8"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416580 w 2625364"/>
                <a:gd name="connsiteY6" fmla="*/ 619833 h 914135"/>
                <a:gd name="connsiteX7" fmla="*/ 1648367 w 2625364"/>
                <a:gd name="connsiteY7" fmla="*/ 741431 h 914135"/>
                <a:gd name="connsiteX8" fmla="*/ 2625364 w 2625364"/>
                <a:gd name="connsiteY8"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416580 w 2625364"/>
                <a:gd name="connsiteY6" fmla="*/ 619833 h 914135"/>
                <a:gd name="connsiteX7" fmla="*/ 1648367 w 2625364"/>
                <a:gd name="connsiteY7" fmla="*/ 741431 h 914135"/>
                <a:gd name="connsiteX8" fmla="*/ 2625364 w 2625364"/>
                <a:gd name="connsiteY8" fmla="*/ 914135 h 914135"/>
                <a:gd name="connsiteX0" fmla="*/ 0 w 2625364"/>
                <a:gd name="connsiteY0" fmla="*/ 900711 h 914135"/>
                <a:gd name="connsiteX1" fmla="*/ 486104 w 2625364"/>
                <a:gd name="connsiteY1" fmla="*/ 709074 h 914135"/>
                <a:gd name="connsiteX2" fmla="*/ 676878 w 2625364"/>
                <a:gd name="connsiteY2" fmla="*/ 301212 h 914135"/>
                <a:gd name="connsiteX3" fmla="*/ 822466 w 2625364"/>
                <a:gd name="connsiteY3" fmla="*/ 48765 h 914135"/>
                <a:gd name="connsiteX4" fmla="*/ 974367 w 2625364"/>
                <a:gd name="connsiteY4" fmla="*/ 28434 h 914135"/>
                <a:gd name="connsiteX5" fmla="*/ 1204015 w 2625364"/>
                <a:gd name="connsiteY5" fmla="*/ 360829 h 914135"/>
                <a:gd name="connsiteX6" fmla="*/ 1416580 w 2625364"/>
                <a:gd name="connsiteY6" fmla="*/ 619833 h 914135"/>
                <a:gd name="connsiteX7" fmla="*/ 1654082 w 2625364"/>
                <a:gd name="connsiteY7" fmla="*/ 755719 h 914135"/>
                <a:gd name="connsiteX8" fmla="*/ 2625364 w 2625364"/>
                <a:gd name="connsiteY8" fmla="*/ 914135 h 914135"/>
                <a:gd name="connsiteX0" fmla="*/ 0 w 2625364"/>
                <a:gd name="connsiteY0" fmla="*/ 900065 h 913489"/>
                <a:gd name="connsiteX1" fmla="*/ 486104 w 2625364"/>
                <a:gd name="connsiteY1" fmla="*/ 708428 h 913489"/>
                <a:gd name="connsiteX2" fmla="*/ 671163 w 2625364"/>
                <a:gd name="connsiteY2" fmla="*/ 286278 h 913489"/>
                <a:gd name="connsiteX3" fmla="*/ 822466 w 2625364"/>
                <a:gd name="connsiteY3" fmla="*/ 48119 h 913489"/>
                <a:gd name="connsiteX4" fmla="*/ 974367 w 2625364"/>
                <a:gd name="connsiteY4" fmla="*/ 27788 h 913489"/>
                <a:gd name="connsiteX5" fmla="*/ 1204015 w 2625364"/>
                <a:gd name="connsiteY5" fmla="*/ 360183 h 913489"/>
                <a:gd name="connsiteX6" fmla="*/ 1416580 w 2625364"/>
                <a:gd name="connsiteY6" fmla="*/ 619187 h 913489"/>
                <a:gd name="connsiteX7" fmla="*/ 1654082 w 2625364"/>
                <a:gd name="connsiteY7" fmla="*/ 755073 h 913489"/>
                <a:gd name="connsiteX8" fmla="*/ 2625364 w 2625364"/>
                <a:gd name="connsiteY8" fmla="*/ 913489 h 913489"/>
                <a:gd name="connsiteX0" fmla="*/ 0 w 2625364"/>
                <a:gd name="connsiteY0" fmla="*/ 900065 h 913489"/>
                <a:gd name="connsiteX1" fmla="*/ 486104 w 2625364"/>
                <a:gd name="connsiteY1" fmla="*/ 708428 h 913489"/>
                <a:gd name="connsiteX2" fmla="*/ 671163 w 2625364"/>
                <a:gd name="connsiteY2" fmla="*/ 286278 h 913489"/>
                <a:gd name="connsiteX3" fmla="*/ 822466 w 2625364"/>
                <a:gd name="connsiteY3" fmla="*/ 48119 h 913489"/>
                <a:gd name="connsiteX4" fmla="*/ 974367 w 2625364"/>
                <a:gd name="connsiteY4" fmla="*/ 27788 h 913489"/>
                <a:gd name="connsiteX5" fmla="*/ 1204015 w 2625364"/>
                <a:gd name="connsiteY5" fmla="*/ 360183 h 913489"/>
                <a:gd name="connsiteX6" fmla="*/ 1416580 w 2625364"/>
                <a:gd name="connsiteY6" fmla="*/ 619187 h 913489"/>
                <a:gd name="connsiteX7" fmla="*/ 1654082 w 2625364"/>
                <a:gd name="connsiteY7" fmla="*/ 755073 h 913489"/>
                <a:gd name="connsiteX8" fmla="*/ 2625364 w 2625364"/>
                <a:gd name="connsiteY8" fmla="*/ 913489 h 913489"/>
                <a:gd name="connsiteX0" fmla="*/ 0 w 2625364"/>
                <a:gd name="connsiteY0" fmla="*/ 900065 h 913489"/>
                <a:gd name="connsiteX1" fmla="*/ 486104 w 2625364"/>
                <a:gd name="connsiteY1" fmla="*/ 708428 h 913489"/>
                <a:gd name="connsiteX2" fmla="*/ 671163 w 2625364"/>
                <a:gd name="connsiteY2" fmla="*/ 286278 h 913489"/>
                <a:gd name="connsiteX3" fmla="*/ 822466 w 2625364"/>
                <a:gd name="connsiteY3" fmla="*/ 48119 h 913489"/>
                <a:gd name="connsiteX4" fmla="*/ 974367 w 2625364"/>
                <a:gd name="connsiteY4" fmla="*/ 27788 h 913489"/>
                <a:gd name="connsiteX5" fmla="*/ 1204015 w 2625364"/>
                <a:gd name="connsiteY5" fmla="*/ 360183 h 913489"/>
                <a:gd name="connsiteX6" fmla="*/ 1416580 w 2625364"/>
                <a:gd name="connsiteY6" fmla="*/ 619187 h 913489"/>
                <a:gd name="connsiteX7" fmla="*/ 1654082 w 2625364"/>
                <a:gd name="connsiteY7" fmla="*/ 755073 h 913489"/>
                <a:gd name="connsiteX8" fmla="*/ 2625364 w 2625364"/>
                <a:gd name="connsiteY8" fmla="*/ 913489 h 913489"/>
                <a:gd name="connsiteX0" fmla="*/ 0 w 2625364"/>
                <a:gd name="connsiteY0" fmla="*/ 900065 h 913489"/>
                <a:gd name="connsiteX1" fmla="*/ 486104 w 2625364"/>
                <a:gd name="connsiteY1" fmla="*/ 708428 h 913489"/>
                <a:gd name="connsiteX2" fmla="*/ 671163 w 2625364"/>
                <a:gd name="connsiteY2" fmla="*/ 286278 h 913489"/>
                <a:gd name="connsiteX3" fmla="*/ 822466 w 2625364"/>
                <a:gd name="connsiteY3" fmla="*/ 48119 h 913489"/>
                <a:gd name="connsiteX4" fmla="*/ 974367 w 2625364"/>
                <a:gd name="connsiteY4" fmla="*/ 27788 h 913489"/>
                <a:gd name="connsiteX5" fmla="*/ 1204015 w 2625364"/>
                <a:gd name="connsiteY5" fmla="*/ 360183 h 913489"/>
                <a:gd name="connsiteX6" fmla="*/ 1416580 w 2625364"/>
                <a:gd name="connsiteY6" fmla="*/ 619187 h 913489"/>
                <a:gd name="connsiteX7" fmla="*/ 1654082 w 2625364"/>
                <a:gd name="connsiteY7" fmla="*/ 755073 h 913489"/>
                <a:gd name="connsiteX8" fmla="*/ 2625364 w 2625364"/>
                <a:gd name="connsiteY8" fmla="*/ 913489 h 913489"/>
                <a:gd name="connsiteX0" fmla="*/ 0 w 2625364"/>
                <a:gd name="connsiteY0" fmla="*/ 897186 h 910610"/>
                <a:gd name="connsiteX1" fmla="*/ 486104 w 2625364"/>
                <a:gd name="connsiteY1" fmla="*/ 705549 h 910610"/>
                <a:gd name="connsiteX2" fmla="*/ 671163 w 2625364"/>
                <a:gd name="connsiteY2" fmla="*/ 283399 h 910610"/>
                <a:gd name="connsiteX3" fmla="*/ 822466 w 2625364"/>
                <a:gd name="connsiteY3" fmla="*/ 45240 h 910610"/>
                <a:gd name="connsiteX4" fmla="*/ 974367 w 2625364"/>
                <a:gd name="connsiteY4" fmla="*/ 24909 h 910610"/>
                <a:gd name="connsiteX5" fmla="*/ 1204015 w 2625364"/>
                <a:gd name="connsiteY5" fmla="*/ 357304 h 910610"/>
                <a:gd name="connsiteX6" fmla="*/ 1416580 w 2625364"/>
                <a:gd name="connsiteY6" fmla="*/ 616308 h 910610"/>
                <a:gd name="connsiteX7" fmla="*/ 1654082 w 2625364"/>
                <a:gd name="connsiteY7" fmla="*/ 752194 h 910610"/>
                <a:gd name="connsiteX8" fmla="*/ 2625364 w 2625364"/>
                <a:gd name="connsiteY8" fmla="*/ 910610 h 910610"/>
                <a:gd name="connsiteX0" fmla="*/ 0 w 2625364"/>
                <a:gd name="connsiteY0" fmla="*/ 894649 h 908073"/>
                <a:gd name="connsiteX1" fmla="*/ 486104 w 2625364"/>
                <a:gd name="connsiteY1" fmla="*/ 703012 h 908073"/>
                <a:gd name="connsiteX2" fmla="*/ 671163 w 2625364"/>
                <a:gd name="connsiteY2" fmla="*/ 280862 h 908073"/>
                <a:gd name="connsiteX3" fmla="*/ 822466 w 2625364"/>
                <a:gd name="connsiteY3" fmla="*/ 42703 h 908073"/>
                <a:gd name="connsiteX4" fmla="*/ 974367 w 2625364"/>
                <a:gd name="connsiteY4" fmla="*/ 22372 h 908073"/>
                <a:gd name="connsiteX5" fmla="*/ 1204015 w 2625364"/>
                <a:gd name="connsiteY5" fmla="*/ 354767 h 908073"/>
                <a:gd name="connsiteX6" fmla="*/ 1416580 w 2625364"/>
                <a:gd name="connsiteY6" fmla="*/ 613771 h 908073"/>
                <a:gd name="connsiteX7" fmla="*/ 1654082 w 2625364"/>
                <a:gd name="connsiteY7" fmla="*/ 749657 h 908073"/>
                <a:gd name="connsiteX8" fmla="*/ 2625364 w 2625364"/>
                <a:gd name="connsiteY8" fmla="*/ 908073 h 908073"/>
                <a:gd name="connsiteX0" fmla="*/ 0 w 2625364"/>
                <a:gd name="connsiteY0" fmla="*/ 894649 h 908073"/>
                <a:gd name="connsiteX1" fmla="*/ 486104 w 2625364"/>
                <a:gd name="connsiteY1" fmla="*/ 703012 h 908073"/>
                <a:gd name="connsiteX2" fmla="*/ 671163 w 2625364"/>
                <a:gd name="connsiteY2" fmla="*/ 280862 h 908073"/>
                <a:gd name="connsiteX3" fmla="*/ 822466 w 2625364"/>
                <a:gd name="connsiteY3" fmla="*/ 42703 h 908073"/>
                <a:gd name="connsiteX4" fmla="*/ 974367 w 2625364"/>
                <a:gd name="connsiteY4" fmla="*/ 22372 h 908073"/>
                <a:gd name="connsiteX5" fmla="*/ 1204015 w 2625364"/>
                <a:gd name="connsiteY5" fmla="*/ 354767 h 908073"/>
                <a:gd name="connsiteX6" fmla="*/ 1416580 w 2625364"/>
                <a:gd name="connsiteY6" fmla="*/ 613771 h 908073"/>
                <a:gd name="connsiteX7" fmla="*/ 1654082 w 2625364"/>
                <a:gd name="connsiteY7" fmla="*/ 749657 h 908073"/>
                <a:gd name="connsiteX8" fmla="*/ 2625364 w 2625364"/>
                <a:gd name="connsiteY8" fmla="*/ 908073 h 908073"/>
                <a:gd name="connsiteX0" fmla="*/ 0 w 2625364"/>
                <a:gd name="connsiteY0" fmla="*/ 890845 h 904269"/>
                <a:gd name="connsiteX1" fmla="*/ 486104 w 2625364"/>
                <a:gd name="connsiteY1" fmla="*/ 699208 h 904269"/>
                <a:gd name="connsiteX2" fmla="*/ 671163 w 2625364"/>
                <a:gd name="connsiteY2" fmla="*/ 277058 h 904269"/>
                <a:gd name="connsiteX3" fmla="*/ 822466 w 2625364"/>
                <a:gd name="connsiteY3" fmla="*/ 38899 h 904269"/>
                <a:gd name="connsiteX4" fmla="*/ 974367 w 2625364"/>
                <a:gd name="connsiteY4" fmla="*/ 18568 h 904269"/>
                <a:gd name="connsiteX5" fmla="*/ 1204015 w 2625364"/>
                <a:gd name="connsiteY5" fmla="*/ 350963 h 904269"/>
                <a:gd name="connsiteX6" fmla="*/ 1416580 w 2625364"/>
                <a:gd name="connsiteY6" fmla="*/ 609967 h 904269"/>
                <a:gd name="connsiteX7" fmla="*/ 1654082 w 2625364"/>
                <a:gd name="connsiteY7" fmla="*/ 745853 h 904269"/>
                <a:gd name="connsiteX8" fmla="*/ 2625364 w 2625364"/>
                <a:gd name="connsiteY8" fmla="*/ 904269 h 904269"/>
                <a:gd name="connsiteX0" fmla="*/ 0 w 2625364"/>
                <a:gd name="connsiteY0" fmla="*/ 893828 h 907252"/>
                <a:gd name="connsiteX1" fmla="*/ 486104 w 2625364"/>
                <a:gd name="connsiteY1" fmla="*/ 702191 h 907252"/>
                <a:gd name="connsiteX2" fmla="*/ 671163 w 2625364"/>
                <a:gd name="connsiteY2" fmla="*/ 280041 h 907252"/>
                <a:gd name="connsiteX3" fmla="*/ 822466 w 2625364"/>
                <a:gd name="connsiteY3" fmla="*/ 41882 h 907252"/>
                <a:gd name="connsiteX4" fmla="*/ 974367 w 2625364"/>
                <a:gd name="connsiteY4" fmla="*/ 21551 h 907252"/>
                <a:gd name="connsiteX5" fmla="*/ 1204015 w 2625364"/>
                <a:gd name="connsiteY5" fmla="*/ 353946 h 907252"/>
                <a:gd name="connsiteX6" fmla="*/ 1416580 w 2625364"/>
                <a:gd name="connsiteY6" fmla="*/ 612950 h 907252"/>
                <a:gd name="connsiteX7" fmla="*/ 1654082 w 2625364"/>
                <a:gd name="connsiteY7" fmla="*/ 748836 h 907252"/>
                <a:gd name="connsiteX8" fmla="*/ 2625364 w 2625364"/>
                <a:gd name="connsiteY8" fmla="*/ 907252 h 907252"/>
                <a:gd name="connsiteX0" fmla="*/ 0 w 2625364"/>
                <a:gd name="connsiteY0" fmla="*/ 893828 h 907252"/>
                <a:gd name="connsiteX1" fmla="*/ 486104 w 2625364"/>
                <a:gd name="connsiteY1" fmla="*/ 702191 h 907252"/>
                <a:gd name="connsiteX2" fmla="*/ 671163 w 2625364"/>
                <a:gd name="connsiteY2" fmla="*/ 280041 h 907252"/>
                <a:gd name="connsiteX3" fmla="*/ 822466 w 2625364"/>
                <a:gd name="connsiteY3" fmla="*/ 41882 h 907252"/>
                <a:gd name="connsiteX4" fmla="*/ 974367 w 2625364"/>
                <a:gd name="connsiteY4" fmla="*/ 21551 h 907252"/>
                <a:gd name="connsiteX5" fmla="*/ 1204015 w 2625364"/>
                <a:gd name="connsiteY5" fmla="*/ 353946 h 907252"/>
                <a:gd name="connsiteX6" fmla="*/ 1416580 w 2625364"/>
                <a:gd name="connsiteY6" fmla="*/ 612950 h 907252"/>
                <a:gd name="connsiteX7" fmla="*/ 1654082 w 2625364"/>
                <a:gd name="connsiteY7" fmla="*/ 748836 h 907252"/>
                <a:gd name="connsiteX8" fmla="*/ 2625364 w 2625364"/>
                <a:gd name="connsiteY8" fmla="*/ 907252 h 907252"/>
                <a:gd name="connsiteX0" fmla="*/ 0 w 2625364"/>
                <a:gd name="connsiteY0" fmla="*/ 895500 h 908924"/>
                <a:gd name="connsiteX1" fmla="*/ 486104 w 2625364"/>
                <a:gd name="connsiteY1" fmla="*/ 703863 h 908924"/>
                <a:gd name="connsiteX2" fmla="*/ 671163 w 2625364"/>
                <a:gd name="connsiteY2" fmla="*/ 281713 h 908924"/>
                <a:gd name="connsiteX3" fmla="*/ 822466 w 2625364"/>
                <a:gd name="connsiteY3" fmla="*/ 43554 h 908924"/>
                <a:gd name="connsiteX4" fmla="*/ 974367 w 2625364"/>
                <a:gd name="connsiteY4" fmla="*/ 23223 h 908924"/>
                <a:gd name="connsiteX5" fmla="*/ 1204015 w 2625364"/>
                <a:gd name="connsiteY5" fmla="*/ 355618 h 908924"/>
                <a:gd name="connsiteX6" fmla="*/ 1416580 w 2625364"/>
                <a:gd name="connsiteY6" fmla="*/ 614622 h 908924"/>
                <a:gd name="connsiteX7" fmla="*/ 1654082 w 2625364"/>
                <a:gd name="connsiteY7" fmla="*/ 750508 h 908924"/>
                <a:gd name="connsiteX8" fmla="*/ 2625364 w 2625364"/>
                <a:gd name="connsiteY8" fmla="*/ 908924 h 908924"/>
                <a:gd name="connsiteX0" fmla="*/ 0 w 2625364"/>
                <a:gd name="connsiteY0" fmla="*/ 888931 h 902355"/>
                <a:gd name="connsiteX1" fmla="*/ 486104 w 2625364"/>
                <a:gd name="connsiteY1" fmla="*/ 697294 h 902355"/>
                <a:gd name="connsiteX2" fmla="*/ 671163 w 2625364"/>
                <a:gd name="connsiteY2" fmla="*/ 275144 h 902355"/>
                <a:gd name="connsiteX3" fmla="*/ 822466 w 2625364"/>
                <a:gd name="connsiteY3" fmla="*/ 36985 h 902355"/>
                <a:gd name="connsiteX4" fmla="*/ 974367 w 2625364"/>
                <a:gd name="connsiteY4" fmla="*/ 16654 h 902355"/>
                <a:gd name="connsiteX5" fmla="*/ 1204015 w 2625364"/>
                <a:gd name="connsiteY5" fmla="*/ 349049 h 902355"/>
                <a:gd name="connsiteX6" fmla="*/ 1416580 w 2625364"/>
                <a:gd name="connsiteY6" fmla="*/ 608053 h 902355"/>
                <a:gd name="connsiteX7" fmla="*/ 1654082 w 2625364"/>
                <a:gd name="connsiteY7" fmla="*/ 743939 h 902355"/>
                <a:gd name="connsiteX8" fmla="*/ 2625364 w 2625364"/>
                <a:gd name="connsiteY8" fmla="*/ 902355 h 90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5364" h="902355">
                  <a:moveTo>
                    <a:pt x="0" y="888931"/>
                  </a:moveTo>
                  <a:cubicBezTo>
                    <a:pt x="126360" y="883586"/>
                    <a:pt x="368528" y="908177"/>
                    <a:pt x="486104" y="697294"/>
                  </a:cubicBezTo>
                  <a:cubicBezTo>
                    <a:pt x="603680" y="486411"/>
                    <a:pt x="615103" y="385196"/>
                    <a:pt x="671163" y="275144"/>
                  </a:cubicBezTo>
                  <a:cubicBezTo>
                    <a:pt x="727223" y="165092"/>
                    <a:pt x="797650" y="60065"/>
                    <a:pt x="822466" y="36985"/>
                  </a:cubicBezTo>
                  <a:cubicBezTo>
                    <a:pt x="847282" y="13905"/>
                    <a:pt x="885059" y="-21069"/>
                    <a:pt x="974367" y="16654"/>
                  </a:cubicBezTo>
                  <a:cubicBezTo>
                    <a:pt x="1063675" y="54377"/>
                    <a:pt x="1130313" y="250483"/>
                    <a:pt x="1204015" y="349049"/>
                  </a:cubicBezTo>
                  <a:cubicBezTo>
                    <a:pt x="1277717" y="447615"/>
                    <a:pt x="1341569" y="542238"/>
                    <a:pt x="1416580" y="608053"/>
                  </a:cubicBezTo>
                  <a:cubicBezTo>
                    <a:pt x="1491591" y="673868"/>
                    <a:pt x="1528818" y="699652"/>
                    <a:pt x="1654082" y="743939"/>
                  </a:cubicBezTo>
                  <a:cubicBezTo>
                    <a:pt x="1790777" y="785369"/>
                    <a:pt x="2212355" y="889581"/>
                    <a:pt x="2625364" y="902355"/>
                  </a:cubicBezTo>
                </a:path>
              </a:pathLst>
            </a:custGeom>
            <a:noFill/>
            <a:ln w="28575" cap="flat" cmpd="sng" algn="ctr">
              <a:solidFill>
                <a:srgbClr val="FF6120"/>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cxnSp>
          <p:nvCxnSpPr>
            <p:cNvPr id="24" name="Straight Connector 23">
              <a:extLst>
                <a:ext uri="{FF2B5EF4-FFF2-40B4-BE49-F238E27FC236}">
                  <a16:creationId xmlns:a16="http://schemas.microsoft.com/office/drawing/2014/main" id="{3A47DAEE-B370-1A7A-FECC-DE6F36D40FFA}"/>
                </a:ext>
              </a:extLst>
            </p:cNvPr>
            <p:cNvCxnSpPr>
              <a:cxnSpLocks/>
            </p:cNvCxnSpPr>
            <p:nvPr/>
          </p:nvCxnSpPr>
          <p:spPr>
            <a:xfrm>
              <a:off x="2937510" y="1783076"/>
              <a:ext cx="0" cy="911543"/>
            </a:xfrm>
            <a:prstGeom prst="line">
              <a:avLst/>
            </a:prstGeom>
            <a:noFill/>
            <a:ln w="12700" cap="flat" cmpd="sng" algn="ctr">
              <a:solidFill>
                <a:srgbClr val="FFC22C">
                  <a:shade val="95000"/>
                  <a:satMod val="105000"/>
                </a:srgbClr>
              </a:solidFill>
              <a:prstDash val="dash"/>
              <a:headEnd type="none"/>
              <a:tailEnd type="none"/>
            </a:ln>
            <a:effectLst/>
          </p:spPr>
        </p:cxnSp>
        <p:cxnSp>
          <p:nvCxnSpPr>
            <p:cNvPr id="25" name="Straight Connector 24">
              <a:extLst>
                <a:ext uri="{FF2B5EF4-FFF2-40B4-BE49-F238E27FC236}">
                  <a16:creationId xmlns:a16="http://schemas.microsoft.com/office/drawing/2014/main" id="{9515BB3B-07E6-8B28-F881-78FD053EDC84}"/>
                </a:ext>
              </a:extLst>
            </p:cNvPr>
            <p:cNvCxnSpPr>
              <a:cxnSpLocks/>
            </p:cNvCxnSpPr>
            <p:nvPr/>
          </p:nvCxnSpPr>
          <p:spPr>
            <a:xfrm>
              <a:off x="3068955" y="1783076"/>
              <a:ext cx="0" cy="911543"/>
            </a:xfrm>
            <a:prstGeom prst="line">
              <a:avLst/>
            </a:prstGeom>
            <a:noFill/>
            <a:ln w="12700" cap="flat" cmpd="sng" algn="ctr">
              <a:solidFill>
                <a:srgbClr val="FFC22C">
                  <a:shade val="95000"/>
                  <a:satMod val="105000"/>
                </a:srgbClr>
              </a:solidFill>
              <a:prstDash val="dash"/>
              <a:headEnd type="none"/>
              <a:tailEnd type="none"/>
            </a:ln>
            <a:effectLst/>
          </p:spPr>
        </p:cxnSp>
        <p:cxnSp>
          <p:nvCxnSpPr>
            <p:cNvPr id="26" name="Straight Connector 25">
              <a:extLst>
                <a:ext uri="{FF2B5EF4-FFF2-40B4-BE49-F238E27FC236}">
                  <a16:creationId xmlns:a16="http://schemas.microsoft.com/office/drawing/2014/main" id="{8D8EFB9C-828F-0037-05B6-038EA26C9759}"/>
                </a:ext>
              </a:extLst>
            </p:cNvPr>
            <p:cNvCxnSpPr>
              <a:cxnSpLocks/>
            </p:cNvCxnSpPr>
            <p:nvPr/>
          </p:nvCxnSpPr>
          <p:spPr>
            <a:xfrm>
              <a:off x="3203257" y="1783076"/>
              <a:ext cx="0" cy="911543"/>
            </a:xfrm>
            <a:prstGeom prst="line">
              <a:avLst/>
            </a:prstGeom>
            <a:noFill/>
            <a:ln w="12700" cap="flat" cmpd="sng" algn="ctr">
              <a:solidFill>
                <a:srgbClr val="FFC22C">
                  <a:shade val="95000"/>
                  <a:satMod val="105000"/>
                </a:srgbClr>
              </a:solidFill>
              <a:prstDash val="dash"/>
              <a:headEnd type="none"/>
              <a:tailEnd type="none"/>
            </a:ln>
            <a:effectLst/>
          </p:spPr>
        </p:cxnSp>
        <p:sp>
          <p:nvSpPr>
            <p:cNvPr id="30" name="TextBox 29">
              <a:extLst>
                <a:ext uri="{FF2B5EF4-FFF2-40B4-BE49-F238E27FC236}">
                  <a16:creationId xmlns:a16="http://schemas.microsoft.com/office/drawing/2014/main" id="{CFE185DA-2505-EA6C-370B-FE6850E5503A}"/>
                </a:ext>
              </a:extLst>
            </p:cNvPr>
            <p:cNvSpPr txBox="1">
              <a:spLocks/>
            </p:cNvSpPr>
            <p:nvPr/>
          </p:nvSpPr>
          <p:spPr>
            <a:xfrm rot="16200000">
              <a:off x="3009170" y="2463777"/>
              <a:ext cx="216043" cy="194220"/>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Mean</a:t>
              </a:r>
            </a:p>
          </p:txBody>
        </p:sp>
        <p:sp>
          <p:nvSpPr>
            <p:cNvPr id="32" name="TextBox 31">
              <a:extLst>
                <a:ext uri="{FF2B5EF4-FFF2-40B4-BE49-F238E27FC236}">
                  <a16:creationId xmlns:a16="http://schemas.microsoft.com/office/drawing/2014/main" id="{265638E3-DF9B-B5CC-63F7-6C36648FF9F8}"/>
                </a:ext>
              </a:extLst>
            </p:cNvPr>
            <p:cNvSpPr txBox="1">
              <a:spLocks/>
            </p:cNvSpPr>
            <p:nvPr/>
          </p:nvSpPr>
          <p:spPr>
            <a:xfrm rot="16200000">
              <a:off x="2853137" y="2433318"/>
              <a:ext cx="290655" cy="194220"/>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Median</a:t>
              </a:r>
            </a:p>
          </p:txBody>
        </p:sp>
        <p:sp>
          <p:nvSpPr>
            <p:cNvPr id="33" name="TextBox 32">
              <a:extLst>
                <a:ext uri="{FF2B5EF4-FFF2-40B4-BE49-F238E27FC236}">
                  <a16:creationId xmlns:a16="http://schemas.microsoft.com/office/drawing/2014/main" id="{5DA02044-644B-452B-2353-6A10CD7BAEC4}"/>
                </a:ext>
              </a:extLst>
            </p:cNvPr>
            <p:cNvSpPr txBox="1">
              <a:spLocks/>
            </p:cNvSpPr>
            <p:nvPr/>
          </p:nvSpPr>
          <p:spPr>
            <a:xfrm rot="16200000">
              <a:off x="2737568" y="2463777"/>
              <a:ext cx="227179" cy="194220"/>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Mode</a:t>
              </a:r>
            </a:p>
          </p:txBody>
        </p:sp>
        <p:sp>
          <p:nvSpPr>
            <p:cNvPr id="34" name="TextBox 33">
              <a:extLst>
                <a:ext uri="{FF2B5EF4-FFF2-40B4-BE49-F238E27FC236}">
                  <a16:creationId xmlns:a16="http://schemas.microsoft.com/office/drawing/2014/main" id="{61BD8AD8-C816-6E53-12F6-492B7E83D57C}"/>
                </a:ext>
              </a:extLst>
            </p:cNvPr>
            <p:cNvSpPr txBox="1">
              <a:spLocks/>
            </p:cNvSpPr>
            <p:nvPr/>
          </p:nvSpPr>
          <p:spPr>
            <a:xfrm>
              <a:off x="3049703" y="1268362"/>
              <a:ext cx="52" cy="177909"/>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dirty="0">
                <a:ln>
                  <a:noFill/>
                </a:ln>
                <a:solidFill>
                  <a:srgbClr val="353535"/>
                </a:solidFill>
                <a:effectLst/>
                <a:uLnTx/>
                <a:uFillTx/>
                <a:latin typeface="Avenir Next LT Pro"/>
                <a:ea typeface="+mn-ea"/>
                <a:cs typeface="Arial" charset="0"/>
              </a:endParaRPr>
            </a:p>
          </p:txBody>
        </p:sp>
        <p:sp>
          <p:nvSpPr>
            <p:cNvPr id="35" name="Freeform: Shape 3">
              <a:extLst>
                <a:ext uri="{FF2B5EF4-FFF2-40B4-BE49-F238E27FC236}">
                  <a16:creationId xmlns:a16="http://schemas.microsoft.com/office/drawing/2014/main" id="{44850E67-1B23-8B68-4D33-088C255FC976}"/>
                </a:ext>
              </a:extLst>
            </p:cNvPr>
            <p:cNvSpPr>
              <a:spLocks/>
            </p:cNvSpPr>
            <p:nvPr/>
          </p:nvSpPr>
          <p:spPr>
            <a:xfrm>
              <a:off x="2043290" y="1670885"/>
              <a:ext cx="1776173" cy="1013392"/>
            </a:xfrm>
            <a:custGeom>
              <a:avLst/>
              <a:gdLst>
                <a:gd name="connsiteX0" fmla="*/ 0 w 1776173"/>
                <a:gd name="connsiteY0" fmla="*/ 1020652 h 1020935"/>
                <a:gd name="connsiteX1" fmla="*/ 282872 w 1776173"/>
                <a:gd name="connsiteY1" fmla="*/ 954868 h 1020935"/>
                <a:gd name="connsiteX2" fmla="*/ 493382 w 1776173"/>
                <a:gd name="connsiteY2" fmla="*/ 691731 h 1020935"/>
                <a:gd name="connsiteX3" fmla="*/ 644685 w 1776173"/>
                <a:gd name="connsiteY3" fmla="*/ 349654 h 1020935"/>
                <a:gd name="connsiteX4" fmla="*/ 763097 w 1776173"/>
                <a:gd name="connsiteY4" fmla="*/ 106252 h 1020935"/>
                <a:gd name="connsiteX5" fmla="*/ 861773 w 1776173"/>
                <a:gd name="connsiteY5" fmla="*/ 7576 h 1020935"/>
                <a:gd name="connsiteX6" fmla="*/ 920979 w 1776173"/>
                <a:gd name="connsiteY6" fmla="*/ 14154 h 1020935"/>
                <a:gd name="connsiteX7" fmla="*/ 1013077 w 1776173"/>
                <a:gd name="connsiteY7" fmla="*/ 73360 h 1020935"/>
                <a:gd name="connsiteX8" fmla="*/ 1085439 w 1776173"/>
                <a:gd name="connsiteY8" fmla="*/ 237821 h 1020935"/>
                <a:gd name="connsiteX9" fmla="*/ 1249900 w 1776173"/>
                <a:gd name="connsiteY9" fmla="*/ 547006 h 1020935"/>
                <a:gd name="connsiteX10" fmla="*/ 1348576 w 1776173"/>
                <a:gd name="connsiteY10" fmla="*/ 777251 h 1020935"/>
                <a:gd name="connsiteX11" fmla="*/ 1427517 w 1776173"/>
                <a:gd name="connsiteY11" fmla="*/ 889084 h 1020935"/>
                <a:gd name="connsiteX12" fmla="*/ 1545928 w 1776173"/>
                <a:gd name="connsiteY12" fmla="*/ 974603 h 1020935"/>
                <a:gd name="connsiteX13" fmla="*/ 1677497 w 1776173"/>
                <a:gd name="connsiteY13" fmla="*/ 1014074 h 1020935"/>
                <a:gd name="connsiteX14" fmla="*/ 1776173 w 1776173"/>
                <a:gd name="connsiteY14" fmla="*/ 1020652 h 1020935"/>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85439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5137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35612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617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998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326 h 1013609"/>
                <a:gd name="connsiteX1" fmla="*/ 282872 w 1776173"/>
                <a:gd name="connsiteY1" fmla="*/ 947542 h 1013609"/>
                <a:gd name="connsiteX2" fmla="*/ 493382 w 1776173"/>
                <a:gd name="connsiteY2" fmla="*/ 684405 h 1013609"/>
                <a:gd name="connsiteX3" fmla="*/ 644685 w 1776173"/>
                <a:gd name="connsiteY3" fmla="*/ 342328 h 1013609"/>
                <a:gd name="connsiteX4" fmla="*/ 763097 w 1776173"/>
                <a:gd name="connsiteY4" fmla="*/ 98926 h 1013609"/>
                <a:gd name="connsiteX5" fmla="*/ 899873 w 1776173"/>
                <a:gd name="connsiteY5" fmla="*/ 250 h 1013609"/>
                <a:gd name="connsiteX6" fmla="*/ 1013077 w 1776173"/>
                <a:gd name="connsiteY6" fmla="*/ 66034 h 1013609"/>
                <a:gd name="connsiteX7" fmla="*/ 1099727 w 1776173"/>
                <a:gd name="connsiteY7" fmla="*/ 230495 h 1013609"/>
                <a:gd name="connsiteX8" fmla="*/ 1235612 w 1776173"/>
                <a:gd name="connsiteY8" fmla="*/ 539680 h 1013609"/>
                <a:gd name="connsiteX9" fmla="*/ 1348576 w 1776173"/>
                <a:gd name="connsiteY9" fmla="*/ 769925 h 1013609"/>
                <a:gd name="connsiteX10" fmla="*/ 1427517 w 1776173"/>
                <a:gd name="connsiteY10" fmla="*/ 881758 h 1013609"/>
                <a:gd name="connsiteX11" fmla="*/ 1545928 w 1776173"/>
                <a:gd name="connsiteY11" fmla="*/ 967277 h 1013609"/>
                <a:gd name="connsiteX12" fmla="*/ 1677497 w 1776173"/>
                <a:gd name="connsiteY12" fmla="*/ 1006748 h 1013609"/>
                <a:gd name="connsiteX13" fmla="*/ 1776173 w 1776173"/>
                <a:gd name="connsiteY13" fmla="*/ 1013326 h 1013609"/>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241 h 1013524"/>
                <a:gd name="connsiteX1" fmla="*/ 282872 w 1776173"/>
                <a:gd name="connsiteY1" fmla="*/ 947457 h 1013524"/>
                <a:gd name="connsiteX2" fmla="*/ 493382 w 1776173"/>
                <a:gd name="connsiteY2" fmla="*/ 684320 h 1013524"/>
                <a:gd name="connsiteX3" fmla="*/ 644685 w 1776173"/>
                <a:gd name="connsiteY3" fmla="*/ 342243 h 1013524"/>
                <a:gd name="connsiteX4" fmla="*/ 763097 w 1776173"/>
                <a:gd name="connsiteY4" fmla="*/ 98841 h 1013524"/>
                <a:gd name="connsiteX5" fmla="*/ 899873 w 1776173"/>
                <a:gd name="connsiteY5" fmla="*/ 165 h 1013524"/>
                <a:gd name="connsiteX6" fmla="*/ 1013077 w 1776173"/>
                <a:gd name="connsiteY6" fmla="*/ 89762 h 1013524"/>
                <a:gd name="connsiteX7" fmla="*/ 1099727 w 1776173"/>
                <a:gd name="connsiteY7" fmla="*/ 230410 h 1013524"/>
                <a:gd name="connsiteX8" fmla="*/ 1235612 w 1776173"/>
                <a:gd name="connsiteY8" fmla="*/ 539595 h 1013524"/>
                <a:gd name="connsiteX9" fmla="*/ 1348576 w 1776173"/>
                <a:gd name="connsiteY9" fmla="*/ 769840 h 1013524"/>
                <a:gd name="connsiteX10" fmla="*/ 1427517 w 1776173"/>
                <a:gd name="connsiteY10" fmla="*/ 881673 h 1013524"/>
                <a:gd name="connsiteX11" fmla="*/ 1545928 w 1776173"/>
                <a:gd name="connsiteY11" fmla="*/ 967192 h 1013524"/>
                <a:gd name="connsiteX12" fmla="*/ 1677497 w 1776173"/>
                <a:gd name="connsiteY12" fmla="*/ 1006663 h 1013524"/>
                <a:gd name="connsiteX13" fmla="*/ 1776173 w 1776173"/>
                <a:gd name="connsiteY13" fmla="*/ 1013241 h 1013524"/>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8792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9 h 1013392"/>
                <a:gd name="connsiteX1" fmla="*/ 282872 w 1776173"/>
                <a:gd name="connsiteY1" fmla="*/ 947325 h 1013392"/>
                <a:gd name="connsiteX2" fmla="*/ 493382 w 1776173"/>
                <a:gd name="connsiteY2" fmla="*/ 684188 h 1013392"/>
                <a:gd name="connsiteX3" fmla="*/ 644685 w 1776173"/>
                <a:gd name="connsiteY3" fmla="*/ 342111 h 1013392"/>
                <a:gd name="connsiteX4" fmla="*/ 763097 w 1776173"/>
                <a:gd name="connsiteY4" fmla="*/ 98709 h 1013392"/>
                <a:gd name="connsiteX5" fmla="*/ 899873 w 1776173"/>
                <a:gd name="connsiteY5" fmla="*/ 33 h 1013392"/>
                <a:gd name="connsiteX6" fmla="*/ 1018792 w 1776173"/>
                <a:gd name="connsiteY6" fmla="*/ 89630 h 1013392"/>
                <a:gd name="connsiteX7" fmla="*/ 1099727 w 1776173"/>
                <a:gd name="connsiteY7" fmla="*/ 230278 h 1013392"/>
                <a:gd name="connsiteX8" fmla="*/ 1235612 w 1776173"/>
                <a:gd name="connsiteY8" fmla="*/ 539463 h 1013392"/>
                <a:gd name="connsiteX9" fmla="*/ 1348576 w 1776173"/>
                <a:gd name="connsiteY9" fmla="*/ 769708 h 1013392"/>
                <a:gd name="connsiteX10" fmla="*/ 1427517 w 1776173"/>
                <a:gd name="connsiteY10" fmla="*/ 881541 h 1013392"/>
                <a:gd name="connsiteX11" fmla="*/ 1545928 w 1776173"/>
                <a:gd name="connsiteY11" fmla="*/ 967060 h 1013392"/>
                <a:gd name="connsiteX12" fmla="*/ 1677497 w 1776173"/>
                <a:gd name="connsiteY12" fmla="*/ 1006531 h 1013392"/>
                <a:gd name="connsiteX13" fmla="*/ 1776173 w 1776173"/>
                <a:gd name="connsiteY13" fmla="*/ 1013109 h 101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76173" h="1013392">
                  <a:moveTo>
                    <a:pt x="0" y="1013109"/>
                  </a:moveTo>
                  <a:cubicBezTo>
                    <a:pt x="100321" y="1007627"/>
                    <a:pt x="200642" y="1002145"/>
                    <a:pt x="282872" y="947325"/>
                  </a:cubicBezTo>
                  <a:cubicBezTo>
                    <a:pt x="365102" y="892505"/>
                    <a:pt x="433080" y="785057"/>
                    <a:pt x="493382" y="684188"/>
                  </a:cubicBezTo>
                  <a:cubicBezTo>
                    <a:pt x="553684" y="583319"/>
                    <a:pt x="599733" y="439691"/>
                    <a:pt x="644685" y="342111"/>
                  </a:cubicBezTo>
                  <a:cubicBezTo>
                    <a:pt x="689637" y="244531"/>
                    <a:pt x="720566" y="155722"/>
                    <a:pt x="763097" y="98709"/>
                  </a:cubicBezTo>
                  <a:cubicBezTo>
                    <a:pt x="805628" y="41696"/>
                    <a:pt x="857257" y="1546"/>
                    <a:pt x="899873" y="33"/>
                  </a:cubicBezTo>
                  <a:cubicBezTo>
                    <a:pt x="942489" y="-1480"/>
                    <a:pt x="991198" y="48398"/>
                    <a:pt x="1018792" y="89630"/>
                  </a:cubicBezTo>
                  <a:cubicBezTo>
                    <a:pt x="1046386" y="130862"/>
                    <a:pt x="1063590" y="155306"/>
                    <a:pt x="1099727" y="230278"/>
                  </a:cubicBezTo>
                  <a:cubicBezTo>
                    <a:pt x="1135864" y="305250"/>
                    <a:pt x="1194137" y="449558"/>
                    <a:pt x="1235612" y="539463"/>
                  </a:cubicBezTo>
                  <a:cubicBezTo>
                    <a:pt x="1277087" y="629368"/>
                    <a:pt x="1316592" y="712695"/>
                    <a:pt x="1348576" y="769708"/>
                  </a:cubicBezTo>
                  <a:cubicBezTo>
                    <a:pt x="1380560" y="826721"/>
                    <a:pt x="1394625" y="848649"/>
                    <a:pt x="1427517" y="881541"/>
                  </a:cubicBezTo>
                  <a:cubicBezTo>
                    <a:pt x="1460409" y="914433"/>
                    <a:pt x="1504265" y="946228"/>
                    <a:pt x="1545928" y="967060"/>
                  </a:cubicBezTo>
                  <a:cubicBezTo>
                    <a:pt x="1587591" y="987892"/>
                    <a:pt x="1639123" y="998856"/>
                    <a:pt x="1677497" y="1006531"/>
                  </a:cubicBezTo>
                  <a:cubicBezTo>
                    <a:pt x="1715871" y="1014206"/>
                    <a:pt x="1746022" y="1013657"/>
                    <a:pt x="1776173" y="1013109"/>
                  </a:cubicBezTo>
                </a:path>
              </a:pathLst>
            </a:custGeom>
            <a:noFill/>
            <a:ln w="28575" cap="flat" cmpd="sng" algn="ctr">
              <a:solidFill>
                <a:schemeClr val="accent1"/>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sp>
          <p:nvSpPr>
            <p:cNvPr id="36" name="TextBox 35">
              <a:extLst>
                <a:ext uri="{FF2B5EF4-FFF2-40B4-BE49-F238E27FC236}">
                  <a16:creationId xmlns:a16="http://schemas.microsoft.com/office/drawing/2014/main" id="{7113B28E-52C7-F406-018F-32B4BDB8A5AF}"/>
                </a:ext>
              </a:extLst>
            </p:cNvPr>
            <p:cNvSpPr txBox="1">
              <a:spLocks/>
            </p:cNvSpPr>
            <p:nvPr/>
          </p:nvSpPr>
          <p:spPr>
            <a:xfrm>
              <a:off x="2761552" y="1504909"/>
              <a:ext cx="331179" cy="167842"/>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Normal</a:t>
              </a:r>
            </a:p>
          </p:txBody>
        </p:sp>
      </p:grpSp>
      <p:grpSp>
        <p:nvGrpSpPr>
          <p:cNvPr id="37" name="Group 36">
            <a:extLst>
              <a:ext uri="{FF2B5EF4-FFF2-40B4-BE49-F238E27FC236}">
                <a16:creationId xmlns:a16="http://schemas.microsoft.com/office/drawing/2014/main" id="{25A2B89D-728B-FC30-437E-0D1D0EA4FE51}"/>
              </a:ext>
            </a:extLst>
          </p:cNvPr>
          <p:cNvGrpSpPr/>
          <p:nvPr/>
        </p:nvGrpSpPr>
        <p:grpSpPr>
          <a:xfrm>
            <a:off x="7704137" y="1835979"/>
            <a:ext cx="3240087" cy="2151481"/>
            <a:chOff x="7123950" y="1506219"/>
            <a:chExt cx="2267284" cy="1686346"/>
          </a:xfrm>
        </p:grpSpPr>
        <p:cxnSp>
          <p:nvCxnSpPr>
            <p:cNvPr id="38" name="Straight Connector 37">
              <a:extLst>
                <a:ext uri="{FF2B5EF4-FFF2-40B4-BE49-F238E27FC236}">
                  <a16:creationId xmlns:a16="http://schemas.microsoft.com/office/drawing/2014/main" id="{76C2DBCA-338D-74F2-CF90-B0F21BEFD16B}"/>
                </a:ext>
              </a:extLst>
            </p:cNvPr>
            <p:cNvCxnSpPr>
              <a:cxnSpLocks/>
            </p:cNvCxnSpPr>
            <p:nvPr/>
          </p:nvCxnSpPr>
          <p:spPr>
            <a:xfrm>
              <a:off x="7123950" y="3109657"/>
              <a:ext cx="2267284" cy="0"/>
            </a:xfrm>
            <a:prstGeom prst="line">
              <a:avLst/>
            </a:prstGeom>
            <a:noFill/>
            <a:ln w="12700" cap="sq" cmpd="sng" algn="ctr">
              <a:solidFill>
                <a:schemeClr val="tx1"/>
              </a:solidFill>
              <a:prstDash val="solid"/>
              <a:miter lim="800000"/>
              <a:headEnd type="none"/>
              <a:tailEnd type="none"/>
            </a:ln>
            <a:effectLst/>
          </p:spPr>
        </p:cxnSp>
        <p:cxnSp>
          <p:nvCxnSpPr>
            <p:cNvPr id="39" name="Straight Connector 38">
              <a:extLst>
                <a:ext uri="{FF2B5EF4-FFF2-40B4-BE49-F238E27FC236}">
                  <a16:creationId xmlns:a16="http://schemas.microsoft.com/office/drawing/2014/main" id="{FC28F7AF-90A4-FE41-6CDA-4649C8D09D51}"/>
                </a:ext>
              </a:extLst>
            </p:cNvPr>
            <p:cNvCxnSpPr>
              <a:cxnSpLocks/>
            </p:cNvCxnSpPr>
            <p:nvPr/>
          </p:nvCxnSpPr>
          <p:spPr>
            <a:xfrm>
              <a:off x="7213795" y="1704803"/>
              <a:ext cx="0" cy="1487762"/>
            </a:xfrm>
            <a:prstGeom prst="line">
              <a:avLst/>
            </a:prstGeom>
            <a:noFill/>
            <a:ln w="12700" cap="sq" cmpd="sng" algn="ctr">
              <a:solidFill>
                <a:schemeClr val="tx1"/>
              </a:solidFill>
              <a:prstDash val="solid"/>
              <a:miter lim="800000"/>
              <a:headEnd type="none"/>
              <a:tailEnd type="none"/>
            </a:ln>
            <a:effectLst/>
          </p:spPr>
        </p:cxnSp>
        <p:sp>
          <p:nvSpPr>
            <p:cNvPr id="40" name="Freeform: Shape 39">
              <a:extLst>
                <a:ext uri="{FF2B5EF4-FFF2-40B4-BE49-F238E27FC236}">
                  <a16:creationId xmlns:a16="http://schemas.microsoft.com/office/drawing/2014/main" id="{1D3B4321-FED6-84A6-96F7-22CAA8F161D2}"/>
                </a:ext>
              </a:extLst>
            </p:cNvPr>
            <p:cNvSpPr>
              <a:spLocks/>
            </p:cNvSpPr>
            <p:nvPr/>
          </p:nvSpPr>
          <p:spPr>
            <a:xfrm>
              <a:off x="7246601" y="1940714"/>
              <a:ext cx="2061244" cy="942755"/>
            </a:xfrm>
            <a:custGeom>
              <a:avLst/>
              <a:gdLst>
                <a:gd name="connsiteX0" fmla="*/ 0 w 1776173"/>
                <a:gd name="connsiteY0" fmla="*/ 1020652 h 1020935"/>
                <a:gd name="connsiteX1" fmla="*/ 282872 w 1776173"/>
                <a:gd name="connsiteY1" fmla="*/ 954868 h 1020935"/>
                <a:gd name="connsiteX2" fmla="*/ 493382 w 1776173"/>
                <a:gd name="connsiteY2" fmla="*/ 691731 h 1020935"/>
                <a:gd name="connsiteX3" fmla="*/ 644685 w 1776173"/>
                <a:gd name="connsiteY3" fmla="*/ 349654 h 1020935"/>
                <a:gd name="connsiteX4" fmla="*/ 763097 w 1776173"/>
                <a:gd name="connsiteY4" fmla="*/ 106252 h 1020935"/>
                <a:gd name="connsiteX5" fmla="*/ 861773 w 1776173"/>
                <a:gd name="connsiteY5" fmla="*/ 7576 h 1020935"/>
                <a:gd name="connsiteX6" fmla="*/ 920979 w 1776173"/>
                <a:gd name="connsiteY6" fmla="*/ 14154 h 1020935"/>
                <a:gd name="connsiteX7" fmla="*/ 1013077 w 1776173"/>
                <a:gd name="connsiteY7" fmla="*/ 73360 h 1020935"/>
                <a:gd name="connsiteX8" fmla="*/ 1085439 w 1776173"/>
                <a:gd name="connsiteY8" fmla="*/ 237821 h 1020935"/>
                <a:gd name="connsiteX9" fmla="*/ 1249900 w 1776173"/>
                <a:gd name="connsiteY9" fmla="*/ 547006 h 1020935"/>
                <a:gd name="connsiteX10" fmla="*/ 1348576 w 1776173"/>
                <a:gd name="connsiteY10" fmla="*/ 777251 h 1020935"/>
                <a:gd name="connsiteX11" fmla="*/ 1427517 w 1776173"/>
                <a:gd name="connsiteY11" fmla="*/ 889084 h 1020935"/>
                <a:gd name="connsiteX12" fmla="*/ 1545928 w 1776173"/>
                <a:gd name="connsiteY12" fmla="*/ 974603 h 1020935"/>
                <a:gd name="connsiteX13" fmla="*/ 1677497 w 1776173"/>
                <a:gd name="connsiteY13" fmla="*/ 1014074 h 1020935"/>
                <a:gd name="connsiteX14" fmla="*/ 1776173 w 1776173"/>
                <a:gd name="connsiteY14" fmla="*/ 1020652 h 1020935"/>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85439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5137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35612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617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998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326 h 1013609"/>
                <a:gd name="connsiteX1" fmla="*/ 282872 w 1776173"/>
                <a:gd name="connsiteY1" fmla="*/ 947542 h 1013609"/>
                <a:gd name="connsiteX2" fmla="*/ 493382 w 1776173"/>
                <a:gd name="connsiteY2" fmla="*/ 684405 h 1013609"/>
                <a:gd name="connsiteX3" fmla="*/ 644685 w 1776173"/>
                <a:gd name="connsiteY3" fmla="*/ 342328 h 1013609"/>
                <a:gd name="connsiteX4" fmla="*/ 763097 w 1776173"/>
                <a:gd name="connsiteY4" fmla="*/ 98926 h 1013609"/>
                <a:gd name="connsiteX5" fmla="*/ 899873 w 1776173"/>
                <a:gd name="connsiteY5" fmla="*/ 250 h 1013609"/>
                <a:gd name="connsiteX6" fmla="*/ 1013077 w 1776173"/>
                <a:gd name="connsiteY6" fmla="*/ 66034 h 1013609"/>
                <a:gd name="connsiteX7" fmla="*/ 1099727 w 1776173"/>
                <a:gd name="connsiteY7" fmla="*/ 230495 h 1013609"/>
                <a:gd name="connsiteX8" fmla="*/ 1235612 w 1776173"/>
                <a:gd name="connsiteY8" fmla="*/ 539680 h 1013609"/>
                <a:gd name="connsiteX9" fmla="*/ 1348576 w 1776173"/>
                <a:gd name="connsiteY9" fmla="*/ 769925 h 1013609"/>
                <a:gd name="connsiteX10" fmla="*/ 1427517 w 1776173"/>
                <a:gd name="connsiteY10" fmla="*/ 881758 h 1013609"/>
                <a:gd name="connsiteX11" fmla="*/ 1545928 w 1776173"/>
                <a:gd name="connsiteY11" fmla="*/ 967277 h 1013609"/>
                <a:gd name="connsiteX12" fmla="*/ 1677497 w 1776173"/>
                <a:gd name="connsiteY12" fmla="*/ 1006748 h 1013609"/>
                <a:gd name="connsiteX13" fmla="*/ 1776173 w 1776173"/>
                <a:gd name="connsiteY13" fmla="*/ 1013326 h 1013609"/>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241 h 1013524"/>
                <a:gd name="connsiteX1" fmla="*/ 282872 w 1776173"/>
                <a:gd name="connsiteY1" fmla="*/ 947457 h 1013524"/>
                <a:gd name="connsiteX2" fmla="*/ 493382 w 1776173"/>
                <a:gd name="connsiteY2" fmla="*/ 684320 h 1013524"/>
                <a:gd name="connsiteX3" fmla="*/ 644685 w 1776173"/>
                <a:gd name="connsiteY3" fmla="*/ 342243 h 1013524"/>
                <a:gd name="connsiteX4" fmla="*/ 763097 w 1776173"/>
                <a:gd name="connsiteY4" fmla="*/ 98841 h 1013524"/>
                <a:gd name="connsiteX5" fmla="*/ 899873 w 1776173"/>
                <a:gd name="connsiteY5" fmla="*/ 165 h 1013524"/>
                <a:gd name="connsiteX6" fmla="*/ 1013077 w 1776173"/>
                <a:gd name="connsiteY6" fmla="*/ 89762 h 1013524"/>
                <a:gd name="connsiteX7" fmla="*/ 1099727 w 1776173"/>
                <a:gd name="connsiteY7" fmla="*/ 230410 h 1013524"/>
                <a:gd name="connsiteX8" fmla="*/ 1235612 w 1776173"/>
                <a:gd name="connsiteY8" fmla="*/ 539595 h 1013524"/>
                <a:gd name="connsiteX9" fmla="*/ 1348576 w 1776173"/>
                <a:gd name="connsiteY9" fmla="*/ 769840 h 1013524"/>
                <a:gd name="connsiteX10" fmla="*/ 1427517 w 1776173"/>
                <a:gd name="connsiteY10" fmla="*/ 881673 h 1013524"/>
                <a:gd name="connsiteX11" fmla="*/ 1545928 w 1776173"/>
                <a:gd name="connsiteY11" fmla="*/ 967192 h 1013524"/>
                <a:gd name="connsiteX12" fmla="*/ 1677497 w 1776173"/>
                <a:gd name="connsiteY12" fmla="*/ 1006663 h 1013524"/>
                <a:gd name="connsiteX13" fmla="*/ 1776173 w 1776173"/>
                <a:gd name="connsiteY13" fmla="*/ 1013241 h 1013524"/>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8792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9 h 1013392"/>
                <a:gd name="connsiteX1" fmla="*/ 282872 w 1776173"/>
                <a:gd name="connsiteY1" fmla="*/ 947325 h 1013392"/>
                <a:gd name="connsiteX2" fmla="*/ 493382 w 1776173"/>
                <a:gd name="connsiteY2" fmla="*/ 684188 h 1013392"/>
                <a:gd name="connsiteX3" fmla="*/ 644685 w 1776173"/>
                <a:gd name="connsiteY3" fmla="*/ 342111 h 1013392"/>
                <a:gd name="connsiteX4" fmla="*/ 763097 w 1776173"/>
                <a:gd name="connsiteY4" fmla="*/ 98709 h 1013392"/>
                <a:gd name="connsiteX5" fmla="*/ 899873 w 1776173"/>
                <a:gd name="connsiteY5" fmla="*/ 33 h 1013392"/>
                <a:gd name="connsiteX6" fmla="*/ 1018792 w 1776173"/>
                <a:gd name="connsiteY6" fmla="*/ 89630 h 1013392"/>
                <a:gd name="connsiteX7" fmla="*/ 1099727 w 1776173"/>
                <a:gd name="connsiteY7" fmla="*/ 230278 h 1013392"/>
                <a:gd name="connsiteX8" fmla="*/ 1235612 w 1776173"/>
                <a:gd name="connsiteY8" fmla="*/ 539463 h 1013392"/>
                <a:gd name="connsiteX9" fmla="*/ 1348576 w 1776173"/>
                <a:gd name="connsiteY9" fmla="*/ 769708 h 1013392"/>
                <a:gd name="connsiteX10" fmla="*/ 1427517 w 1776173"/>
                <a:gd name="connsiteY10" fmla="*/ 881541 h 1013392"/>
                <a:gd name="connsiteX11" fmla="*/ 1545928 w 1776173"/>
                <a:gd name="connsiteY11" fmla="*/ 967060 h 1013392"/>
                <a:gd name="connsiteX12" fmla="*/ 1677497 w 1776173"/>
                <a:gd name="connsiteY12" fmla="*/ 1006531 h 1013392"/>
                <a:gd name="connsiteX13" fmla="*/ 1776173 w 1776173"/>
                <a:gd name="connsiteY13" fmla="*/ 1013109 h 1013392"/>
                <a:gd name="connsiteX0" fmla="*/ 0 w 1764163"/>
                <a:gd name="connsiteY0" fmla="*/ 818324 h 1013392"/>
                <a:gd name="connsiteX1" fmla="*/ 270862 w 1764163"/>
                <a:gd name="connsiteY1" fmla="*/ 947325 h 1013392"/>
                <a:gd name="connsiteX2" fmla="*/ 481372 w 1764163"/>
                <a:gd name="connsiteY2" fmla="*/ 684188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24 h 1013392"/>
                <a:gd name="connsiteX1" fmla="*/ 258852 w 1764163"/>
                <a:gd name="connsiteY1" fmla="*/ 658288 h 1013392"/>
                <a:gd name="connsiteX2" fmla="*/ 481372 w 1764163"/>
                <a:gd name="connsiteY2" fmla="*/ 684188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24 h 1013392"/>
                <a:gd name="connsiteX1" fmla="*/ 258852 w 1764163"/>
                <a:gd name="connsiteY1" fmla="*/ 658288 h 1013392"/>
                <a:gd name="connsiteX2" fmla="*/ 499386 w 1764163"/>
                <a:gd name="connsiteY2" fmla="*/ 721889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00 h 1013368"/>
                <a:gd name="connsiteX1" fmla="*/ 258852 w 1764163"/>
                <a:gd name="connsiteY1" fmla="*/ 658264 h 1013368"/>
                <a:gd name="connsiteX2" fmla="*/ 499386 w 1764163"/>
                <a:gd name="connsiteY2" fmla="*/ 721865 h 1013368"/>
                <a:gd name="connsiteX3" fmla="*/ 632675 w 1764163"/>
                <a:gd name="connsiteY3" fmla="*/ 342087 h 1013368"/>
                <a:gd name="connsiteX4" fmla="*/ 733073 w 1764163"/>
                <a:gd name="connsiteY4" fmla="*/ 86118 h 1013368"/>
                <a:gd name="connsiteX5" fmla="*/ 887863 w 1764163"/>
                <a:gd name="connsiteY5" fmla="*/ 9 h 1013368"/>
                <a:gd name="connsiteX6" fmla="*/ 1006782 w 1764163"/>
                <a:gd name="connsiteY6" fmla="*/ 89606 h 1013368"/>
                <a:gd name="connsiteX7" fmla="*/ 1087717 w 1764163"/>
                <a:gd name="connsiteY7" fmla="*/ 230254 h 1013368"/>
                <a:gd name="connsiteX8" fmla="*/ 1223602 w 1764163"/>
                <a:gd name="connsiteY8" fmla="*/ 539439 h 1013368"/>
                <a:gd name="connsiteX9" fmla="*/ 1336566 w 1764163"/>
                <a:gd name="connsiteY9" fmla="*/ 769684 h 1013368"/>
                <a:gd name="connsiteX10" fmla="*/ 1415507 w 1764163"/>
                <a:gd name="connsiteY10" fmla="*/ 881517 h 1013368"/>
                <a:gd name="connsiteX11" fmla="*/ 1533918 w 1764163"/>
                <a:gd name="connsiteY11" fmla="*/ 967036 h 1013368"/>
                <a:gd name="connsiteX12" fmla="*/ 1665487 w 1764163"/>
                <a:gd name="connsiteY12" fmla="*/ 1006507 h 1013368"/>
                <a:gd name="connsiteX13" fmla="*/ 1764163 w 1764163"/>
                <a:gd name="connsiteY13" fmla="*/ 1013085 h 1013368"/>
                <a:gd name="connsiteX0" fmla="*/ 0 w 1764163"/>
                <a:gd name="connsiteY0" fmla="*/ 747965 h 943033"/>
                <a:gd name="connsiteX1" fmla="*/ 258852 w 1764163"/>
                <a:gd name="connsiteY1" fmla="*/ 587929 h 943033"/>
                <a:gd name="connsiteX2" fmla="*/ 499386 w 1764163"/>
                <a:gd name="connsiteY2" fmla="*/ 651530 h 943033"/>
                <a:gd name="connsiteX3" fmla="*/ 632675 w 1764163"/>
                <a:gd name="connsiteY3" fmla="*/ 271752 h 943033"/>
                <a:gd name="connsiteX4" fmla="*/ 733073 w 1764163"/>
                <a:gd name="connsiteY4" fmla="*/ 15783 h 943033"/>
                <a:gd name="connsiteX5" fmla="*/ 857839 w 1764163"/>
                <a:gd name="connsiteY5" fmla="*/ 576864 h 943033"/>
                <a:gd name="connsiteX6" fmla="*/ 1006782 w 1764163"/>
                <a:gd name="connsiteY6" fmla="*/ 19271 h 943033"/>
                <a:gd name="connsiteX7" fmla="*/ 1087717 w 1764163"/>
                <a:gd name="connsiteY7" fmla="*/ 159919 h 943033"/>
                <a:gd name="connsiteX8" fmla="*/ 1223602 w 1764163"/>
                <a:gd name="connsiteY8" fmla="*/ 469104 h 943033"/>
                <a:gd name="connsiteX9" fmla="*/ 1336566 w 1764163"/>
                <a:gd name="connsiteY9" fmla="*/ 699349 h 943033"/>
                <a:gd name="connsiteX10" fmla="*/ 1415507 w 1764163"/>
                <a:gd name="connsiteY10" fmla="*/ 811182 h 943033"/>
                <a:gd name="connsiteX11" fmla="*/ 1533918 w 1764163"/>
                <a:gd name="connsiteY11" fmla="*/ 896701 h 943033"/>
                <a:gd name="connsiteX12" fmla="*/ 1665487 w 1764163"/>
                <a:gd name="connsiteY12" fmla="*/ 936172 h 943033"/>
                <a:gd name="connsiteX13" fmla="*/ 1764163 w 1764163"/>
                <a:gd name="connsiteY13" fmla="*/ 942750 h 943033"/>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087717 w 1764163"/>
                <a:gd name="connsiteY6" fmla="*/ 152242 h 935356"/>
                <a:gd name="connsiteX7" fmla="*/ 1223602 w 1764163"/>
                <a:gd name="connsiteY7" fmla="*/ 461427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087717 w 1764163"/>
                <a:gd name="connsiteY6" fmla="*/ 152242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01808 w 1764163"/>
                <a:gd name="connsiteY6" fmla="*/ 284194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533918 w 1764163"/>
                <a:gd name="connsiteY9" fmla="*/ 889024 h 935356"/>
                <a:gd name="connsiteX10" fmla="*/ 1665487 w 1764163"/>
                <a:gd name="connsiteY10" fmla="*/ 928495 h 935356"/>
                <a:gd name="connsiteX11" fmla="*/ 1764163 w 1764163"/>
                <a:gd name="connsiteY11"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665487 w 1764163"/>
                <a:gd name="connsiteY9" fmla="*/ 928495 h 935356"/>
                <a:gd name="connsiteX10" fmla="*/ 1764163 w 1764163"/>
                <a:gd name="connsiteY10" fmla="*/ 935073 h 935356"/>
                <a:gd name="connsiteX0" fmla="*/ 0 w 1764163"/>
                <a:gd name="connsiteY0" fmla="*/ 740288 h 935073"/>
                <a:gd name="connsiteX1" fmla="*/ 258852 w 1764163"/>
                <a:gd name="connsiteY1" fmla="*/ 580252 h 935073"/>
                <a:gd name="connsiteX2" fmla="*/ 499386 w 1764163"/>
                <a:gd name="connsiteY2" fmla="*/ 643853 h 935073"/>
                <a:gd name="connsiteX3" fmla="*/ 632675 w 1764163"/>
                <a:gd name="connsiteY3" fmla="*/ 264075 h 935073"/>
                <a:gd name="connsiteX4" fmla="*/ 733073 w 1764163"/>
                <a:gd name="connsiteY4" fmla="*/ 8106 h 935073"/>
                <a:gd name="connsiteX5" fmla="*/ 857839 w 1764163"/>
                <a:gd name="connsiteY5" fmla="*/ 569187 h 935073"/>
                <a:gd name="connsiteX6" fmla="*/ 1219822 w 1764163"/>
                <a:gd name="connsiteY6" fmla="*/ 296760 h 935073"/>
                <a:gd name="connsiteX7" fmla="*/ 1355707 w 1764163"/>
                <a:gd name="connsiteY7" fmla="*/ 197524 h 935073"/>
                <a:gd name="connsiteX8" fmla="*/ 1492691 w 1764163"/>
                <a:gd name="connsiteY8" fmla="*/ 126166 h 935073"/>
                <a:gd name="connsiteX9" fmla="*/ 1764163 w 1764163"/>
                <a:gd name="connsiteY9" fmla="*/ 935073 h 935073"/>
                <a:gd name="connsiteX0" fmla="*/ 0 w 1722129"/>
                <a:gd name="connsiteY0" fmla="*/ 802918 h 802918"/>
                <a:gd name="connsiteX1" fmla="*/ 258852 w 1722129"/>
                <a:gd name="connsiteY1" fmla="*/ 642882 h 802918"/>
                <a:gd name="connsiteX2" fmla="*/ 499386 w 1722129"/>
                <a:gd name="connsiteY2" fmla="*/ 706483 h 802918"/>
                <a:gd name="connsiteX3" fmla="*/ 632675 w 1722129"/>
                <a:gd name="connsiteY3" fmla="*/ 326705 h 802918"/>
                <a:gd name="connsiteX4" fmla="*/ 733073 w 1722129"/>
                <a:gd name="connsiteY4" fmla="*/ 70736 h 802918"/>
                <a:gd name="connsiteX5" fmla="*/ 857839 w 1722129"/>
                <a:gd name="connsiteY5" fmla="*/ 631817 h 802918"/>
                <a:gd name="connsiteX6" fmla="*/ 1219822 w 1722129"/>
                <a:gd name="connsiteY6" fmla="*/ 359390 h 802918"/>
                <a:gd name="connsiteX7" fmla="*/ 1355707 w 1722129"/>
                <a:gd name="connsiteY7" fmla="*/ 260154 h 802918"/>
                <a:gd name="connsiteX8" fmla="*/ 1492691 w 1722129"/>
                <a:gd name="connsiteY8" fmla="*/ 188796 h 802918"/>
                <a:gd name="connsiteX9" fmla="*/ 1722129 w 1722129"/>
                <a:gd name="connsiteY9" fmla="*/ 55192 h 802918"/>
                <a:gd name="connsiteX0" fmla="*/ 0 w 1722129"/>
                <a:gd name="connsiteY0" fmla="*/ 747726 h 747726"/>
                <a:gd name="connsiteX1" fmla="*/ 258852 w 1722129"/>
                <a:gd name="connsiteY1" fmla="*/ 587690 h 747726"/>
                <a:gd name="connsiteX2" fmla="*/ 499386 w 1722129"/>
                <a:gd name="connsiteY2" fmla="*/ 651291 h 747726"/>
                <a:gd name="connsiteX3" fmla="*/ 632675 w 1722129"/>
                <a:gd name="connsiteY3" fmla="*/ 271513 h 747726"/>
                <a:gd name="connsiteX4" fmla="*/ 733073 w 1722129"/>
                <a:gd name="connsiteY4" fmla="*/ 15544 h 747726"/>
                <a:gd name="connsiteX5" fmla="*/ 857839 w 1722129"/>
                <a:gd name="connsiteY5" fmla="*/ 576625 h 747726"/>
                <a:gd name="connsiteX6" fmla="*/ 1219822 w 1722129"/>
                <a:gd name="connsiteY6" fmla="*/ 304198 h 747726"/>
                <a:gd name="connsiteX7" fmla="*/ 1355707 w 1722129"/>
                <a:gd name="connsiteY7" fmla="*/ 204962 h 747726"/>
                <a:gd name="connsiteX8" fmla="*/ 1492691 w 1722129"/>
                <a:gd name="connsiteY8" fmla="*/ 133604 h 747726"/>
                <a:gd name="connsiteX9" fmla="*/ 1722129 w 1722129"/>
                <a:gd name="connsiteY9" fmla="*/ 0 h 747726"/>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219822 w 1746149"/>
                <a:gd name="connsiteY6" fmla="*/ 392166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165779 w 1746149"/>
                <a:gd name="connsiteY6" fmla="*/ 511551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25683 w 1746149"/>
                <a:gd name="connsiteY7" fmla="*/ 286646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43697 w 1746149"/>
                <a:gd name="connsiteY7" fmla="*/ 362047 h 835694"/>
                <a:gd name="connsiteX8" fmla="*/ 1492691 w 1746149"/>
                <a:gd name="connsiteY8" fmla="*/ 221572 h 835694"/>
                <a:gd name="connsiteX9" fmla="*/ 1746149 w 1746149"/>
                <a:gd name="connsiteY9" fmla="*/ 0 h 835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6149" h="835694">
                  <a:moveTo>
                    <a:pt x="0" y="835694"/>
                  </a:moveTo>
                  <a:cubicBezTo>
                    <a:pt x="100321" y="830212"/>
                    <a:pt x="175621" y="691730"/>
                    <a:pt x="258852" y="675658"/>
                  </a:cubicBezTo>
                  <a:cubicBezTo>
                    <a:pt x="342083" y="659586"/>
                    <a:pt x="437082" y="791955"/>
                    <a:pt x="499386" y="739259"/>
                  </a:cubicBezTo>
                  <a:cubicBezTo>
                    <a:pt x="561690" y="686563"/>
                    <a:pt x="593727" y="465439"/>
                    <a:pt x="632675" y="359481"/>
                  </a:cubicBezTo>
                  <a:cubicBezTo>
                    <a:pt x="671623" y="253523"/>
                    <a:pt x="695546" y="52660"/>
                    <a:pt x="733073" y="103512"/>
                  </a:cubicBezTo>
                  <a:cubicBezTo>
                    <a:pt x="770600" y="154364"/>
                    <a:pt x="799733" y="602870"/>
                    <a:pt x="857839" y="664593"/>
                  </a:cubicBezTo>
                  <a:cubicBezTo>
                    <a:pt x="915945" y="726316"/>
                    <a:pt x="1000736" y="524275"/>
                    <a:pt x="1081712" y="473851"/>
                  </a:cubicBezTo>
                  <a:cubicBezTo>
                    <a:pt x="1162688" y="423427"/>
                    <a:pt x="1275201" y="404093"/>
                    <a:pt x="1343697" y="362047"/>
                  </a:cubicBezTo>
                  <a:cubicBezTo>
                    <a:pt x="1412193" y="320001"/>
                    <a:pt x="1425616" y="281913"/>
                    <a:pt x="1492691" y="221572"/>
                  </a:cubicBezTo>
                  <a:cubicBezTo>
                    <a:pt x="1559766" y="161231"/>
                    <a:pt x="1587510" y="107947"/>
                    <a:pt x="1746149" y="0"/>
                  </a:cubicBezTo>
                </a:path>
              </a:pathLst>
            </a:custGeom>
            <a:noFill/>
            <a:ln w="28575" cap="flat" cmpd="sng" algn="ctr">
              <a:solidFill>
                <a:schemeClr val="accent1"/>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sp>
          <p:nvSpPr>
            <p:cNvPr id="41" name="TextBox 40">
              <a:extLst>
                <a:ext uri="{FF2B5EF4-FFF2-40B4-BE49-F238E27FC236}">
                  <a16:creationId xmlns:a16="http://schemas.microsoft.com/office/drawing/2014/main" id="{DA70BB65-CF9D-2984-8135-7A6937C3885B}"/>
                </a:ext>
              </a:extLst>
            </p:cNvPr>
            <p:cNvSpPr txBox="1">
              <a:spLocks/>
            </p:cNvSpPr>
            <p:nvPr/>
          </p:nvSpPr>
          <p:spPr>
            <a:xfrm>
              <a:off x="8496989" y="2480408"/>
              <a:ext cx="740237" cy="189369"/>
            </a:xfrm>
            <a:prstGeom prst="rect">
              <a:avLst/>
            </a:prstGeom>
            <a:noFill/>
          </p:spPr>
          <p:txBody>
            <a:bodyPr wrap="squar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Worse Sequence</a:t>
              </a:r>
            </a:p>
          </p:txBody>
        </p:sp>
        <p:sp>
          <p:nvSpPr>
            <p:cNvPr id="42" name="TextBox 41">
              <a:extLst>
                <a:ext uri="{FF2B5EF4-FFF2-40B4-BE49-F238E27FC236}">
                  <a16:creationId xmlns:a16="http://schemas.microsoft.com/office/drawing/2014/main" id="{3C0EE64D-1BB3-2BB3-BC1A-23458359C5E2}"/>
                </a:ext>
              </a:extLst>
            </p:cNvPr>
            <p:cNvSpPr txBox="1">
              <a:spLocks/>
            </p:cNvSpPr>
            <p:nvPr/>
          </p:nvSpPr>
          <p:spPr>
            <a:xfrm>
              <a:off x="7300203" y="2068240"/>
              <a:ext cx="560604" cy="303353"/>
            </a:xfrm>
            <a:prstGeom prst="rect">
              <a:avLst/>
            </a:prstGeom>
            <a:noFill/>
          </p:spPr>
          <p:txBody>
            <a:bodyPr wrap="squar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945" b="0" i="0" u="none" strike="noStrike" kern="1200" cap="none" spc="0" normalizeH="0" baseline="0" noProof="0" dirty="0">
                  <a:ln>
                    <a:noFill/>
                  </a:ln>
                  <a:solidFill>
                    <a:srgbClr val="353535"/>
                  </a:solidFill>
                  <a:effectLst/>
                  <a:uLnTx/>
                  <a:uFillTx/>
                  <a:latin typeface="Avenir Next LT Pro"/>
                  <a:ea typeface="+mn-ea"/>
                  <a:cs typeface="Arial" charset="0"/>
                </a:rPr>
                <a:t>Better Sequence</a:t>
              </a:r>
            </a:p>
          </p:txBody>
        </p:sp>
        <p:sp>
          <p:nvSpPr>
            <p:cNvPr id="43" name="TextBox 42">
              <a:extLst>
                <a:ext uri="{FF2B5EF4-FFF2-40B4-BE49-F238E27FC236}">
                  <a16:creationId xmlns:a16="http://schemas.microsoft.com/office/drawing/2014/main" id="{B6631137-D01B-6DC9-C5C6-C0A47A0EADB0}"/>
                </a:ext>
              </a:extLst>
            </p:cNvPr>
            <p:cNvSpPr txBox="1">
              <a:spLocks/>
            </p:cNvSpPr>
            <p:nvPr/>
          </p:nvSpPr>
          <p:spPr>
            <a:xfrm>
              <a:off x="8145994" y="1506219"/>
              <a:ext cx="50" cy="200727"/>
            </a:xfrm>
            <a:prstGeom prst="rect">
              <a:avLst/>
            </a:prstGeom>
            <a:noFill/>
          </p:spPr>
          <p:txBody>
            <a:bodyPr wrap="none" lIns="0" tIns="47623" rIns="0" bIns="47623" rtlCol="0">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dirty="0">
                <a:ln>
                  <a:noFill/>
                </a:ln>
                <a:solidFill>
                  <a:srgbClr val="353535"/>
                </a:solidFill>
                <a:effectLst/>
                <a:uLnTx/>
                <a:uFillTx/>
                <a:latin typeface="Avenir Next LT Pro"/>
                <a:ea typeface="+mn-ea"/>
                <a:cs typeface="Arial" charset="0"/>
              </a:endParaRPr>
            </a:p>
          </p:txBody>
        </p:sp>
        <p:sp>
          <p:nvSpPr>
            <p:cNvPr id="44" name="Freeform: Shape 43">
              <a:extLst>
                <a:ext uri="{FF2B5EF4-FFF2-40B4-BE49-F238E27FC236}">
                  <a16:creationId xmlns:a16="http://schemas.microsoft.com/office/drawing/2014/main" id="{45E72BD5-6E05-831D-C14E-8C8C3579F77D}"/>
                </a:ext>
              </a:extLst>
            </p:cNvPr>
            <p:cNvSpPr>
              <a:spLocks/>
            </p:cNvSpPr>
            <p:nvPr/>
          </p:nvSpPr>
          <p:spPr>
            <a:xfrm>
              <a:off x="7260149" y="1936887"/>
              <a:ext cx="2061244" cy="943237"/>
            </a:xfrm>
            <a:custGeom>
              <a:avLst/>
              <a:gdLst>
                <a:gd name="connsiteX0" fmla="*/ 0 w 1776173"/>
                <a:gd name="connsiteY0" fmla="*/ 1020652 h 1020935"/>
                <a:gd name="connsiteX1" fmla="*/ 282872 w 1776173"/>
                <a:gd name="connsiteY1" fmla="*/ 954868 h 1020935"/>
                <a:gd name="connsiteX2" fmla="*/ 493382 w 1776173"/>
                <a:gd name="connsiteY2" fmla="*/ 691731 h 1020935"/>
                <a:gd name="connsiteX3" fmla="*/ 644685 w 1776173"/>
                <a:gd name="connsiteY3" fmla="*/ 349654 h 1020935"/>
                <a:gd name="connsiteX4" fmla="*/ 763097 w 1776173"/>
                <a:gd name="connsiteY4" fmla="*/ 106252 h 1020935"/>
                <a:gd name="connsiteX5" fmla="*/ 861773 w 1776173"/>
                <a:gd name="connsiteY5" fmla="*/ 7576 h 1020935"/>
                <a:gd name="connsiteX6" fmla="*/ 920979 w 1776173"/>
                <a:gd name="connsiteY6" fmla="*/ 14154 h 1020935"/>
                <a:gd name="connsiteX7" fmla="*/ 1013077 w 1776173"/>
                <a:gd name="connsiteY7" fmla="*/ 73360 h 1020935"/>
                <a:gd name="connsiteX8" fmla="*/ 1085439 w 1776173"/>
                <a:gd name="connsiteY8" fmla="*/ 237821 h 1020935"/>
                <a:gd name="connsiteX9" fmla="*/ 1249900 w 1776173"/>
                <a:gd name="connsiteY9" fmla="*/ 547006 h 1020935"/>
                <a:gd name="connsiteX10" fmla="*/ 1348576 w 1776173"/>
                <a:gd name="connsiteY10" fmla="*/ 777251 h 1020935"/>
                <a:gd name="connsiteX11" fmla="*/ 1427517 w 1776173"/>
                <a:gd name="connsiteY11" fmla="*/ 889084 h 1020935"/>
                <a:gd name="connsiteX12" fmla="*/ 1545928 w 1776173"/>
                <a:gd name="connsiteY12" fmla="*/ 974603 h 1020935"/>
                <a:gd name="connsiteX13" fmla="*/ 1677497 w 1776173"/>
                <a:gd name="connsiteY13" fmla="*/ 1014074 h 1020935"/>
                <a:gd name="connsiteX14" fmla="*/ 1776173 w 1776173"/>
                <a:gd name="connsiteY14" fmla="*/ 1020652 h 1020935"/>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85439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9900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45137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6948 h 1017231"/>
                <a:gd name="connsiteX1" fmla="*/ 282872 w 1776173"/>
                <a:gd name="connsiteY1" fmla="*/ 951164 h 1017231"/>
                <a:gd name="connsiteX2" fmla="*/ 493382 w 1776173"/>
                <a:gd name="connsiteY2" fmla="*/ 688027 h 1017231"/>
                <a:gd name="connsiteX3" fmla="*/ 644685 w 1776173"/>
                <a:gd name="connsiteY3" fmla="*/ 345950 h 1017231"/>
                <a:gd name="connsiteX4" fmla="*/ 763097 w 1776173"/>
                <a:gd name="connsiteY4" fmla="*/ 102548 h 1017231"/>
                <a:gd name="connsiteX5" fmla="*/ 861773 w 1776173"/>
                <a:gd name="connsiteY5" fmla="*/ 3872 h 1017231"/>
                <a:gd name="connsiteX6" fmla="*/ 949554 w 1776173"/>
                <a:gd name="connsiteY6" fmla="*/ 24737 h 1017231"/>
                <a:gd name="connsiteX7" fmla="*/ 1013077 w 1776173"/>
                <a:gd name="connsiteY7" fmla="*/ 69656 h 1017231"/>
                <a:gd name="connsiteX8" fmla="*/ 1099727 w 1776173"/>
                <a:gd name="connsiteY8" fmla="*/ 234117 h 1017231"/>
                <a:gd name="connsiteX9" fmla="*/ 1235612 w 1776173"/>
                <a:gd name="connsiteY9" fmla="*/ 543302 h 1017231"/>
                <a:gd name="connsiteX10" fmla="*/ 1348576 w 1776173"/>
                <a:gd name="connsiteY10" fmla="*/ 773547 h 1017231"/>
                <a:gd name="connsiteX11" fmla="*/ 1427517 w 1776173"/>
                <a:gd name="connsiteY11" fmla="*/ 885380 h 1017231"/>
                <a:gd name="connsiteX12" fmla="*/ 1545928 w 1776173"/>
                <a:gd name="connsiteY12" fmla="*/ 970899 h 1017231"/>
                <a:gd name="connsiteX13" fmla="*/ 1677497 w 1776173"/>
                <a:gd name="connsiteY13" fmla="*/ 1010370 h 1017231"/>
                <a:gd name="connsiteX14" fmla="*/ 1776173 w 1776173"/>
                <a:gd name="connsiteY14" fmla="*/ 1016948 h 1017231"/>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617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676 h 1013959"/>
                <a:gd name="connsiteX1" fmla="*/ 282872 w 1776173"/>
                <a:gd name="connsiteY1" fmla="*/ 947892 h 1013959"/>
                <a:gd name="connsiteX2" fmla="*/ 493382 w 1776173"/>
                <a:gd name="connsiteY2" fmla="*/ 684755 h 1013959"/>
                <a:gd name="connsiteX3" fmla="*/ 644685 w 1776173"/>
                <a:gd name="connsiteY3" fmla="*/ 342678 h 1013959"/>
                <a:gd name="connsiteX4" fmla="*/ 763097 w 1776173"/>
                <a:gd name="connsiteY4" fmla="*/ 99276 h 1013959"/>
                <a:gd name="connsiteX5" fmla="*/ 899873 w 1776173"/>
                <a:gd name="connsiteY5" fmla="*/ 600 h 1013959"/>
                <a:gd name="connsiteX6" fmla="*/ 1013077 w 1776173"/>
                <a:gd name="connsiteY6" fmla="*/ 66384 h 1013959"/>
                <a:gd name="connsiteX7" fmla="*/ 1099727 w 1776173"/>
                <a:gd name="connsiteY7" fmla="*/ 230845 h 1013959"/>
                <a:gd name="connsiteX8" fmla="*/ 1235612 w 1776173"/>
                <a:gd name="connsiteY8" fmla="*/ 540030 h 1013959"/>
                <a:gd name="connsiteX9" fmla="*/ 1348576 w 1776173"/>
                <a:gd name="connsiteY9" fmla="*/ 770275 h 1013959"/>
                <a:gd name="connsiteX10" fmla="*/ 1427517 w 1776173"/>
                <a:gd name="connsiteY10" fmla="*/ 882108 h 1013959"/>
                <a:gd name="connsiteX11" fmla="*/ 1545928 w 1776173"/>
                <a:gd name="connsiteY11" fmla="*/ 967627 h 1013959"/>
                <a:gd name="connsiteX12" fmla="*/ 1677497 w 1776173"/>
                <a:gd name="connsiteY12" fmla="*/ 1007098 h 1013959"/>
                <a:gd name="connsiteX13" fmla="*/ 1776173 w 1776173"/>
                <a:gd name="connsiteY13" fmla="*/ 1013676 h 1013959"/>
                <a:gd name="connsiteX0" fmla="*/ 0 w 1776173"/>
                <a:gd name="connsiteY0" fmla="*/ 1013326 h 1013609"/>
                <a:gd name="connsiteX1" fmla="*/ 282872 w 1776173"/>
                <a:gd name="connsiteY1" fmla="*/ 947542 h 1013609"/>
                <a:gd name="connsiteX2" fmla="*/ 493382 w 1776173"/>
                <a:gd name="connsiteY2" fmla="*/ 684405 h 1013609"/>
                <a:gd name="connsiteX3" fmla="*/ 644685 w 1776173"/>
                <a:gd name="connsiteY3" fmla="*/ 342328 h 1013609"/>
                <a:gd name="connsiteX4" fmla="*/ 763097 w 1776173"/>
                <a:gd name="connsiteY4" fmla="*/ 98926 h 1013609"/>
                <a:gd name="connsiteX5" fmla="*/ 899873 w 1776173"/>
                <a:gd name="connsiteY5" fmla="*/ 250 h 1013609"/>
                <a:gd name="connsiteX6" fmla="*/ 1013077 w 1776173"/>
                <a:gd name="connsiteY6" fmla="*/ 66034 h 1013609"/>
                <a:gd name="connsiteX7" fmla="*/ 1099727 w 1776173"/>
                <a:gd name="connsiteY7" fmla="*/ 230495 h 1013609"/>
                <a:gd name="connsiteX8" fmla="*/ 1235612 w 1776173"/>
                <a:gd name="connsiteY8" fmla="*/ 539680 h 1013609"/>
                <a:gd name="connsiteX9" fmla="*/ 1348576 w 1776173"/>
                <a:gd name="connsiteY9" fmla="*/ 769925 h 1013609"/>
                <a:gd name="connsiteX10" fmla="*/ 1427517 w 1776173"/>
                <a:gd name="connsiteY10" fmla="*/ 881758 h 1013609"/>
                <a:gd name="connsiteX11" fmla="*/ 1545928 w 1776173"/>
                <a:gd name="connsiteY11" fmla="*/ 967277 h 1013609"/>
                <a:gd name="connsiteX12" fmla="*/ 1677497 w 1776173"/>
                <a:gd name="connsiteY12" fmla="*/ 1006748 h 1013609"/>
                <a:gd name="connsiteX13" fmla="*/ 1776173 w 1776173"/>
                <a:gd name="connsiteY13" fmla="*/ 1013326 h 1013609"/>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3077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241 h 1013524"/>
                <a:gd name="connsiteX1" fmla="*/ 282872 w 1776173"/>
                <a:gd name="connsiteY1" fmla="*/ 947457 h 1013524"/>
                <a:gd name="connsiteX2" fmla="*/ 493382 w 1776173"/>
                <a:gd name="connsiteY2" fmla="*/ 684320 h 1013524"/>
                <a:gd name="connsiteX3" fmla="*/ 644685 w 1776173"/>
                <a:gd name="connsiteY3" fmla="*/ 342243 h 1013524"/>
                <a:gd name="connsiteX4" fmla="*/ 763097 w 1776173"/>
                <a:gd name="connsiteY4" fmla="*/ 98841 h 1013524"/>
                <a:gd name="connsiteX5" fmla="*/ 899873 w 1776173"/>
                <a:gd name="connsiteY5" fmla="*/ 165 h 1013524"/>
                <a:gd name="connsiteX6" fmla="*/ 1013077 w 1776173"/>
                <a:gd name="connsiteY6" fmla="*/ 89762 h 1013524"/>
                <a:gd name="connsiteX7" fmla="*/ 1099727 w 1776173"/>
                <a:gd name="connsiteY7" fmla="*/ 230410 h 1013524"/>
                <a:gd name="connsiteX8" fmla="*/ 1235612 w 1776173"/>
                <a:gd name="connsiteY8" fmla="*/ 539595 h 1013524"/>
                <a:gd name="connsiteX9" fmla="*/ 1348576 w 1776173"/>
                <a:gd name="connsiteY9" fmla="*/ 769840 h 1013524"/>
                <a:gd name="connsiteX10" fmla="*/ 1427517 w 1776173"/>
                <a:gd name="connsiteY10" fmla="*/ 881673 h 1013524"/>
                <a:gd name="connsiteX11" fmla="*/ 1545928 w 1776173"/>
                <a:gd name="connsiteY11" fmla="*/ 967192 h 1013524"/>
                <a:gd name="connsiteX12" fmla="*/ 1677497 w 1776173"/>
                <a:gd name="connsiteY12" fmla="*/ 1006663 h 1013524"/>
                <a:gd name="connsiteX13" fmla="*/ 1776173 w 1776173"/>
                <a:gd name="connsiteY13" fmla="*/ 1013241 h 1013524"/>
                <a:gd name="connsiteX0" fmla="*/ 0 w 1776173"/>
                <a:gd name="connsiteY0" fmla="*/ 1013108 h 1013391"/>
                <a:gd name="connsiteX1" fmla="*/ 282872 w 1776173"/>
                <a:gd name="connsiteY1" fmla="*/ 947324 h 1013391"/>
                <a:gd name="connsiteX2" fmla="*/ 493382 w 1776173"/>
                <a:gd name="connsiteY2" fmla="*/ 684187 h 1013391"/>
                <a:gd name="connsiteX3" fmla="*/ 644685 w 1776173"/>
                <a:gd name="connsiteY3" fmla="*/ 342110 h 1013391"/>
                <a:gd name="connsiteX4" fmla="*/ 763097 w 1776173"/>
                <a:gd name="connsiteY4" fmla="*/ 98708 h 1013391"/>
                <a:gd name="connsiteX5" fmla="*/ 899873 w 1776173"/>
                <a:gd name="connsiteY5" fmla="*/ 32 h 1013391"/>
                <a:gd name="connsiteX6" fmla="*/ 1018792 w 1776173"/>
                <a:gd name="connsiteY6" fmla="*/ 89629 h 1013391"/>
                <a:gd name="connsiteX7" fmla="*/ 1099727 w 1776173"/>
                <a:gd name="connsiteY7" fmla="*/ 230277 h 1013391"/>
                <a:gd name="connsiteX8" fmla="*/ 1235612 w 1776173"/>
                <a:gd name="connsiteY8" fmla="*/ 539462 h 1013391"/>
                <a:gd name="connsiteX9" fmla="*/ 1348576 w 1776173"/>
                <a:gd name="connsiteY9" fmla="*/ 769707 h 1013391"/>
                <a:gd name="connsiteX10" fmla="*/ 1427517 w 1776173"/>
                <a:gd name="connsiteY10" fmla="*/ 881540 h 1013391"/>
                <a:gd name="connsiteX11" fmla="*/ 1545928 w 1776173"/>
                <a:gd name="connsiteY11" fmla="*/ 967059 h 1013391"/>
                <a:gd name="connsiteX12" fmla="*/ 1677497 w 1776173"/>
                <a:gd name="connsiteY12" fmla="*/ 1006530 h 1013391"/>
                <a:gd name="connsiteX13" fmla="*/ 1776173 w 1776173"/>
                <a:gd name="connsiteY13" fmla="*/ 1013108 h 1013391"/>
                <a:gd name="connsiteX0" fmla="*/ 0 w 1776173"/>
                <a:gd name="connsiteY0" fmla="*/ 1013109 h 1013392"/>
                <a:gd name="connsiteX1" fmla="*/ 282872 w 1776173"/>
                <a:gd name="connsiteY1" fmla="*/ 947325 h 1013392"/>
                <a:gd name="connsiteX2" fmla="*/ 493382 w 1776173"/>
                <a:gd name="connsiteY2" fmla="*/ 684188 h 1013392"/>
                <a:gd name="connsiteX3" fmla="*/ 644685 w 1776173"/>
                <a:gd name="connsiteY3" fmla="*/ 342111 h 1013392"/>
                <a:gd name="connsiteX4" fmla="*/ 763097 w 1776173"/>
                <a:gd name="connsiteY4" fmla="*/ 98709 h 1013392"/>
                <a:gd name="connsiteX5" fmla="*/ 899873 w 1776173"/>
                <a:gd name="connsiteY5" fmla="*/ 33 h 1013392"/>
                <a:gd name="connsiteX6" fmla="*/ 1018792 w 1776173"/>
                <a:gd name="connsiteY6" fmla="*/ 89630 h 1013392"/>
                <a:gd name="connsiteX7" fmla="*/ 1099727 w 1776173"/>
                <a:gd name="connsiteY7" fmla="*/ 230278 h 1013392"/>
                <a:gd name="connsiteX8" fmla="*/ 1235612 w 1776173"/>
                <a:gd name="connsiteY8" fmla="*/ 539463 h 1013392"/>
                <a:gd name="connsiteX9" fmla="*/ 1348576 w 1776173"/>
                <a:gd name="connsiteY9" fmla="*/ 769708 h 1013392"/>
                <a:gd name="connsiteX10" fmla="*/ 1427517 w 1776173"/>
                <a:gd name="connsiteY10" fmla="*/ 881541 h 1013392"/>
                <a:gd name="connsiteX11" fmla="*/ 1545928 w 1776173"/>
                <a:gd name="connsiteY11" fmla="*/ 967060 h 1013392"/>
                <a:gd name="connsiteX12" fmla="*/ 1677497 w 1776173"/>
                <a:gd name="connsiteY12" fmla="*/ 1006531 h 1013392"/>
                <a:gd name="connsiteX13" fmla="*/ 1776173 w 1776173"/>
                <a:gd name="connsiteY13" fmla="*/ 1013109 h 1013392"/>
                <a:gd name="connsiteX0" fmla="*/ 0 w 1764163"/>
                <a:gd name="connsiteY0" fmla="*/ 818324 h 1013392"/>
                <a:gd name="connsiteX1" fmla="*/ 270862 w 1764163"/>
                <a:gd name="connsiteY1" fmla="*/ 947325 h 1013392"/>
                <a:gd name="connsiteX2" fmla="*/ 481372 w 1764163"/>
                <a:gd name="connsiteY2" fmla="*/ 684188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24 h 1013392"/>
                <a:gd name="connsiteX1" fmla="*/ 258852 w 1764163"/>
                <a:gd name="connsiteY1" fmla="*/ 658288 h 1013392"/>
                <a:gd name="connsiteX2" fmla="*/ 481372 w 1764163"/>
                <a:gd name="connsiteY2" fmla="*/ 684188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24 h 1013392"/>
                <a:gd name="connsiteX1" fmla="*/ 258852 w 1764163"/>
                <a:gd name="connsiteY1" fmla="*/ 658288 h 1013392"/>
                <a:gd name="connsiteX2" fmla="*/ 499386 w 1764163"/>
                <a:gd name="connsiteY2" fmla="*/ 721889 h 1013392"/>
                <a:gd name="connsiteX3" fmla="*/ 632675 w 1764163"/>
                <a:gd name="connsiteY3" fmla="*/ 342111 h 1013392"/>
                <a:gd name="connsiteX4" fmla="*/ 751087 w 1764163"/>
                <a:gd name="connsiteY4" fmla="*/ 98709 h 1013392"/>
                <a:gd name="connsiteX5" fmla="*/ 887863 w 1764163"/>
                <a:gd name="connsiteY5" fmla="*/ 33 h 1013392"/>
                <a:gd name="connsiteX6" fmla="*/ 1006782 w 1764163"/>
                <a:gd name="connsiteY6" fmla="*/ 89630 h 1013392"/>
                <a:gd name="connsiteX7" fmla="*/ 1087717 w 1764163"/>
                <a:gd name="connsiteY7" fmla="*/ 230278 h 1013392"/>
                <a:gd name="connsiteX8" fmla="*/ 1223602 w 1764163"/>
                <a:gd name="connsiteY8" fmla="*/ 539463 h 1013392"/>
                <a:gd name="connsiteX9" fmla="*/ 1336566 w 1764163"/>
                <a:gd name="connsiteY9" fmla="*/ 769708 h 1013392"/>
                <a:gd name="connsiteX10" fmla="*/ 1415507 w 1764163"/>
                <a:gd name="connsiteY10" fmla="*/ 881541 h 1013392"/>
                <a:gd name="connsiteX11" fmla="*/ 1533918 w 1764163"/>
                <a:gd name="connsiteY11" fmla="*/ 967060 h 1013392"/>
                <a:gd name="connsiteX12" fmla="*/ 1665487 w 1764163"/>
                <a:gd name="connsiteY12" fmla="*/ 1006531 h 1013392"/>
                <a:gd name="connsiteX13" fmla="*/ 1764163 w 1764163"/>
                <a:gd name="connsiteY13" fmla="*/ 1013109 h 1013392"/>
                <a:gd name="connsiteX0" fmla="*/ 0 w 1764163"/>
                <a:gd name="connsiteY0" fmla="*/ 818300 h 1013368"/>
                <a:gd name="connsiteX1" fmla="*/ 258852 w 1764163"/>
                <a:gd name="connsiteY1" fmla="*/ 658264 h 1013368"/>
                <a:gd name="connsiteX2" fmla="*/ 499386 w 1764163"/>
                <a:gd name="connsiteY2" fmla="*/ 721865 h 1013368"/>
                <a:gd name="connsiteX3" fmla="*/ 632675 w 1764163"/>
                <a:gd name="connsiteY3" fmla="*/ 342087 h 1013368"/>
                <a:gd name="connsiteX4" fmla="*/ 733073 w 1764163"/>
                <a:gd name="connsiteY4" fmla="*/ 86118 h 1013368"/>
                <a:gd name="connsiteX5" fmla="*/ 887863 w 1764163"/>
                <a:gd name="connsiteY5" fmla="*/ 9 h 1013368"/>
                <a:gd name="connsiteX6" fmla="*/ 1006782 w 1764163"/>
                <a:gd name="connsiteY6" fmla="*/ 89606 h 1013368"/>
                <a:gd name="connsiteX7" fmla="*/ 1087717 w 1764163"/>
                <a:gd name="connsiteY7" fmla="*/ 230254 h 1013368"/>
                <a:gd name="connsiteX8" fmla="*/ 1223602 w 1764163"/>
                <a:gd name="connsiteY8" fmla="*/ 539439 h 1013368"/>
                <a:gd name="connsiteX9" fmla="*/ 1336566 w 1764163"/>
                <a:gd name="connsiteY9" fmla="*/ 769684 h 1013368"/>
                <a:gd name="connsiteX10" fmla="*/ 1415507 w 1764163"/>
                <a:gd name="connsiteY10" fmla="*/ 881517 h 1013368"/>
                <a:gd name="connsiteX11" fmla="*/ 1533918 w 1764163"/>
                <a:gd name="connsiteY11" fmla="*/ 967036 h 1013368"/>
                <a:gd name="connsiteX12" fmla="*/ 1665487 w 1764163"/>
                <a:gd name="connsiteY12" fmla="*/ 1006507 h 1013368"/>
                <a:gd name="connsiteX13" fmla="*/ 1764163 w 1764163"/>
                <a:gd name="connsiteY13" fmla="*/ 1013085 h 1013368"/>
                <a:gd name="connsiteX0" fmla="*/ 0 w 1764163"/>
                <a:gd name="connsiteY0" fmla="*/ 747965 h 943033"/>
                <a:gd name="connsiteX1" fmla="*/ 258852 w 1764163"/>
                <a:gd name="connsiteY1" fmla="*/ 587929 h 943033"/>
                <a:gd name="connsiteX2" fmla="*/ 499386 w 1764163"/>
                <a:gd name="connsiteY2" fmla="*/ 651530 h 943033"/>
                <a:gd name="connsiteX3" fmla="*/ 632675 w 1764163"/>
                <a:gd name="connsiteY3" fmla="*/ 271752 h 943033"/>
                <a:gd name="connsiteX4" fmla="*/ 733073 w 1764163"/>
                <a:gd name="connsiteY4" fmla="*/ 15783 h 943033"/>
                <a:gd name="connsiteX5" fmla="*/ 857839 w 1764163"/>
                <a:gd name="connsiteY5" fmla="*/ 576864 h 943033"/>
                <a:gd name="connsiteX6" fmla="*/ 1006782 w 1764163"/>
                <a:gd name="connsiteY6" fmla="*/ 19271 h 943033"/>
                <a:gd name="connsiteX7" fmla="*/ 1087717 w 1764163"/>
                <a:gd name="connsiteY7" fmla="*/ 159919 h 943033"/>
                <a:gd name="connsiteX8" fmla="*/ 1223602 w 1764163"/>
                <a:gd name="connsiteY8" fmla="*/ 469104 h 943033"/>
                <a:gd name="connsiteX9" fmla="*/ 1336566 w 1764163"/>
                <a:gd name="connsiteY9" fmla="*/ 699349 h 943033"/>
                <a:gd name="connsiteX10" fmla="*/ 1415507 w 1764163"/>
                <a:gd name="connsiteY10" fmla="*/ 811182 h 943033"/>
                <a:gd name="connsiteX11" fmla="*/ 1533918 w 1764163"/>
                <a:gd name="connsiteY11" fmla="*/ 896701 h 943033"/>
                <a:gd name="connsiteX12" fmla="*/ 1665487 w 1764163"/>
                <a:gd name="connsiteY12" fmla="*/ 936172 h 943033"/>
                <a:gd name="connsiteX13" fmla="*/ 1764163 w 1764163"/>
                <a:gd name="connsiteY13" fmla="*/ 942750 h 943033"/>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087717 w 1764163"/>
                <a:gd name="connsiteY6" fmla="*/ 152242 h 935356"/>
                <a:gd name="connsiteX7" fmla="*/ 1223602 w 1764163"/>
                <a:gd name="connsiteY7" fmla="*/ 461427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087717 w 1764163"/>
                <a:gd name="connsiteY6" fmla="*/ 152242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01808 w 1764163"/>
                <a:gd name="connsiteY6" fmla="*/ 284194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336566 w 1764163"/>
                <a:gd name="connsiteY8" fmla="*/ 691672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415507 w 1764163"/>
                <a:gd name="connsiteY9" fmla="*/ 803505 h 935356"/>
                <a:gd name="connsiteX10" fmla="*/ 1533918 w 1764163"/>
                <a:gd name="connsiteY10" fmla="*/ 889024 h 935356"/>
                <a:gd name="connsiteX11" fmla="*/ 1665487 w 1764163"/>
                <a:gd name="connsiteY11" fmla="*/ 928495 h 935356"/>
                <a:gd name="connsiteX12" fmla="*/ 1764163 w 1764163"/>
                <a:gd name="connsiteY12"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533918 w 1764163"/>
                <a:gd name="connsiteY9" fmla="*/ 889024 h 935356"/>
                <a:gd name="connsiteX10" fmla="*/ 1665487 w 1764163"/>
                <a:gd name="connsiteY10" fmla="*/ 928495 h 935356"/>
                <a:gd name="connsiteX11" fmla="*/ 1764163 w 1764163"/>
                <a:gd name="connsiteY11" fmla="*/ 935073 h 935356"/>
                <a:gd name="connsiteX0" fmla="*/ 0 w 1764163"/>
                <a:gd name="connsiteY0" fmla="*/ 740288 h 935356"/>
                <a:gd name="connsiteX1" fmla="*/ 258852 w 1764163"/>
                <a:gd name="connsiteY1" fmla="*/ 580252 h 935356"/>
                <a:gd name="connsiteX2" fmla="*/ 499386 w 1764163"/>
                <a:gd name="connsiteY2" fmla="*/ 643853 h 935356"/>
                <a:gd name="connsiteX3" fmla="*/ 632675 w 1764163"/>
                <a:gd name="connsiteY3" fmla="*/ 264075 h 935356"/>
                <a:gd name="connsiteX4" fmla="*/ 733073 w 1764163"/>
                <a:gd name="connsiteY4" fmla="*/ 8106 h 935356"/>
                <a:gd name="connsiteX5" fmla="*/ 857839 w 1764163"/>
                <a:gd name="connsiteY5" fmla="*/ 569187 h 935356"/>
                <a:gd name="connsiteX6" fmla="*/ 1219822 w 1764163"/>
                <a:gd name="connsiteY6" fmla="*/ 296760 h 935356"/>
                <a:gd name="connsiteX7" fmla="*/ 1355707 w 1764163"/>
                <a:gd name="connsiteY7" fmla="*/ 197524 h 935356"/>
                <a:gd name="connsiteX8" fmla="*/ 1492691 w 1764163"/>
                <a:gd name="connsiteY8" fmla="*/ 126166 h 935356"/>
                <a:gd name="connsiteX9" fmla="*/ 1665487 w 1764163"/>
                <a:gd name="connsiteY9" fmla="*/ 928495 h 935356"/>
                <a:gd name="connsiteX10" fmla="*/ 1764163 w 1764163"/>
                <a:gd name="connsiteY10" fmla="*/ 935073 h 935356"/>
                <a:gd name="connsiteX0" fmla="*/ 0 w 1764163"/>
                <a:gd name="connsiteY0" fmla="*/ 740288 h 935073"/>
                <a:gd name="connsiteX1" fmla="*/ 258852 w 1764163"/>
                <a:gd name="connsiteY1" fmla="*/ 580252 h 935073"/>
                <a:gd name="connsiteX2" fmla="*/ 499386 w 1764163"/>
                <a:gd name="connsiteY2" fmla="*/ 643853 h 935073"/>
                <a:gd name="connsiteX3" fmla="*/ 632675 w 1764163"/>
                <a:gd name="connsiteY3" fmla="*/ 264075 h 935073"/>
                <a:gd name="connsiteX4" fmla="*/ 733073 w 1764163"/>
                <a:gd name="connsiteY4" fmla="*/ 8106 h 935073"/>
                <a:gd name="connsiteX5" fmla="*/ 857839 w 1764163"/>
                <a:gd name="connsiteY5" fmla="*/ 569187 h 935073"/>
                <a:gd name="connsiteX6" fmla="*/ 1219822 w 1764163"/>
                <a:gd name="connsiteY6" fmla="*/ 296760 h 935073"/>
                <a:gd name="connsiteX7" fmla="*/ 1355707 w 1764163"/>
                <a:gd name="connsiteY7" fmla="*/ 197524 h 935073"/>
                <a:gd name="connsiteX8" fmla="*/ 1492691 w 1764163"/>
                <a:gd name="connsiteY8" fmla="*/ 126166 h 935073"/>
                <a:gd name="connsiteX9" fmla="*/ 1764163 w 1764163"/>
                <a:gd name="connsiteY9" fmla="*/ 935073 h 935073"/>
                <a:gd name="connsiteX0" fmla="*/ 0 w 1722129"/>
                <a:gd name="connsiteY0" fmla="*/ 802918 h 802918"/>
                <a:gd name="connsiteX1" fmla="*/ 258852 w 1722129"/>
                <a:gd name="connsiteY1" fmla="*/ 642882 h 802918"/>
                <a:gd name="connsiteX2" fmla="*/ 499386 w 1722129"/>
                <a:gd name="connsiteY2" fmla="*/ 706483 h 802918"/>
                <a:gd name="connsiteX3" fmla="*/ 632675 w 1722129"/>
                <a:gd name="connsiteY3" fmla="*/ 326705 h 802918"/>
                <a:gd name="connsiteX4" fmla="*/ 733073 w 1722129"/>
                <a:gd name="connsiteY4" fmla="*/ 70736 h 802918"/>
                <a:gd name="connsiteX5" fmla="*/ 857839 w 1722129"/>
                <a:gd name="connsiteY5" fmla="*/ 631817 h 802918"/>
                <a:gd name="connsiteX6" fmla="*/ 1219822 w 1722129"/>
                <a:gd name="connsiteY6" fmla="*/ 359390 h 802918"/>
                <a:gd name="connsiteX7" fmla="*/ 1355707 w 1722129"/>
                <a:gd name="connsiteY7" fmla="*/ 260154 h 802918"/>
                <a:gd name="connsiteX8" fmla="*/ 1492691 w 1722129"/>
                <a:gd name="connsiteY8" fmla="*/ 188796 h 802918"/>
                <a:gd name="connsiteX9" fmla="*/ 1722129 w 1722129"/>
                <a:gd name="connsiteY9" fmla="*/ 55192 h 802918"/>
                <a:gd name="connsiteX0" fmla="*/ 0 w 1722129"/>
                <a:gd name="connsiteY0" fmla="*/ 747726 h 747726"/>
                <a:gd name="connsiteX1" fmla="*/ 258852 w 1722129"/>
                <a:gd name="connsiteY1" fmla="*/ 587690 h 747726"/>
                <a:gd name="connsiteX2" fmla="*/ 499386 w 1722129"/>
                <a:gd name="connsiteY2" fmla="*/ 651291 h 747726"/>
                <a:gd name="connsiteX3" fmla="*/ 632675 w 1722129"/>
                <a:gd name="connsiteY3" fmla="*/ 271513 h 747726"/>
                <a:gd name="connsiteX4" fmla="*/ 733073 w 1722129"/>
                <a:gd name="connsiteY4" fmla="*/ 15544 h 747726"/>
                <a:gd name="connsiteX5" fmla="*/ 857839 w 1722129"/>
                <a:gd name="connsiteY5" fmla="*/ 576625 h 747726"/>
                <a:gd name="connsiteX6" fmla="*/ 1219822 w 1722129"/>
                <a:gd name="connsiteY6" fmla="*/ 304198 h 747726"/>
                <a:gd name="connsiteX7" fmla="*/ 1355707 w 1722129"/>
                <a:gd name="connsiteY7" fmla="*/ 204962 h 747726"/>
                <a:gd name="connsiteX8" fmla="*/ 1492691 w 1722129"/>
                <a:gd name="connsiteY8" fmla="*/ 133604 h 747726"/>
                <a:gd name="connsiteX9" fmla="*/ 1722129 w 1722129"/>
                <a:gd name="connsiteY9" fmla="*/ 0 h 747726"/>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219822 w 1746149"/>
                <a:gd name="connsiteY6" fmla="*/ 392166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165779 w 1746149"/>
                <a:gd name="connsiteY6" fmla="*/ 511551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55707 w 1746149"/>
                <a:gd name="connsiteY7" fmla="*/ 292930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25683 w 1746149"/>
                <a:gd name="connsiteY7" fmla="*/ 286646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499386 w 1746149"/>
                <a:gd name="connsiteY2" fmla="*/ 739259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43697 w 1746149"/>
                <a:gd name="connsiteY7" fmla="*/ 362047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632675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43697 w 1746149"/>
                <a:gd name="connsiteY7" fmla="*/ 362047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43697 w 1746149"/>
                <a:gd name="connsiteY7" fmla="*/ 362047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1081712 w 1746149"/>
                <a:gd name="connsiteY6" fmla="*/ 473851 h 835694"/>
                <a:gd name="connsiteX7" fmla="*/ 1343697 w 1746149"/>
                <a:gd name="connsiteY7" fmla="*/ 362047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967621 w 1746149"/>
                <a:gd name="connsiteY6" fmla="*/ 411017 h 835694"/>
                <a:gd name="connsiteX7" fmla="*/ 1343697 w 1746149"/>
                <a:gd name="connsiteY7" fmla="*/ 362047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967621 w 1746149"/>
                <a:gd name="connsiteY6" fmla="*/ 411017 h 835694"/>
                <a:gd name="connsiteX7" fmla="*/ 1169558 w 1746149"/>
                <a:gd name="connsiteY7" fmla="*/ 60444 h 835694"/>
                <a:gd name="connsiteX8" fmla="*/ 1492691 w 1746149"/>
                <a:gd name="connsiteY8" fmla="*/ 221572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967621 w 1746149"/>
                <a:gd name="connsiteY6" fmla="*/ 411017 h 835694"/>
                <a:gd name="connsiteX7" fmla="*/ 1169558 w 1746149"/>
                <a:gd name="connsiteY7" fmla="*/ 60444 h 835694"/>
                <a:gd name="connsiteX8" fmla="*/ 1276518 w 1746149"/>
                <a:gd name="connsiteY8" fmla="*/ 259273 h 835694"/>
                <a:gd name="connsiteX9" fmla="*/ 1746149 w 1746149"/>
                <a:gd name="connsiteY9"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967621 w 1746149"/>
                <a:gd name="connsiteY6" fmla="*/ 411017 h 835694"/>
                <a:gd name="connsiteX7" fmla="*/ 1169558 w 1746149"/>
                <a:gd name="connsiteY7" fmla="*/ 60444 h 835694"/>
                <a:gd name="connsiteX8" fmla="*/ 1276518 w 1746149"/>
                <a:gd name="connsiteY8" fmla="*/ 259273 h 835694"/>
                <a:gd name="connsiteX9" fmla="*/ 1478247 w 1746149"/>
                <a:gd name="connsiteY9" fmla="*/ 167840 h 835694"/>
                <a:gd name="connsiteX10" fmla="*/ 1746149 w 1746149"/>
                <a:gd name="connsiteY10" fmla="*/ 0 h 835694"/>
                <a:gd name="connsiteX0" fmla="*/ 0 w 1746149"/>
                <a:gd name="connsiteY0" fmla="*/ 835694 h 835694"/>
                <a:gd name="connsiteX1" fmla="*/ 258852 w 1746149"/>
                <a:gd name="connsiteY1" fmla="*/ 675658 h 835694"/>
                <a:gd name="connsiteX2" fmla="*/ 391299 w 1746149"/>
                <a:gd name="connsiteY2" fmla="*/ 802094 h 835694"/>
                <a:gd name="connsiteX3" fmla="*/ 488560 w 1746149"/>
                <a:gd name="connsiteY3" fmla="*/ 359481 h 835694"/>
                <a:gd name="connsiteX4" fmla="*/ 733073 w 1746149"/>
                <a:gd name="connsiteY4" fmla="*/ 103512 h 835694"/>
                <a:gd name="connsiteX5" fmla="*/ 857839 w 1746149"/>
                <a:gd name="connsiteY5" fmla="*/ 664593 h 835694"/>
                <a:gd name="connsiteX6" fmla="*/ 967621 w 1746149"/>
                <a:gd name="connsiteY6" fmla="*/ 411017 h 835694"/>
                <a:gd name="connsiteX7" fmla="*/ 1169558 w 1746149"/>
                <a:gd name="connsiteY7" fmla="*/ 60444 h 835694"/>
                <a:gd name="connsiteX8" fmla="*/ 1276518 w 1746149"/>
                <a:gd name="connsiteY8" fmla="*/ 259273 h 835694"/>
                <a:gd name="connsiteX9" fmla="*/ 1436213 w 1746149"/>
                <a:gd name="connsiteY9" fmla="*/ 35888 h 835694"/>
                <a:gd name="connsiteX10" fmla="*/ 1746149 w 1746149"/>
                <a:gd name="connsiteY10" fmla="*/ 0 h 835694"/>
                <a:gd name="connsiteX0" fmla="*/ 0 w 1746149"/>
                <a:gd name="connsiteY0" fmla="*/ 836121 h 836121"/>
                <a:gd name="connsiteX1" fmla="*/ 258852 w 1746149"/>
                <a:gd name="connsiteY1" fmla="*/ 676085 h 836121"/>
                <a:gd name="connsiteX2" fmla="*/ 391299 w 1746149"/>
                <a:gd name="connsiteY2" fmla="*/ 802521 h 836121"/>
                <a:gd name="connsiteX3" fmla="*/ 488560 w 1746149"/>
                <a:gd name="connsiteY3" fmla="*/ 359908 h 836121"/>
                <a:gd name="connsiteX4" fmla="*/ 733073 w 1746149"/>
                <a:gd name="connsiteY4" fmla="*/ 103939 h 836121"/>
                <a:gd name="connsiteX5" fmla="*/ 857839 w 1746149"/>
                <a:gd name="connsiteY5" fmla="*/ 665020 h 836121"/>
                <a:gd name="connsiteX6" fmla="*/ 967621 w 1746149"/>
                <a:gd name="connsiteY6" fmla="*/ 411444 h 836121"/>
                <a:gd name="connsiteX7" fmla="*/ 1169558 w 1746149"/>
                <a:gd name="connsiteY7" fmla="*/ 60871 h 836121"/>
                <a:gd name="connsiteX8" fmla="*/ 1276518 w 1746149"/>
                <a:gd name="connsiteY8" fmla="*/ 259700 h 836121"/>
                <a:gd name="connsiteX9" fmla="*/ 1436213 w 1746149"/>
                <a:gd name="connsiteY9" fmla="*/ 17465 h 836121"/>
                <a:gd name="connsiteX10" fmla="*/ 1746149 w 1746149"/>
                <a:gd name="connsiteY10" fmla="*/ 427 h 836121"/>
                <a:gd name="connsiteX0" fmla="*/ 0 w 1746149"/>
                <a:gd name="connsiteY0" fmla="*/ 836121 h 836121"/>
                <a:gd name="connsiteX1" fmla="*/ 258852 w 1746149"/>
                <a:gd name="connsiteY1" fmla="*/ 676085 h 836121"/>
                <a:gd name="connsiteX2" fmla="*/ 391299 w 1746149"/>
                <a:gd name="connsiteY2" fmla="*/ 802521 h 836121"/>
                <a:gd name="connsiteX3" fmla="*/ 518584 w 1746149"/>
                <a:gd name="connsiteY3" fmla="*/ 359908 h 836121"/>
                <a:gd name="connsiteX4" fmla="*/ 733073 w 1746149"/>
                <a:gd name="connsiteY4" fmla="*/ 103939 h 836121"/>
                <a:gd name="connsiteX5" fmla="*/ 857839 w 1746149"/>
                <a:gd name="connsiteY5" fmla="*/ 665020 h 836121"/>
                <a:gd name="connsiteX6" fmla="*/ 967621 w 1746149"/>
                <a:gd name="connsiteY6" fmla="*/ 411444 h 836121"/>
                <a:gd name="connsiteX7" fmla="*/ 1169558 w 1746149"/>
                <a:gd name="connsiteY7" fmla="*/ 60871 h 836121"/>
                <a:gd name="connsiteX8" fmla="*/ 1276518 w 1746149"/>
                <a:gd name="connsiteY8" fmla="*/ 259700 h 836121"/>
                <a:gd name="connsiteX9" fmla="*/ 1436213 w 1746149"/>
                <a:gd name="connsiteY9" fmla="*/ 17465 h 836121"/>
                <a:gd name="connsiteX10" fmla="*/ 1746149 w 1746149"/>
                <a:gd name="connsiteY10" fmla="*/ 427 h 836121"/>
                <a:gd name="connsiteX0" fmla="*/ 0 w 1746149"/>
                <a:gd name="connsiteY0" fmla="*/ 836121 h 836121"/>
                <a:gd name="connsiteX1" fmla="*/ 258852 w 1746149"/>
                <a:gd name="connsiteY1" fmla="*/ 676085 h 836121"/>
                <a:gd name="connsiteX2" fmla="*/ 391299 w 1746149"/>
                <a:gd name="connsiteY2" fmla="*/ 802521 h 836121"/>
                <a:gd name="connsiteX3" fmla="*/ 518584 w 1746149"/>
                <a:gd name="connsiteY3" fmla="*/ 359908 h 836121"/>
                <a:gd name="connsiteX4" fmla="*/ 733073 w 1746149"/>
                <a:gd name="connsiteY4" fmla="*/ 103939 h 836121"/>
                <a:gd name="connsiteX5" fmla="*/ 857839 w 1746149"/>
                <a:gd name="connsiteY5" fmla="*/ 665020 h 836121"/>
                <a:gd name="connsiteX6" fmla="*/ 967621 w 1746149"/>
                <a:gd name="connsiteY6" fmla="*/ 411444 h 836121"/>
                <a:gd name="connsiteX7" fmla="*/ 1169558 w 1746149"/>
                <a:gd name="connsiteY7" fmla="*/ 60871 h 836121"/>
                <a:gd name="connsiteX8" fmla="*/ 1276518 w 1746149"/>
                <a:gd name="connsiteY8" fmla="*/ 259700 h 836121"/>
                <a:gd name="connsiteX9" fmla="*/ 1436213 w 1746149"/>
                <a:gd name="connsiteY9" fmla="*/ 17465 h 836121"/>
                <a:gd name="connsiteX10" fmla="*/ 1746149 w 1746149"/>
                <a:gd name="connsiteY10" fmla="*/ 427 h 836121"/>
                <a:gd name="connsiteX0" fmla="*/ 0 w 1746149"/>
                <a:gd name="connsiteY0" fmla="*/ 836121 h 836121"/>
                <a:gd name="connsiteX1" fmla="*/ 258852 w 1746149"/>
                <a:gd name="connsiteY1" fmla="*/ 676085 h 836121"/>
                <a:gd name="connsiteX2" fmla="*/ 391299 w 1746149"/>
                <a:gd name="connsiteY2" fmla="*/ 802521 h 836121"/>
                <a:gd name="connsiteX3" fmla="*/ 518584 w 1746149"/>
                <a:gd name="connsiteY3" fmla="*/ 359908 h 836121"/>
                <a:gd name="connsiteX4" fmla="*/ 733073 w 1746149"/>
                <a:gd name="connsiteY4" fmla="*/ 103939 h 836121"/>
                <a:gd name="connsiteX5" fmla="*/ 845829 w 1746149"/>
                <a:gd name="connsiteY5" fmla="*/ 790688 h 836121"/>
                <a:gd name="connsiteX6" fmla="*/ 967621 w 1746149"/>
                <a:gd name="connsiteY6" fmla="*/ 411444 h 836121"/>
                <a:gd name="connsiteX7" fmla="*/ 1169558 w 1746149"/>
                <a:gd name="connsiteY7" fmla="*/ 60871 h 836121"/>
                <a:gd name="connsiteX8" fmla="*/ 1276518 w 1746149"/>
                <a:gd name="connsiteY8" fmla="*/ 259700 h 836121"/>
                <a:gd name="connsiteX9" fmla="*/ 1436213 w 1746149"/>
                <a:gd name="connsiteY9" fmla="*/ 17465 h 836121"/>
                <a:gd name="connsiteX10" fmla="*/ 1746149 w 1746149"/>
                <a:gd name="connsiteY10" fmla="*/ 427 h 83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6149" h="836121">
                  <a:moveTo>
                    <a:pt x="0" y="836121"/>
                  </a:moveTo>
                  <a:cubicBezTo>
                    <a:pt x="100321" y="830639"/>
                    <a:pt x="193636" y="681685"/>
                    <a:pt x="258852" y="676085"/>
                  </a:cubicBezTo>
                  <a:cubicBezTo>
                    <a:pt x="324068" y="670485"/>
                    <a:pt x="348010" y="855217"/>
                    <a:pt x="391299" y="802521"/>
                  </a:cubicBezTo>
                  <a:cubicBezTo>
                    <a:pt x="434588" y="749825"/>
                    <a:pt x="479636" y="476338"/>
                    <a:pt x="518584" y="359908"/>
                  </a:cubicBezTo>
                  <a:cubicBezTo>
                    <a:pt x="557532" y="243478"/>
                    <a:pt x="678532" y="32142"/>
                    <a:pt x="733073" y="103939"/>
                  </a:cubicBezTo>
                  <a:cubicBezTo>
                    <a:pt x="787614" y="175736"/>
                    <a:pt x="806738" y="739437"/>
                    <a:pt x="845829" y="790688"/>
                  </a:cubicBezTo>
                  <a:cubicBezTo>
                    <a:pt x="884920" y="841939"/>
                    <a:pt x="913666" y="533080"/>
                    <a:pt x="967621" y="411444"/>
                  </a:cubicBezTo>
                  <a:cubicBezTo>
                    <a:pt x="1021576" y="289808"/>
                    <a:pt x="1118075" y="86162"/>
                    <a:pt x="1169558" y="60871"/>
                  </a:cubicBezTo>
                  <a:cubicBezTo>
                    <a:pt x="1221041" y="35580"/>
                    <a:pt x="1232076" y="266934"/>
                    <a:pt x="1276518" y="259700"/>
                  </a:cubicBezTo>
                  <a:cubicBezTo>
                    <a:pt x="1320960" y="252466"/>
                    <a:pt x="1357941" y="60677"/>
                    <a:pt x="1436213" y="17465"/>
                  </a:cubicBezTo>
                  <a:cubicBezTo>
                    <a:pt x="1514485" y="-25747"/>
                    <a:pt x="1701499" y="28400"/>
                    <a:pt x="1746149" y="427"/>
                  </a:cubicBezTo>
                </a:path>
              </a:pathLst>
            </a:custGeom>
            <a:noFill/>
            <a:ln w="28575" cap="flat" cmpd="sng" algn="ctr">
              <a:solidFill>
                <a:srgbClr val="FF6120"/>
              </a:solidFill>
              <a:prstDash val="solid"/>
              <a:headEnd type="none"/>
              <a:tailEnd type="none"/>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endParaRPr kumimoji="0" lang="en-GB" sz="1039" b="0" i="0" u="none" strike="noStrike" kern="1200" cap="none" spc="0" normalizeH="0" baseline="0" noProof="0">
                <a:ln>
                  <a:noFill/>
                </a:ln>
                <a:solidFill>
                  <a:srgbClr val="353535"/>
                </a:solidFill>
                <a:effectLst/>
                <a:uLnTx/>
                <a:uFillTx/>
                <a:latin typeface="Avenir Next LT Pro"/>
                <a:ea typeface="+mn-ea"/>
                <a:cs typeface="Arial" charset="0"/>
              </a:endParaRPr>
            </a:p>
          </p:txBody>
        </p:sp>
      </p:grpSp>
      <p:sp>
        <p:nvSpPr>
          <p:cNvPr id="45" name="TextBox 44">
            <a:extLst>
              <a:ext uri="{FF2B5EF4-FFF2-40B4-BE49-F238E27FC236}">
                <a16:creationId xmlns:a16="http://schemas.microsoft.com/office/drawing/2014/main" id="{BC6B794B-0892-12B7-A24B-BA1DD2532B87}"/>
              </a:ext>
            </a:extLst>
          </p:cNvPr>
          <p:cNvSpPr txBox="1">
            <a:spLocks/>
          </p:cNvSpPr>
          <p:nvPr/>
        </p:nvSpPr>
        <p:spPr>
          <a:xfrm>
            <a:off x="7357023" y="2629665"/>
            <a:ext cx="387927" cy="794188"/>
          </a:xfrm>
          <a:prstGeom prst="rect">
            <a:avLst/>
          </a:prstGeom>
          <a:noFill/>
        </p:spPr>
        <p:txBody>
          <a:bodyPr wrap="none" lIns="0" tIns="47623" rIns="0" bIns="47623" rtlCol="0">
            <a:spAutoFit/>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en-GB" sz="4536" b="0" i="0" u="none" strike="noStrike" kern="1200" cap="none" spc="0" normalizeH="0" baseline="0" noProof="0" dirty="0">
                <a:ln>
                  <a:noFill/>
                </a:ln>
                <a:solidFill>
                  <a:schemeClr val="accent2"/>
                </a:solidFill>
                <a:effectLst/>
                <a:uLnTx/>
                <a:uFillTx/>
                <a:latin typeface="Avenir Next LT Pro"/>
                <a:ea typeface="+mn-ea"/>
                <a:cs typeface="Arial"/>
              </a:rPr>
              <a:t>+</a:t>
            </a:r>
          </a:p>
        </p:txBody>
      </p:sp>
      <p:grpSp>
        <p:nvGrpSpPr>
          <p:cNvPr id="46" name="Group 45">
            <a:extLst>
              <a:ext uri="{FF2B5EF4-FFF2-40B4-BE49-F238E27FC236}">
                <a16:creationId xmlns:a16="http://schemas.microsoft.com/office/drawing/2014/main" id="{D7BA5CCB-70B4-641E-D91E-E60AD388018D}"/>
              </a:ext>
            </a:extLst>
          </p:cNvPr>
          <p:cNvGrpSpPr/>
          <p:nvPr/>
        </p:nvGrpSpPr>
        <p:grpSpPr>
          <a:xfrm>
            <a:off x="2401520" y="4621370"/>
            <a:ext cx="7578623" cy="794188"/>
            <a:chOff x="3606715" y="4028314"/>
            <a:chExt cx="4577487" cy="794188"/>
          </a:xfrm>
        </p:grpSpPr>
        <p:sp>
          <p:nvSpPr>
            <p:cNvPr id="47" name="TextBox 46">
              <a:extLst>
                <a:ext uri="{FF2B5EF4-FFF2-40B4-BE49-F238E27FC236}">
                  <a16:creationId xmlns:a16="http://schemas.microsoft.com/office/drawing/2014/main" id="{1DB66017-3B66-749C-05D5-49A3E2BC237E}"/>
                </a:ext>
              </a:extLst>
            </p:cNvPr>
            <p:cNvSpPr txBox="1">
              <a:spLocks/>
            </p:cNvSpPr>
            <p:nvPr/>
          </p:nvSpPr>
          <p:spPr>
            <a:xfrm>
              <a:off x="3606715" y="4128794"/>
              <a:ext cx="4577487" cy="588619"/>
            </a:xfrm>
            <a:prstGeom prst="rect">
              <a:avLst/>
            </a:prstGeom>
            <a:noFill/>
          </p:spPr>
          <p:txBody>
            <a:bodyPr wrap="square" lIns="0" tIns="47623" rIns="0" bIns="47623" rtlCol="0">
              <a:spAutoFit/>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en-GB" sz="3200" b="1" i="0" u="none" strike="noStrike" kern="1200" cap="none" spc="0" normalizeH="0" baseline="0" noProof="0" dirty="0">
                  <a:ln>
                    <a:noFill/>
                  </a:ln>
                  <a:solidFill>
                    <a:schemeClr val="accent2"/>
                  </a:solidFill>
                  <a:effectLst/>
                  <a:uLnTx/>
                  <a:uFillTx/>
                  <a:latin typeface="Avenir Next LT Pro"/>
                  <a:ea typeface="+mn-ea"/>
                  <a:cs typeface="Arial"/>
                </a:rPr>
                <a:t>More durable retirement income</a:t>
              </a:r>
            </a:p>
          </p:txBody>
        </p:sp>
        <p:sp>
          <p:nvSpPr>
            <p:cNvPr id="48" name="TextBox 47">
              <a:extLst>
                <a:ext uri="{FF2B5EF4-FFF2-40B4-BE49-F238E27FC236}">
                  <a16:creationId xmlns:a16="http://schemas.microsoft.com/office/drawing/2014/main" id="{63697922-9917-BD8A-5444-66C5AF733EF8}"/>
                </a:ext>
              </a:extLst>
            </p:cNvPr>
            <p:cNvSpPr txBox="1">
              <a:spLocks/>
            </p:cNvSpPr>
            <p:nvPr/>
          </p:nvSpPr>
          <p:spPr>
            <a:xfrm>
              <a:off x="3609379" y="4028314"/>
              <a:ext cx="234308" cy="794188"/>
            </a:xfrm>
            <a:prstGeom prst="rect">
              <a:avLst/>
            </a:prstGeom>
            <a:noFill/>
          </p:spPr>
          <p:txBody>
            <a:bodyPr wrap="none" lIns="0" tIns="47623" rIns="0" bIns="47623" rtlCol="0">
              <a:spAutoFit/>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en-GB" sz="4536" b="1" i="0" u="none" strike="noStrike" kern="1200" cap="none" spc="0" normalizeH="0" baseline="0" noProof="0" dirty="0">
                  <a:ln>
                    <a:noFill/>
                  </a:ln>
                  <a:solidFill>
                    <a:schemeClr val="accent2"/>
                  </a:solidFill>
                  <a:effectLst/>
                  <a:uLnTx/>
                  <a:uFillTx/>
                  <a:latin typeface="Avenir Next LT Pro"/>
                  <a:ea typeface="+mn-ea"/>
                  <a:cs typeface="Arial"/>
                </a:rPr>
                <a:t>=</a:t>
              </a:r>
            </a:p>
          </p:txBody>
        </p:sp>
      </p:grpSp>
      <p:sp>
        <p:nvSpPr>
          <p:cNvPr id="49" name="Text Placeholder 51">
            <a:extLst>
              <a:ext uri="{FF2B5EF4-FFF2-40B4-BE49-F238E27FC236}">
                <a16:creationId xmlns:a16="http://schemas.microsoft.com/office/drawing/2014/main" id="{37EA0B8F-3DEB-7631-2035-C0F8ADD82E31}"/>
              </a:ext>
            </a:extLst>
          </p:cNvPr>
          <p:cNvSpPr txBox="1">
            <a:spLocks/>
          </p:cNvSpPr>
          <p:nvPr/>
        </p:nvSpPr>
        <p:spPr bwMode="auto">
          <a:xfrm>
            <a:off x="477371" y="4151804"/>
            <a:ext cx="3489511"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defTabSz="853026" rtl="0" eaLnBrk="1" fontAlgn="base" hangingPunct="1">
              <a:spcBef>
                <a:spcPts val="900"/>
              </a:spcBef>
              <a:spcAft>
                <a:spcPts val="300"/>
              </a:spcAft>
              <a:buClr>
                <a:schemeClr val="accent1"/>
              </a:buClr>
              <a:buSzPct val="120000"/>
              <a:defRPr sz="1400" b="1" cap="all" spc="0" baseline="0">
                <a:solidFill>
                  <a:schemeClr val="accent1"/>
                </a:solidFill>
                <a:latin typeface="+mj-lt"/>
                <a:ea typeface="+mn-ea"/>
                <a:cs typeface="+mn-cs"/>
              </a:defRPr>
            </a:lvl1pPr>
            <a:lvl2pPr marL="1361" indent="0" algn="l" defTabSz="853026" rtl="0" eaLnBrk="1" fontAlgn="base" hangingPunct="1">
              <a:spcBef>
                <a:spcPts val="0"/>
              </a:spcBef>
              <a:spcAft>
                <a:spcPts val="600"/>
              </a:spcAft>
              <a:buClr>
                <a:schemeClr val="tx2"/>
              </a:buClr>
              <a:buSzPct val="120000"/>
              <a:buNone/>
              <a:defRPr sz="14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4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4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4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marL="0" marR="0" lvl="0" indent="0" algn="ctr" defTabSz="864017" rtl="0" eaLnBrk="1" fontAlgn="auto" latinLnBrk="0" hangingPunct="1">
              <a:lnSpc>
                <a:spcPct val="100000"/>
              </a:lnSpc>
              <a:spcBef>
                <a:spcPts val="0"/>
              </a:spcBef>
              <a:spcAft>
                <a:spcPts val="0"/>
              </a:spcAft>
              <a:buClr>
                <a:srgbClr val="00485E"/>
              </a:buClr>
              <a:buSzPct val="120000"/>
              <a:buFontTx/>
              <a:buNone/>
              <a:tabLst/>
              <a:defRPr/>
            </a:pPr>
            <a:r>
              <a:rPr kumimoji="0" lang="en-GB" sz="1400" b="1" i="0" u="none" strike="noStrike" kern="0" cap="all" spc="0" normalizeH="0" baseline="0" noProof="0" dirty="0">
                <a:ln>
                  <a:noFill/>
                </a:ln>
                <a:solidFill>
                  <a:schemeClr val="accent2"/>
                </a:solidFill>
                <a:effectLst/>
                <a:uLnTx/>
                <a:uFillTx/>
                <a:latin typeface="Avenir Next LT Pro"/>
                <a:ea typeface="+mn-ea"/>
                <a:cs typeface="Arial"/>
              </a:rPr>
              <a:t>Lower downside, Greater upside</a:t>
            </a:r>
          </a:p>
        </p:txBody>
      </p:sp>
      <p:sp>
        <p:nvSpPr>
          <p:cNvPr id="50" name="Text Placeholder 51">
            <a:extLst>
              <a:ext uri="{FF2B5EF4-FFF2-40B4-BE49-F238E27FC236}">
                <a16:creationId xmlns:a16="http://schemas.microsoft.com/office/drawing/2014/main" id="{7FA262EB-5AC2-4EAB-F774-4CE5B17EB9C4}"/>
              </a:ext>
            </a:extLst>
          </p:cNvPr>
          <p:cNvSpPr txBox="1">
            <a:spLocks/>
          </p:cNvSpPr>
          <p:nvPr/>
        </p:nvSpPr>
        <p:spPr bwMode="auto">
          <a:xfrm>
            <a:off x="4167189" y="4151804"/>
            <a:ext cx="324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defTabSz="853026" rtl="0" eaLnBrk="1" fontAlgn="base" hangingPunct="1">
              <a:spcBef>
                <a:spcPts val="900"/>
              </a:spcBef>
              <a:spcAft>
                <a:spcPts val="300"/>
              </a:spcAft>
              <a:buClr>
                <a:schemeClr val="accent1"/>
              </a:buClr>
              <a:buSzPct val="120000"/>
              <a:defRPr sz="1400" b="1" cap="all" spc="0" baseline="0">
                <a:solidFill>
                  <a:schemeClr val="accent1"/>
                </a:solidFill>
                <a:latin typeface="+mj-lt"/>
                <a:ea typeface="+mn-ea"/>
                <a:cs typeface="+mn-cs"/>
              </a:defRPr>
            </a:lvl1pPr>
            <a:lvl2pPr marL="1361" indent="0" algn="l" defTabSz="853026" rtl="0" eaLnBrk="1" fontAlgn="base" hangingPunct="1">
              <a:spcBef>
                <a:spcPts val="0"/>
              </a:spcBef>
              <a:spcAft>
                <a:spcPts val="600"/>
              </a:spcAft>
              <a:buClr>
                <a:schemeClr val="tx2"/>
              </a:buClr>
              <a:buSzPct val="120000"/>
              <a:buNone/>
              <a:defRPr sz="14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4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4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4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marL="0" marR="0" lvl="0" indent="0" algn="ctr" defTabSz="864017" rtl="0" eaLnBrk="1" fontAlgn="auto" latinLnBrk="0" hangingPunct="1">
              <a:lnSpc>
                <a:spcPct val="100000"/>
              </a:lnSpc>
              <a:spcBef>
                <a:spcPts val="0"/>
              </a:spcBef>
              <a:spcAft>
                <a:spcPts val="0"/>
              </a:spcAft>
              <a:buClr>
                <a:srgbClr val="00485E"/>
              </a:buClr>
              <a:buSzPct val="120000"/>
              <a:buFontTx/>
              <a:buNone/>
              <a:tabLst/>
              <a:defRPr/>
            </a:pPr>
            <a:r>
              <a:rPr kumimoji="0" lang="en-GB" sz="1400" b="1" i="0" u="none" strike="noStrike" kern="0" cap="all" spc="0" normalizeH="0" baseline="0" noProof="0" dirty="0">
                <a:ln>
                  <a:noFill/>
                </a:ln>
                <a:solidFill>
                  <a:schemeClr val="accent2"/>
                </a:solidFill>
                <a:effectLst/>
                <a:uLnTx/>
                <a:uFillTx/>
                <a:latin typeface="Avenir Next LT Pro"/>
                <a:ea typeface="+mn-ea"/>
                <a:cs typeface="Arial"/>
              </a:rPr>
              <a:t>Less extreme outcomes</a:t>
            </a:r>
          </a:p>
        </p:txBody>
      </p:sp>
      <p:sp>
        <p:nvSpPr>
          <p:cNvPr id="51" name="Text Placeholder 51">
            <a:extLst>
              <a:ext uri="{FF2B5EF4-FFF2-40B4-BE49-F238E27FC236}">
                <a16:creationId xmlns:a16="http://schemas.microsoft.com/office/drawing/2014/main" id="{80B653B8-1C0E-D041-79C0-52C06684863E}"/>
              </a:ext>
            </a:extLst>
          </p:cNvPr>
          <p:cNvSpPr txBox="1">
            <a:spLocks/>
          </p:cNvSpPr>
          <p:nvPr/>
        </p:nvSpPr>
        <p:spPr bwMode="auto">
          <a:xfrm>
            <a:off x="7751595" y="4151804"/>
            <a:ext cx="324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defTabSz="853026" rtl="0" eaLnBrk="1" fontAlgn="base" hangingPunct="1">
              <a:spcBef>
                <a:spcPts val="900"/>
              </a:spcBef>
              <a:spcAft>
                <a:spcPts val="300"/>
              </a:spcAft>
              <a:buClr>
                <a:schemeClr val="accent1"/>
              </a:buClr>
              <a:buSzPct val="120000"/>
              <a:defRPr sz="1400" b="1" cap="all" spc="0" baseline="0">
                <a:solidFill>
                  <a:schemeClr val="accent1"/>
                </a:solidFill>
                <a:latin typeface="+mj-lt"/>
                <a:ea typeface="+mn-ea"/>
                <a:cs typeface="+mn-cs"/>
              </a:defRPr>
            </a:lvl1pPr>
            <a:lvl2pPr marL="1361" indent="0" algn="l" defTabSz="853026" rtl="0" eaLnBrk="1" fontAlgn="base" hangingPunct="1">
              <a:spcBef>
                <a:spcPts val="0"/>
              </a:spcBef>
              <a:spcAft>
                <a:spcPts val="600"/>
              </a:spcAft>
              <a:buClr>
                <a:schemeClr val="tx2"/>
              </a:buClr>
              <a:buSzPct val="120000"/>
              <a:buNone/>
              <a:defRPr sz="14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4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4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4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marL="0" marR="0" lvl="0" indent="0" algn="ctr" defTabSz="864017" rtl="0" eaLnBrk="1" fontAlgn="auto" latinLnBrk="0" hangingPunct="1">
              <a:lnSpc>
                <a:spcPct val="100000"/>
              </a:lnSpc>
              <a:spcBef>
                <a:spcPts val="0"/>
              </a:spcBef>
              <a:spcAft>
                <a:spcPts val="0"/>
              </a:spcAft>
              <a:buClr>
                <a:srgbClr val="00485E"/>
              </a:buClr>
              <a:buSzPct val="120000"/>
              <a:buFontTx/>
              <a:buNone/>
              <a:tabLst/>
              <a:defRPr/>
            </a:pPr>
            <a:r>
              <a:rPr kumimoji="0" lang="en-GB" sz="1400" b="1" i="0" u="none" strike="noStrike" kern="0" cap="all" spc="0" normalizeH="0" baseline="0" noProof="0" dirty="0">
                <a:ln>
                  <a:noFill/>
                </a:ln>
                <a:solidFill>
                  <a:srgbClr val="00485E"/>
                </a:solidFill>
                <a:effectLst/>
                <a:uLnTx/>
                <a:uFillTx/>
                <a:latin typeface="Avenir Next LT Pro"/>
                <a:ea typeface="+mn-ea"/>
                <a:cs typeface="Arial"/>
              </a:rPr>
              <a:t>BOUNCEBACKABILITY</a:t>
            </a:r>
          </a:p>
        </p:txBody>
      </p:sp>
      <p:sp>
        <p:nvSpPr>
          <p:cNvPr id="5" name="Text Placeholder 61">
            <a:extLst>
              <a:ext uri="{FF2B5EF4-FFF2-40B4-BE49-F238E27FC236}">
                <a16:creationId xmlns:a16="http://schemas.microsoft.com/office/drawing/2014/main" id="{319EC09C-3CF7-CFD2-26AE-55048BAB1157}"/>
              </a:ext>
            </a:extLst>
          </p:cNvPr>
          <p:cNvSpPr txBox="1">
            <a:spLocks/>
          </p:cNvSpPr>
          <p:nvPr/>
        </p:nvSpPr>
        <p:spPr>
          <a:xfrm>
            <a:off x="862314" y="1434427"/>
            <a:ext cx="3240000" cy="288000"/>
          </a:xfrm>
          <a:prstGeom prst="rect">
            <a:avLst/>
          </a:prstGeom>
        </p:spPr>
        <p:txBody>
          <a:bodyPr/>
          <a:lstStyle>
            <a:lvl1pPr algn="l" defTabSz="853026"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defTabSz="864017" fontAlgn="auto">
              <a:spcBef>
                <a:spcPts val="0"/>
              </a:spcBef>
              <a:spcAft>
                <a:spcPts val="0"/>
              </a:spcAft>
              <a:defRPr/>
            </a:pPr>
            <a:r>
              <a:rPr lang="en-GB" sz="1400" kern="0" dirty="0"/>
              <a:t>Positively Skewed Distribution</a:t>
            </a:r>
          </a:p>
        </p:txBody>
      </p:sp>
    </p:spTree>
    <p:custDataLst>
      <p:tags r:id="rId1"/>
    </p:custDataLst>
    <p:extLst>
      <p:ext uri="{BB962C8B-B14F-4D97-AF65-F5344CB8AC3E}">
        <p14:creationId xmlns:p14="http://schemas.microsoft.com/office/powerpoint/2010/main" val="2665478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0">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1">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10" grpId="0"/>
      <p:bldP spid="45" grpId="0"/>
      <p:bldP spid="49" grpId="0" build="p"/>
      <p:bldP spid="50" grpId="0" build="p"/>
      <p:bldP spid="51" grpId="0" build="p"/>
      <p:bldP spid="5"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CF2F0B-F09A-2F51-E379-185BF184DE9B}"/>
              </a:ext>
            </a:extLst>
          </p:cNvPr>
          <p:cNvSpPr>
            <a:spLocks noGrp="1"/>
          </p:cNvSpPr>
          <p:nvPr>
            <p:ph type="body" sz="quarter" idx="11"/>
          </p:nvPr>
        </p:nvSpPr>
        <p:spPr>
          <a:xfrm>
            <a:off x="864076" y="4136226"/>
            <a:ext cx="6127861" cy="767408"/>
          </a:xfrm>
        </p:spPr>
        <p:txBody>
          <a:bodyPr/>
          <a:lstStyle/>
          <a:p>
            <a:r>
              <a:rPr lang="en-GB" dirty="0"/>
              <a:t>How managed income strategies can support retirement</a:t>
            </a:r>
          </a:p>
        </p:txBody>
      </p:sp>
      <p:sp>
        <p:nvSpPr>
          <p:cNvPr id="21" name="Slide Number Placeholder 20">
            <a:extLst>
              <a:ext uri="{FF2B5EF4-FFF2-40B4-BE49-F238E27FC236}">
                <a16:creationId xmlns:a16="http://schemas.microsoft.com/office/drawing/2014/main" id="{49A32A19-75A1-9266-E985-3DD80B1D4BC8}"/>
              </a:ext>
            </a:extLst>
          </p:cNvPr>
          <p:cNvSpPr>
            <a:spLocks noGrp="1"/>
          </p:cNvSpPr>
          <p:nvPr>
            <p:ph type="sldNum" sz="quarter" idx="14"/>
          </p:nvPr>
        </p:nvSpPr>
        <p:spPr/>
        <p:txBody>
          <a:bodyPr/>
          <a:lstStyle/>
          <a:p>
            <a:fld id="{0F961903-03AF-4EAC-BF2C-945F8C5557D1}" type="slidenum">
              <a:rPr lang="en-GB" smtClean="0"/>
              <a:pPr/>
              <a:t>14</a:t>
            </a:fld>
            <a:endParaRPr lang="en-GB" dirty="0"/>
          </a:p>
        </p:txBody>
      </p:sp>
      <p:sp>
        <p:nvSpPr>
          <p:cNvPr id="23" name="Title 22">
            <a:extLst>
              <a:ext uri="{FF2B5EF4-FFF2-40B4-BE49-F238E27FC236}">
                <a16:creationId xmlns:a16="http://schemas.microsoft.com/office/drawing/2014/main" id="{D602D668-2ACF-804D-F68B-D00958322630}"/>
              </a:ext>
            </a:extLst>
          </p:cNvPr>
          <p:cNvSpPr>
            <a:spLocks noGrp="1"/>
          </p:cNvSpPr>
          <p:nvPr>
            <p:ph type="title"/>
          </p:nvPr>
        </p:nvSpPr>
        <p:spPr>
          <a:xfrm>
            <a:off x="864076" y="2229572"/>
            <a:ext cx="7751735" cy="1563165"/>
          </a:xfrm>
        </p:spPr>
        <p:txBody>
          <a:bodyPr/>
          <a:lstStyle/>
          <a:p>
            <a:r>
              <a:rPr lang="en-GB" dirty="0">
                <a:solidFill>
                  <a:srgbClr val="FF6120"/>
                </a:solidFill>
              </a:rPr>
              <a:t>INCOME: </a:t>
            </a:r>
            <a:r>
              <a:rPr lang="en-GB" dirty="0"/>
              <a:t>THE NATURAL CHOICE </a:t>
            </a:r>
            <a:br>
              <a:rPr lang="en-GB" dirty="0"/>
            </a:br>
            <a:r>
              <a:rPr lang="en-GB" dirty="0"/>
              <a:t>FOR RETIREMENT?</a:t>
            </a:r>
          </a:p>
        </p:txBody>
      </p:sp>
      <p:sp>
        <p:nvSpPr>
          <p:cNvPr id="24" name="Rectangle 23">
            <a:extLst>
              <a:ext uri="{FF2B5EF4-FFF2-40B4-BE49-F238E27FC236}">
                <a16:creationId xmlns:a16="http://schemas.microsoft.com/office/drawing/2014/main" id="{1A3D12FC-F2F2-3E05-5108-EC0A62A443A8}"/>
              </a:ext>
            </a:extLst>
          </p:cNvPr>
          <p:cNvSpPr/>
          <p:nvPr/>
        </p:nvSpPr>
        <p:spPr>
          <a:xfrm>
            <a:off x="91" y="1798342"/>
            <a:ext cx="576253" cy="1836184"/>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9" tIns="45719" rIns="91439" bIns="45719" numCol="1" spcCol="0" rtlCol="0" fromWordArt="0" anchor="ctr" anchorCtr="0" forceAA="0" compatLnSpc="1">
            <a:prstTxWarp prst="textNoShape">
              <a:avLst/>
            </a:prstTxWarp>
            <a:noAutofit/>
          </a:bodyPr>
          <a:lstStyle/>
          <a:p>
            <a:pPr algn="ctr">
              <a:lnSpc>
                <a:spcPct val="90000"/>
              </a:lnSpc>
            </a:pPr>
            <a:endParaRPr lang="en-US" sz="1228" b="1" dirty="0"/>
          </a:p>
        </p:txBody>
      </p:sp>
    </p:spTree>
    <p:custDataLst>
      <p:tags r:id="rId1"/>
    </p:custDataLst>
    <p:extLst>
      <p:ext uri="{BB962C8B-B14F-4D97-AF65-F5344CB8AC3E}">
        <p14:creationId xmlns:p14="http://schemas.microsoft.com/office/powerpoint/2010/main" val="8167360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BA190BA-DE6E-5512-28BB-D46D7AB54C3B}"/>
              </a:ext>
            </a:extLst>
          </p:cNvPr>
          <p:cNvSpPr>
            <a:spLocks noGrp="1"/>
          </p:cNvSpPr>
          <p:nvPr>
            <p:ph type="sldNum" sz="quarter" idx="13"/>
          </p:nvPr>
        </p:nvSpPr>
        <p:spPr/>
        <p:txBody>
          <a:bodyPr/>
          <a:lstStyle/>
          <a:p>
            <a:fld id="{0F961903-03AF-4EAC-BF2C-945F8C5557D1}" type="slidenum">
              <a:rPr lang="en-GB" smtClean="0"/>
              <a:pPr/>
              <a:t>15</a:t>
            </a:fld>
            <a:endParaRPr lang="en-GB" dirty="0"/>
          </a:p>
        </p:txBody>
      </p:sp>
      <p:sp>
        <p:nvSpPr>
          <p:cNvPr id="7" name="Text Placeholder 6">
            <a:extLst>
              <a:ext uri="{FF2B5EF4-FFF2-40B4-BE49-F238E27FC236}">
                <a16:creationId xmlns:a16="http://schemas.microsoft.com/office/drawing/2014/main" id="{F359B7A2-D3FC-887E-04C9-6E0EACB4C5FF}"/>
              </a:ext>
            </a:extLst>
          </p:cNvPr>
          <p:cNvSpPr>
            <a:spLocks noGrp="1"/>
          </p:cNvSpPr>
          <p:nvPr>
            <p:ph type="body" sz="quarter" idx="11"/>
          </p:nvPr>
        </p:nvSpPr>
        <p:spPr/>
        <p:txBody>
          <a:bodyPr/>
          <a:lstStyle/>
          <a:p>
            <a:r>
              <a:rPr lang="en-GB" dirty="0"/>
              <a:t>Most of those with pots over £100k take less than 6% income</a:t>
            </a:r>
          </a:p>
        </p:txBody>
      </p:sp>
      <p:sp>
        <p:nvSpPr>
          <p:cNvPr id="6" name="Title 5">
            <a:extLst>
              <a:ext uri="{FF2B5EF4-FFF2-40B4-BE49-F238E27FC236}">
                <a16:creationId xmlns:a16="http://schemas.microsoft.com/office/drawing/2014/main" id="{B26F6698-AB05-E585-9723-5670F6FF4880}"/>
              </a:ext>
            </a:extLst>
          </p:cNvPr>
          <p:cNvSpPr>
            <a:spLocks noGrp="1"/>
          </p:cNvSpPr>
          <p:nvPr>
            <p:ph type="title"/>
          </p:nvPr>
        </p:nvSpPr>
        <p:spPr/>
        <p:txBody>
          <a:bodyPr/>
          <a:lstStyle/>
          <a:p>
            <a:r>
              <a:rPr lang="en-GB" dirty="0"/>
              <a:t>Can natural income deliver what </a:t>
            </a:r>
            <a:r>
              <a:rPr lang="en-GB" dirty="0">
                <a:solidFill>
                  <a:srgbClr val="FF6120"/>
                </a:solidFill>
              </a:rPr>
              <a:t>clients need</a:t>
            </a:r>
            <a:r>
              <a:rPr lang="en-GB" dirty="0"/>
              <a:t>?</a:t>
            </a:r>
          </a:p>
        </p:txBody>
      </p:sp>
      <p:sp>
        <p:nvSpPr>
          <p:cNvPr id="8" name="Content Placeholder 7">
            <a:extLst>
              <a:ext uri="{FF2B5EF4-FFF2-40B4-BE49-F238E27FC236}">
                <a16:creationId xmlns:a16="http://schemas.microsoft.com/office/drawing/2014/main" id="{F92144B4-3A1E-B4AA-9C9D-C1EEEBA0716F}"/>
              </a:ext>
            </a:extLst>
          </p:cNvPr>
          <p:cNvSpPr>
            <a:spLocks noGrp="1"/>
          </p:cNvSpPr>
          <p:nvPr>
            <p:ph sz="quarter" idx="12"/>
          </p:nvPr>
        </p:nvSpPr>
        <p:spPr>
          <a:xfrm>
            <a:off x="576000" y="5616263"/>
            <a:ext cx="10367962" cy="298450"/>
          </a:xfrm>
        </p:spPr>
        <p:txBody>
          <a:bodyPr/>
          <a:lstStyle/>
          <a:p>
            <a:r>
              <a:rPr lang="en-GB" b="1" dirty="0"/>
              <a:t>Source: </a:t>
            </a:r>
            <a:r>
              <a:rPr lang="en-GB" dirty="0"/>
              <a:t>FCA Retirement Income Market Data September 2024. Number of plans where the plan holder(s) made regular partial withdrawals by annual rate of withdrawal and pot size. Includes plans where with a regular drawdown or </a:t>
            </a:r>
            <a:r>
              <a:rPr lang="en-GB" b="0" i="0" dirty="0">
                <a:solidFill>
                  <a:srgbClr val="222222"/>
                </a:solidFill>
                <a:effectLst/>
                <a:latin typeface="ProximaNova-Regular"/>
              </a:rPr>
              <a:t>Uncrystallised Funds Pension Lump Sums (UFPLS)</a:t>
            </a:r>
            <a:r>
              <a:rPr lang="en-GB" dirty="0"/>
              <a:t> payment set up, at least one withdrawal was made and remained invested at the period end. Reported by firms with at least 750 such plans during the period. Rates are % of pot withdrawn during the year. Where customers have a regular payment in place and took an ad-hoc payment in the year, the ad-hoc payments are reported here also.</a:t>
            </a:r>
          </a:p>
        </p:txBody>
      </p:sp>
      <p:graphicFrame>
        <p:nvGraphicFramePr>
          <p:cNvPr id="11" name="Chart 10">
            <a:extLst>
              <a:ext uri="{FF2B5EF4-FFF2-40B4-BE49-F238E27FC236}">
                <a16:creationId xmlns:a16="http://schemas.microsoft.com/office/drawing/2014/main" id="{91BE527A-6A26-9D42-56CD-F661CBE0C7DA}"/>
              </a:ext>
            </a:extLst>
          </p:cNvPr>
          <p:cNvGraphicFramePr>
            <a:graphicFrameLocks/>
          </p:cNvGraphicFramePr>
          <p:nvPr>
            <p:extLst>
              <p:ext uri="{D42A27DB-BD31-4B8C-83A1-F6EECF244321}">
                <p14:modId xmlns:p14="http://schemas.microsoft.com/office/powerpoint/2010/main" val="1441032423"/>
              </p:ext>
            </p:extLst>
          </p:nvPr>
        </p:nvGraphicFramePr>
        <p:xfrm>
          <a:off x="575962" y="1579546"/>
          <a:ext cx="10367962" cy="3765712"/>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 Placeholder 61">
            <a:extLst>
              <a:ext uri="{FF2B5EF4-FFF2-40B4-BE49-F238E27FC236}">
                <a16:creationId xmlns:a16="http://schemas.microsoft.com/office/drawing/2014/main" id="{F80961CA-4EAE-BE3A-17D3-FD1F8A8C6AFD}"/>
              </a:ext>
            </a:extLst>
          </p:cNvPr>
          <p:cNvSpPr txBox="1">
            <a:spLocks/>
          </p:cNvSpPr>
          <p:nvPr/>
        </p:nvSpPr>
        <p:spPr>
          <a:xfrm>
            <a:off x="575961" y="1329153"/>
            <a:ext cx="10414767" cy="288000"/>
          </a:xfrm>
          <a:prstGeom prst="rect">
            <a:avLst/>
          </a:prstGeom>
        </p:spPr>
        <p:txBody>
          <a:bodyPr/>
          <a:lstStyle>
            <a:lvl1pPr algn="l" defTabSz="853026" rtl="0" eaLnBrk="1" fontAlgn="base" hangingPunct="1">
              <a:spcBef>
                <a:spcPts val="900"/>
              </a:spcBef>
              <a:spcAft>
                <a:spcPts val="300"/>
              </a:spcAft>
              <a:buClr>
                <a:schemeClr val="accent1"/>
              </a:buClr>
              <a:buSzPct val="120000"/>
              <a:defRPr sz="1200" b="1" spc="0" baseline="0">
                <a:solidFill>
                  <a:schemeClr val="accent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pPr defTabSz="864017" fontAlgn="auto">
              <a:spcBef>
                <a:spcPts val="0"/>
              </a:spcBef>
              <a:spcAft>
                <a:spcPts val="0"/>
              </a:spcAft>
              <a:defRPr/>
            </a:pPr>
            <a:r>
              <a:rPr lang="en-GB" sz="1400" kern="0" dirty="0"/>
              <a:t>Number of plans where holders took regular withdrawals by pot size and withdrawal rate April 2023 to March 2024</a:t>
            </a:r>
          </a:p>
        </p:txBody>
      </p:sp>
    </p:spTree>
    <p:extLst>
      <p:ext uri="{BB962C8B-B14F-4D97-AF65-F5344CB8AC3E}">
        <p14:creationId xmlns:p14="http://schemas.microsoft.com/office/powerpoint/2010/main" val="4031967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extLst>
    <p:ext uri="{6950BFC3-D8DA-4A85-94F7-54DA5524770B}">
      <p188:commentRel xmlns:p188="http://schemas.microsoft.com/office/powerpoint/2018/8/main" r:id="rId3"/>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0F9885E4-98E7-6FA0-A854-6692E3635ABA}"/>
              </a:ext>
            </a:extLst>
          </p:cNvPr>
          <p:cNvSpPr>
            <a:spLocks noGrp="1"/>
          </p:cNvSpPr>
          <p:nvPr>
            <p:ph sz="quarter" idx="31"/>
          </p:nvPr>
        </p:nvSpPr>
        <p:spPr>
          <a:xfrm>
            <a:off x="5577701" y="2231400"/>
            <a:ext cx="4410710" cy="3751767"/>
          </a:xfrm>
        </p:spPr>
        <p:txBody>
          <a:bodyPr/>
          <a:lstStyle/>
          <a:p>
            <a:pPr lvl="1"/>
            <a:r>
              <a:rPr lang="en-GB" sz="1701" b="1" dirty="0"/>
              <a:t>Income may not be enough to meet client needs and cover fees.</a:t>
            </a:r>
          </a:p>
          <a:p>
            <a:pPr lvl="1"/>
            <a:endParaRPr lang="en-GB" sz="1701" b="1" dirty="0"/>
          </a:p>
          <a:p>
            <a:pPr lvl="1"/>
            <a:r>
              <a:rPr lang="en-GB" sz="1701" b="1" dirty="0"/>
              <a:t>Income may be generated at expense of capital return.</a:t>
            </a:r>
          </a:p>
          <a:p>
            <a:pPr lvl="1"/>
            <a:endParaRPr lang="en-GB" sz="1701" b="1" dirty="0"/>
          </a:p>
          <a:p>
            <a:pPr lvl="1"/>
            <a:r>
              <a:rPr lang="en-GB" sz="1701" b="1" dirty="0"/>
              <a:t>Variability and reliability of income may complicate retirement planning.</a:t>
            </a:r>
          </a:p>
          <a:p>
            <a:pPr lvl="1"/>
            <a:endParaRPr lang="en-GB" sz="1701" b="1" dirty="0"/>
          </a:p>
          <a:p>
            <a:pPr lvl="1"/>
            <a:r>
              <a:rPr lang="en-GB" sz="1701" b="1" dirty="0"/>
              <a:t>Operational complexity of taking natural income.</a:t>
            </a:r>
          </a:p>
          <a:p>
            <a:pPr lvl="1"/>
            <a:endParaRPr lang="en-GB" sz="1701" b="1" dirty="0"/>
          </a:p>
          <a:p>
            <a:pPr lvl="1"/>
            <a:endParaRPr lang="en-GB" sz="1701" dirty="0"/>
          </a:p>
        </p:txBody>
      </p:sp>
      <p:sp>
        <p:nvSpPr>
          <p:cNvPr id="29" name="Content Placeholder 28">
            <a:extLst>
              <a:ext uri="{FF2B5EF4-FFF2-40B4-BE49-F238E27FC236}">
                <a16:creationId xmlns:a16="http://schemas.microsoft.com/office/drawing/2014/main" id="{2A95018A-AD12-EEB5-0C77-0CA2D3915352}"/>
              </a:ext>
            </a:extLst>
          </p:cNvPr>
          <p:cNvSpPr>
            <a:spLocks noGrp="1"/>
          </p:cNvSpPr>
          <p:nvPr>
            <p:ph sz="quarter" idx="30"/>
          </p:nvPr>
        </p:nvSpPr>
        <p:spPr>
          <a:xfrm>
            <a:off x="576343" y="2231400"/>
            <a:ext cx="4410710" cy="3632707"/>
          </a:xfrm>
        </p:spPr>
        <p:txBody>
          <a:bodyPr/>
          <a:lstStyle/>
          <a:p>
            <a:pPr lvl="1"/>
            <a:r>
              <a:rPr lang="en-GB" sz="1701" b="1" dirty="0"/>
              <a:t>Provides regular income stream without selling investments.</a:t>
            </a:r>
          </a:p>
          <a:p>
            <a:pPr lvl="1"/>
            <a:endParaRPr lang="en-GB" sz="1701" b="1" dirty="0"/>
          </a:p>
          <a:p>
            <a:pPr lvl="1"/>
            <a:r>
              <a:rPr lang="en-GB" sz="1701" b="1" dirty="0"/>
              <a:t>Aims to maintain capital, supporting income sustainability.</a:t>
            </a:r>
          </a:p>
          <a:p>
            <a:pPr lvl="1"/>
            <a:endParaRPr lang="en-GB" sz="1701" b="1" dirty="0"/>
          </a:p>
          <a:p>
            <a:pPr lvl="1"/>
            <a:r>
              <a:rPr lang="en-GB" sz="1701" b="1" dirty="0"/>
              <a:t>Avoids sequence of returns risk.</a:t>
            </a:r>
          </a:p>
          <a:p>
            <a:pPr lvl="1"/>
            <a:endParaRPr lang="en-GB" sz="1701" b="1" dirty="0"/>
          </a:p>
          <a:p>
            <a:pPr lvl="1"/>
            <a:r>
              <a:rPr lang="en-GB" sz="1701" b="1" dirty="0"/>
              <a:t>Intuitive approach can provide peace of mind.</a:t>
            </a:r>
          </a:p>
          <a:p>
            <a:pPr lvl="1"/>
            <a:endParaRPr lang="en-GB" sz="1701" b="1" dirty="0"/>
          </a:p>
          <a:p>
            <a:pPr lvl="1"/>
            <a:endParaRPr lang="en-GB" sz="1701" dirty="0"/>
          </a:p>
        </p:txBody>
      </p:sp>
      <p:sp>
        <p:nvSpPr>
          <p:cNvPr id="27" name="Slide Number Placeholder 26">
            <a:extLst>
              <a:ext uri="{FF2B5EF4-FFF2-40B4-BE49-F238E27FC236}">
                <a16:creationId xmlns:a16="http://schemas.microsoft.com/office/drawing/2014/main" id="{7A19F5AB-EF98-F855-4E94-9B649559AD78}"/>
              </a:ext>
            </a:extLst>
          </p:cNvPr>
          <p:cNvSpPr>
            <a:spLocks noGrp="1"/>
          </p:cNvSpPr>
          <p:nvPr>
            <p:ph type="sldNum" sz="quarter" idx="34"/>
          </p:nvPr>
        </p:nvSpPr>
        <p:spPr/>
        <p:txBody>
          <a:bodyPr/>
          <a:lstStyle/>
          <a:p>
            <a:pPr defTabSz="864017" fontAlgn="auto">
              <a:spcBef>
                <a:spcPts val="0"/>
              </a:spcBef>
            </a:pPr>
            <a:fld id="{0F961903-03AF-4EAC-BF2C-945F8C5557D1}" type="slidenum">
              <a:rPr lang="en-GB">
                <a:solidFill>
                  <a:srgbClr val="000000"/>
                </a:solidFill>
                <a:latin typeface="Avenir Next LT Pro"/>
                <a:cs typeface="Arial"/>
              </a:rPr>
              <a:pPr defTabSz="864017" fontAlgn="auto">
                <a:spcBef>
                  <a:spcPts val="0"/>
                </a:spcBef>
              </a:pPr>
              <a:t>16</a:t>
            </a:fld>
            <a:endParaRPr lang="en-GB" dirty="0">
              <a:solidFill>
                <a:srgbClr val="000000"/>
              </a:solidFill>
              <a:latin typeface="Avenir Next LT Pro"/>
              <a:cs typeface="Arial"/>
            </a:endParaRPr>
          </a:p>
        </p:txBody>
      </p:sp>
      <p:sp>
        <p:nvSpPr>
          <p:cNvPr id="24" name="Text Placeholder 23">
            <a:extLst>
              <a:ext uri="{FF2B5EF4-FFF2-40B4-BE49-F238E27FC236}">
                <a16:creationId xmlns:a16="http://schemas.microsoft.com/office/drawing/2014/main" id="{252301C1-7540-A777-121A-B0356E627EE3}"/>
              </a:ext>
            </a:extLst>
          </p:cNvPr>
          <p:cNvSpPr>
            <a:spLocks noGrp="1"/>
          </p:cNvSpPr>
          <p:nvPr>
            <p:ph type="body" sz="quarter" idx="35"/>
          </p:nvPr>
        </p:nvSpPr>
        <p:spPr/>
        <p:txBody>
          <a:bodyPr/>
          <a:lstStyle/>
          <a:p>
            <a:r>
              <a:rPr lang="en-GB" dirty="0"/>
              <a:t>Income strategies can help address retirement risks but are not without issues</a:t>
            </a:r>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p:txBody>
          <a:bodyPr/>
          <a:lstStyle/>
          <a:p>
            <a:r>
              <a:rPr lang="en-GB" dirty="0"/>
              <a:t>The growing case for </a:t>
            </a:r>
            <a:r>
              <a:rPr lang="en-GB" dirty="0">
                <a:solidFill>
                  <a:srgbClr val="FF6120"/>
                </a:solidFill>
              </a:rPr>
              <a:t>natural income</a:t>
            </a:r>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4"/>
          </p:nvPr>
        </p:nvSpPr>
        <p:spPr/>
        <p:txBody>
          <a:bodyPr/>
          <a:lstStyle/>
          <a:p>
            <a:r>
              <a:rPr lang="en-GB" dirty="0"/>
              <a:t> </a:t>
            </a:r>
          </a:p>
        </p:txBody>
      </p:sp>
      <p:sp>
        <p:nvSpPr>
          <p:cNvPr id="12" name="Rectangle 11">
            <a:extLst>
              <a:ext uri="{FF2B5EF4-FFF2-40B4-BE49-F238E27FC236}">
                <a16:creationId xmlns:a16="http://schemas.microsoft.com/office/drawing/2014/main" id="{4859FCE8-E625-3D4B-5352-F010A15161B6}"/>
              </a:ext>
            </a:extLst>
          </p:cNvPr>
          <p:cNvSpPr/>
          <p:nvPr/>
        </p:nvSpPr>
        <p:spPr>
          <a:xfrm>
            <a:off x="576343" y="1441238"/>
            <a:ext cx="4410828" cy="5740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43200" rIns="86400" bIns="43200" numCol="1" spcCol="0" rtlCol="0" fromWordArt="0" anchor="ctr" anchorCtr="0" forceAA="0" compatLnSpc="1">
            <a:prstTxWarp prst="textNoShape">
              <a:avLst/>
            </a:prstTxWarp>
            <a:noAutofit/>
          </a:bodyPr>
          <a:lstStyle/>
          <a:p>
            <a:pPr defTabSz="864017" fontAlgn="auto">
              <a:lnSpc>
                <a:spcPct val="90000"/>
              </a:lnSpc>
              <a:spcBef>
                <a:spcPts val="0"/>
              </a:spcBef>
              <a:spcAft>
                <a:spcPts val="0"/>
              </a:spcAft>
            </a:pPr>
            <a:r>
              <a:rPr lang="en-GB" sz="2646" b="1" dirty="0">
                <a:solidFill>
                  <a:srgbClr val="FFFFFF"/>
                </a:solidFill>
                <a:latin typeface="Avenir Next LT Pro"/>
                <a:cs typeface="Arial"/>
              </a:rPr>
              <a:t>Benefits</a:t>
            </a:r>
          </a:p>
        </p:txBody>
      </p:sp>
      <p:sp>
        <p:nvSpPr>
          <p:cNvPr id="13" name="Rectangle 12">
            <a:extLst>
              <a:ext uri="{FF2B5EF4-FFF2-40B4-BE49-F238E27FC236}">
                <a16:creationId xmlns:a16="http://schemas.microsoft.com/office/drawing/2014/main" id="{66C40F50-E16A-329C-5A19-7FC8403D2B04}"/>
              </a:ext>
            </a:extLst>
          </p:cNvPr>
          <p:cNvSpPr/>
          <p:nvPr/>
        </p:nvSpPr>
        <p:spPr>
          <a:xfrm>
            <a:off x="5577613" y="1441238"/>
            <a:ext cx="4410830" cy="5740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43200" rIns="86400" bIns="43200" numCol="1" spcCol="0" rtlCol="0" fromWordArt="0" anchor="ctr" anchorCtr="0" forceAA="0" compatLnSpc="1">
            <a:prstTxWarp prst="textNoShape">
              <a:avLst/>
            </a:prstTxWarp>
            <a:noAutofit/>
          </a:bodyPr>
          <a:lstStyle/>
          <a:p>
            <a:pPr defTabSz="864017" fontAlgn="auto">
              <a:lnSpc>
                <a:spcPct val="90000"/>
              </a:lnSpc>
              <a:spcBef>
                <a:spcPts val="0"/>
              </a:spcBef>
              <a:spcAft>
                <a:spcPts val="0"/>
              </a:spcAft>
            </a:pPr>
            <a:r>
              <a:rPr lang="en-GB" sz="2646" b="1" dirty="0">
                <a:solidFill>
                  <a:srgbClr val="FFFFFF"/>
                </a:solidFill>
                <a:latin typeface="Avenir Next LT Pro"/>
                <a:cs typeface="Arial"/>
              </a:rPr>
              <a:t>Challenges</a:t>
            </a:r>
          </a:p>
        </p:txBody>
      </p:sp>
    </p:spTree>
    <p:custDataLst>
      <p:tags r:id="rId1"/>
    </p:custDataLst>
    <p:extLst>
      <p:ext uri="{BB962C8B-B14F-4D97-AF65-F5344CB8AC3E}">
        <p14:creationId xmlns:p14="http://schemas.microsoft.com/office/powerpoint/2010/main" val="1217553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xEl>
                                              <p:pRg st="4" end="4"/>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xEl>
                                              <p:pRg st="4" end="4"/>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build="p"/>
      <p:bldP spid="29" grpId="0" build="p"/>
      <p:bldP spid="12" grpId="0" animBg="1"/>
      <p:bldP spid="1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5DE13-7A0F-9630-949E-8F60D224960A}"/>
              </a:ext>
            </a:extLst>
          </p:cNvPr>
          <p:cNvSpPr>
            <a:spLocks noGrp="1"/>
          </p:cNvSpPr>
          <p:nvPr>
            <p:ph type="title"/>
          </p:nvPr>
        </p:nvSpPr>
        <p:spPr/>
        <p:txBody>
          <a:bodyPr/>
          <a:lstStyle/>
          <a:p>
            <a:r>
              <a:rPr lang="en-GB" dirty="0"/>
              <a:t>How a multi-asset approach can help balance income and growth</a:t>
            </a:r>
          </a:p>
        </p:txBody>
      </p:sp>
      <p:sp>
        <p:nvSpPr>
          <p:cNvPr id="3" name="Text Placeholder 2">
            <a:extLst>
              <a:ext uri="{FF2B5EF4-FFF2-40B4-BE49-F238E27FC236}">
                <a16:creationId xmlns:a16="http://schemas.microsoft.com/office/drawing/2014/main" id="{DD2B7B46-78AE-D23F-2B5A-98082084482C}"/>
              </a:ext>
            </a:extLst>
          </p:cNvPr>
          <p:cNvSpPr>
            <a:spLocks noGrp="1"/>
          </p:cNvSpPr>
          <p:nvPr>
            <p:ph type="body" sz="quarter" idx="11"/>
          </p:nvPr>
        </p:nvSpPr>
        <p:spPr/>
        <p:txBody>
          <a:bodyPr/>
          <a:lstStyle/>
          <a:p>
            <a:r>
              <a:rPr lang="en-GB" dirty="0"/>
              <a:t>Higher yielding assets deliver a higher proportion of the income allowing scope for more growth-oriented investments</a:t>
            </a:r>
          </a:p>
        </p:txBody>
      </p:sp>
      <p:sp>
        <p:nvSpPr>
          <p:cNvPr id="89" name="TextBox 88">
            <a:extLst>
              <a:ext uri="{FF2B5EF4-FFF2-40B4-BE49-F238E27FC236}">
                <a16:creationId xmlns:a16="http://schemas.microsoft.com/office/drawing/2014/main" id="{03AC03FC-8669-8D83-05F2-286C403B58A4}"/>
              </a:ext>
            </a:extLst>
          </p:cNvPr>
          <p:cNvSpPr txBox="1"/>
          <p:nvPr/>
        </p:nvSpPr>
        <p:spPr>
          <a:xfrm>
            <a:off x="415264" y="5891091"/>
            <a:ext cx="10689960" cy="208647"/>
          </a:xfrm>
          <a:prstGeom prst="rect">
            <a:avLst/>
          </a:prstGeom>
          <a:noFill/>
        </p:spPr>
        <p:txBody>
          <a:bodyPr wrap="square">
            <a:spAutoFit/>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en-GB" sz="756" b="1" i="0" u="none" strike="noStrike" kern="1200" cap="none" spc="0" normalizeH="0" baseline="0" noProof="0" dirty="0">
                <a:ln>
                  <a:noFill/>
                </a:ln>
                <a:solidFill>
                  <a:srgbClr val="343434"/>
                </a:solidFill>
                <a:effectLst/>
                <a:uLnTx/>
                <a:uFillTx/>
                <a:latin typeface="Arial" panose="020B0604020202020204"/>
                <a:ea typeface="+mn-ea"/>
                <a:cs typeface="Arial" charset="0"/>
              </a:rPr>
              <a:t>Source:</a:t>
            </a:r>
            <a:r>
              <a:rPr kumimoji="0" lang="en-GB" sz="756" b="0" i="0" u="none" strike="noStrike" kern="1200" cap="none" spc="0" normalizeH="0" baseline="0" noProof="0" dirty="0">
                <a:ln>
                  <a:noFill/>
                </a:ln>
                <a:solidFill>
                  <a:srgbClr val="343434"/>
                </a:solidFill>
                <a:effectLst/>
                <a:uLnTx/>
                <a:uFillTx/>
                <a:latin typeface="Arial" panose="020B0604020202020204"/>
                <a:ea typeface="+mn-ea"/>
                <a:cs typeface="Arial" charset="0"/>
              </a:rPr>
              <a:t> BNY Investments. This is a hypothetical example provided for illustrative purposes only.</a:t>
            </a:r>
          </a:p>
        </p:txBody>
      </p:sp>
      <p:sp>
        <p:nvSpPr>
          <p:cNvPr id="55" name="Rectangle 54">
            <a:extLst>
              <a:ext uri="{FF2B5EF4-FFF2-40B4-BE49-F238E27FC236}">
                <a16:creationId xmlns:a16="http://schemas.microsoft.com/office/drawing/2014/main" id="{A6645534-417E-4EDA-8FAA-0287DB0AFDBF}"/>
              </a:ext>
            </a:extLst>
          </p:cNvPr>
          <p:cNvSpPr>
            <a:spLocks/>
          </p:cNvSpPr>
          <p:nvPr/>
        </p:nvSpPr>
        <p:spPr>
          <a:xfrm>
            <a:off x="6875979" y="5194681"/>
            <a:ext cx="1590952" cy="733938"/>
          </a:xfrm>
          <a:prstGeom prst="rect">
            <a:avLst/>
          </a:prstGeom>
          <a:solidFill>
            <a:schemeClr val="accent2"/>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5.1%</a:t>
            </a:r>
          </a:p>
        </p:txBody>
      </p:sp>
      <p:grpSp>
        <p:nvGrpSpPr>
          <p:cNvPr id="64" name="Group 63">
            <a:extLst>
              <a:ext uri="{FF2B5EF4-FFF2-40B4-BE49-F238E27FC236}">
                <a16:creationId xmlns:a16="http://schemas.microsoft.com/office/drawing/2014/main" id="{F1566C74-8087-FBB2-7894-A82FE5A507AB}"/>
              </a:ext>
            </a:extLst>
          </p:cNvPr>
          <p:cNvGrpSpPr/>
          <p:nvPr/>
        </p:nvGrpSpPr>
        <p:grpSpPr>
          <a:xfrm>
            <a:off x="515795" y="1287589"/>
            <a:ext cx="1719497" cy="3735973"/>
            <a:chOff x="545775" y="1362662"/>
            <a:chExt cx="1819752" cy="3953798"/>
          </a:xfrm>
        </p:grpSpPr>
        <p:sp>
          <p:nvSpPr>
            <p:cNvPr id="25" name="TextBox 24">
              <a:extLst>
                <a:ext uri="{FF2B5EF4-FFF2-40B4-BE49-F238E27FC236}">
                  <a16:creationId xmlns:a16="http://schemas.microsoft.com/office/drawing/2014/main" id="{C9D5328A-EDAD-1B66-B083-041D51FF654B}"/>
                </a:ext>
              </a:extLst>
            </p:cNvPr>
            <p:cNvSpPr txBox="1"/>
            <p:nvPr/>
          </p:nvSpPr>
          <p:spPr>
            <a:xfrm>
              <a:off x="545775" y="1362662"/>
              <a:ext cx="1819752" cy="313168"/>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Asset class</a:t>
              </a:r>
            </a:p>
          </p:txBody>
        </p:sp>
        <p:sp>
          <p:nvSpPr>
            <p:cNvPr id="7" name="Rectangle 6">
              <a:extLst>
                <a:ext uri="{FF2B5EF4-FFF2-40B4-BE49-F238E27FC236}">
                  <a16:creationId xmlns:a16="http://schemas.microsoft.com/office/drawing/2014/main" id="{1721D6DA-F0AB-28FB-11E9-3D302F12A4F8}"/>
                </a:ext>
              </a:extLst>
            </p:cNvPr>
            <p:cNvSpPr>
              <a:spLocks/>
            </p:cNvSpPr>
            <p:nvPr/>
          </p:nvSpPr>
          <p:spPr>
            <a:xfrm>
              <a:off x="609601" y="1660317"/>
              <a:ext cx="1678857" cy="776730"/>
            </a:xfrm>
            <a:prstGeom prst="rect">
              <a:avLst/>
            </a:prstGeom>
            <a:solidFill>
              <a:srgbClr val="00485E"/>
            </a:solidFill>
            <a:ln w="19050" cap="sq" cmpd="sng" algn="ctr">
              <a:solidFill>
                <a:srgbClr val="FFFFFF"/>
              </a:solidFill>
              <a:prstDash val="solid"/>
              <a:miter lim="800000"/>
            </a:ln>
            <a:effectLst/>
            <a:scene3d>
              <a:camera prst="orthographicFront"/>
              <a:lightRig rig="threePt" dir="t"/>
            </a:scene3d>
            <a:sp3d extrusionH="50800">
              <a:extrusionClr>
                <a:srgbClr val="FFC22C">
                  <a:lumMod val="40000"/>
                  <a:lumOff val="60000"/>
                </a:srgbClr>
              </a:extrusionClr>
            </a:sp3d>
          </p:spPr>
          <p:txBody>
            <a:bodyPr lIns="34017" rIns="34017"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EQUITIES</a:t>
              </a:r>
            </a:p>
          </p:txBody>
        </p:sp>
        <p:sp>
          <p:nvSpPr>
            <p:cNvPr id="8" name="Rectangle 11">
              <a:extLst>
                <a:ext uri="{FF2B5EF4-FFF2-40B4-BE49-F238E27FC236}">
                  <a16:creationId xmlns:a16="http://schemas.microsoft.com/office/drawing/2014/main" id="{10C513EE-8695-1E3E-793B-8BC166F79620}"/>
                </a:ext>
              </a:extLst>
            </p:cNvPr>
            <p:cNvSpPr>
              <a:spLocks/>
            </p:cNvSpPr>
            <p:nvPr/>
          </p:nvSpPr>
          <p:spPr>
            <a:xfrm>
              <a:off x="609601" y="2620121"/>
              <a:ext cx="1678857" cy="776730"/>
            </a:xfrm>
            <a:prstGeom prst="rect">
              <a:avLst/>
            </a:prstGeom>
            <a:solidFill>
              <a:srgbClr val="00485E"/>
            </a:solidFill>
            <a:ln w="19050" cap="sq" cmpd="sng" algn="ctr">
              <a:solidFill>
                <a:srgbClr val="FFFFFF"/>
              </a:solidFill>
              <a:prstDash val="solid"/>
              <a:miter lim="800000"/>
            </a:ln>
            <a:effectLst/>
            <a:scene3d>
              <a:camera prst="orthographicFront"/>
              <a:lightRig rig="threePt" dir="t"/>
            </a:scene3d>
            <a:sp3d/>
          </p:spPr>
          <p:txBody>
            <a:bodyPr lIns="34017" rIns="34017"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BONDS</a:t>
              </a:r>
            </a:p>
          </p:txBody>
        </p:sp>
        <p:sp>
          <p:nvSpPr>
            <p:cNvPr id="10" name="Rectangle 9">
              <a:extLst>
                <a:ext uri="{FF2B5EF4-FFF2-40B4-BE49-F238E27FC236}">
                  <a16:creationId xmlns:a16="http://schemas.microsoft.com/office/drawing/2014/main" id="{4127CD3E-25D4-51C6-3D8D-3CEB03186197}"/>
                </a:ext>
              </a:extLst>
            </p:cNvPr>
            <p:cNvSpPr>
              <a:spLocks/>
            </p:cNvSpPr>
            <p:nvPr/>
          </p:nvSpPr>
          <p:spPr>
            <a:xfrm>
              <a:off x="617315" y="3579925"/>
              <a:ext cx="1678856" cy="776730"/>
            </a:xfrm>
            <a:prstGeom prst="rect">
              <a:avLst/>
            </a:prstGeom>
            <a:solidFill>
              <a:srgbClr val="00485E"/>
            </a:solidFill>
            <a:ln w="19050" cap="sq" cmpd="sng" algn="ctr">
              <a:solidFill>
                <a:srgbClr val="FFFFFF"/>
              </a:solidFill>
              <a:prstDash val="solid"/>
              <a:miter lim="800000"/>
            </a:ln>
            <a:effectLst/>
            <a:scene3d>
              <a:camera prst="orthographicFront"/>
              <a:lightRig rig="threePt" dir="t"/>
            </a:scene3d>
            <a:sp3d/>
          </p:spPr>
          <p:txBody>
            <a:bodyPr lIns="34017" rIns="34017"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ALTERNATIVES</a:t>
              </a:r>
            </a:p>
          </p:txBody>
        </p:sp>
        <p:sp>
          <p:nvSpPr>
            <p:cNvPr id="11" name="Rectangle 10">
              <a:extLst>
                <a:ext uri="{FF2B5EF4-FFF2-40B4-BE49-F238E27FC236}">
                  <a16:creationId xmlns:a16="http://schemas.microsoft.com/office/drawing/2014/main" id="{97B0D955-F30D-7C74-D1FB-9A4737442B1F}"/>
                </a:ext>
              </a:extLst>
            </p:cNvPr>
            <p:cNvSpPr>
              <a:spLocks/>
            </p:cNvSpPr>
            <p:nvPr/>
          </p:nvSpPr>
          <p:spPr>
            <a:xfrm>
              <a:off x="602611" y="4539730"/>
              <a:ext cx="1683712" cy="776730"/>
            </a:xfrm>
            <a:prstGeom prst="rect">
              <a:avLst/>
            </a:prstGeom>
            <a:solidFill>
              <a:srgbClr val="00485E"/>
            </a:solidFill>
            <a:ln w="19050" cap="sq" cmpd="sng" algn="ctr">
              <a:solidFill>
                <a:srgbClr val="FFFFFF"/>
              </a:solidFill>
              <a:prstDash val="solid"/>
              <a:miter lim="800000"/>
            </a:ln>
            <a:effectLst/>
            <a:scene3d>
              <a:camera prst="orthographicFront"/>
              <a:lightRig rig="threePt" dir="t"/>
            </a:scene3d>
            <a:sp3d/>
          </p:spPr>
          <p:txBody>
            <a:bodyPr lIns="34017" rIns="34017"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701"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CASH</a:t>
              </a:r>
            </a:p>
          </p:txBody>
        </p:sp>
      </p:grpSp>
      <p:grpSp>
        <p:nvGrpSpPr>
          <p:cNvPr id="66" name="Group 65">
            <a:extLst>
              <a:ext uri="{FF2B5EF4-FFF2-40B4-BE49-F238E27FC236}">
                <a16:creationId xmlns:a16="http://schemas.microsoft.com/office/drawing/2014/main" id="{D2CC121F-C771-8F45-92E3-679E975EE33F}"/>
              </a:ext>
            </a:extLst>
          </p:cNvPr>
          <p:cNvGrpSpPr/>
          <p:nvPr/>
        </p:nvGrpSpPr>
        <p:grpSpPr>
          <a:xfrm>
            <a:off x="2331505" y="1302214"/>
            <a:ext cx="2279100" cy="3721349"/>
            <a:chOff x="2467349" y="1378139"/>
            <a:chExt cx="2411982" cy="3938321"/>
          </a:xfrm>
        </p:grpSpPr>
        <p:sp>
          <p:nvSpPr>
            <p:cNvPr id="26" name="TextBox 25">
              <a:extLst>
                <a:ext uri="{FF2B5EF4-FFF2-40B4-BE49-F238E27FC236}">
                  <a16:creationId xmlns:a16="http://schemas.microsoft.com/office/drawing/2014/main" id="{2062E5E0-D679-7F4F-B46B-3BAF317C808B}"/>
                </a:ext>
              </a:extLst>
            </p:cNvPr>
            <p:cNvSpPr txBox="1"/>
            <p:nvPr/>
          </p:nvSpPr>
          <p:spPr>
            <a:xfrm>
              <a:off x="2467349" y="1378139"/>
              <a:ext cx="2411982" cy="313168"/>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Income yield</a:t>
              </a:r>
            </a:p>
          </p:txBody>
        </p:sp>
        <p:sp>
          <p:nvSpPr>
            <p:cNvPr id="12" name="Rectangle 11">
              <a:extLst>
                <a:ext uri="{FF2B5EF4-FFF2-40B4-BE49-F238E27FC236}">
                  <a16:creationId xmlns:a16="http://schemas.microsoft.com/office/drawing/2014/main" id="{E792ED80-4619-CC33-FBF7-932FCFDD65B8}"/>
                </a:ext>
              </a:extLst>
            </p:cNvPr>
            <p:cNvSpPr>
              <a:spLocks/>
            </p:cNvSpPr>
            <p:nvPr/>
          </p:nvSpPr>
          <p:spPr>
            <a:xfrm>
              <a:off x="2831759" y="1660317"/>
              <a:ext cx="1678857" cy="776730"/>
            </a:xfrm>
            <a:prstGeom prst="rect">
              <a:avLst/>
            </a:prstGeom>
            <a:solidFill>
              <a:srgbClr val="00688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3.7%</a:t>
              </a:r>
            </a:p>
          </p:txBody>
        </p:sp>
        <p:sp>
          <p:nvSpPr>
            <p:cNvPr id="13" name="Rectangle 12">
              <a:extLst>
                <a:ext uri="{FF2B5EF4-FFF2-40B4-BE49-F238E27FC236}">
                  <a16:creationId xmlns:a16="http://schemas.microsoft.com/office/drawing/2014/main" id="{25B2CA4C-6B37-0211-AB5D-F029254935DB}"/>
                </a:ext>
              </a:extLst>
            </p:cNvPr>
            <p:cNvSpPr>
              <a:spLocks/>
            </p:cNvSpPr>
            <p:nvPr/>
          </p:nvSpPr>
          <p:spPr>
            <a:xfrm>
              <a:off x="2828117" y="2620121"/>
              <a:ext cx="1683712" cy="776729"/>
            </a:xfrm>
            <a:prstGeom prst="rect">
              <a:avLst/>
            </a:prstGeom>
            <a:solidFill>
              <a:srgbClr val="00688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6.1%</a:t>
              </a:r>
              <a:endParaRPr kumimoji="0" lang="en-GB" sz="1890" b="0" i="0" u="none" strike="noStrike" kern="0" cap="none" spc="0" normalizeH="0" baseline="30000" noProof="0" dirty="0">
                <a:ln>
                  <a:noFill/>
                </a:ln>
                <a:solidFill>
                  <a:srgbClr val="FFFFFF"/>
                </a:solidFill>
                <a:effectLst/>
                <a:uLnTx/>
                <a:uFillTx/>
                <a:latin typeface="Impact" panose="020B0806030902050204" pitchFamily="34" charset="0"/>
                <a:ea typeface="+mn-ea"/>
                <a:cs typeface="Arial" charset="0"/>
              </a:endParaRPr>
            </a:p>
          </p:txBody>
        </p:sp>
        <p:sp>
          <p:nvSpPr>
            <p:cNvPr id="14" name="Rectangle 13">
              <a:extLst>
                <a:ext uri="{FF2B5EF4-FFF2-40B4-BE49-F238E27FC236}">
                  <a16:creationId xmlns:a16="http://schemas.microsoft.com/office/drawing/2014/main" id="{7C299464-7C82-62C9-AD25-032B7901B9DC}"/>
                </a:ext>
              </a:extLst>
            </p:cNvPr>
            <p:cNvSpPr>
              <a:spLocks/>
            </p:cNvSpPr>
            <p:nvPr/>
          </p:nvSpPr>
          <p:spPr>
            <a:xfrm>
              <a:off x="2833902" y="3579925"/>
              <a:ext cx="1683712" cy="776730"/>
            </a:xfrm>
            <a:prstGeom prst="rect">
              <a:avLst/>
            </a:prstGeom>
            <a:solidFill>
              <a:srgbClr val="00688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8.5%</a:t>
              </a:r>
            </a:p>
          </p:txBody>
        </p:sp>
        <p:sp>
          <p:nvSpPr>
            <p:cNvPr id="4" name="Rectangle 3">
              <a:extLst>
                <a:ext uri="{FF2B5EF4-FFF2-40B4-BE49-F238E27FC236}">
                  <a16:creationId xmlns:a16="http://schemas.microsoft.com/office/drawing/2014/main" id="{E7EAF33B-1B11-9EAE-3845-6400AAEB11EA}"/>
                </a:ext>
              </a:extLst>
            </p:cNvPr>
            <p:cNvSpPr>
              <a:spLocks/>
            </p:cNvSpPr>
            <p:nvPr/>
          </p:nvSpPr>
          <p:spPr>
            <a:xfrm>
              <a:off x="2826516" y="4539730"/>
              <a:ext cx="1683712" cy="776730"/>
            </a:xfrm>
            <a:prstGeom prst="rect">
              <a:avLst/>
            </a:prstGeom>
            <a:solidFill>
              <a:srgbClr val="00688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5.0%</a:t>
              </a:r>
            </a:p>
          </p:txBody>
        </p:sp>
      </p:grpSp>
      <p:grpSp>
        <p:nvGrpSpPr>
          <p:cNvPr id="67" name="Group 66">
            <a:extLst>
              <a:ext uri="{FF2B5EF4-FFF2-40B4-BE49-F238E27FC236}">
                <a16:creationId xmlns:a16="http://schemas.microsoft.com/office/drawing/2014/main" id="{27FECE2F-45B9-ED34-9625-8A5BAB50338F}"/>
              </a:ext>
            </a:extLst>
          </p:cNvPr>
          <p:cNvGrpSpPr/>
          <p:nvPr/>
        </p:nvGrpSpPr>
        <p:grpSpPr>
          <a:xfrm>
            <a:off x="4706817" y="1299523"/>
            <a:ext cx="1719497" cy="3724039"/>
            <a:chOff x="4981153" y="1375292"/>
            <a:chExt cx="1819752" cy="3941168"/>
          </a:xfrm>
        </p:grpSpPr>
        <p:sp>
          <p:nvSpPr>
            <p:cNvPr id="31" name="TextBox 30">
              <a:extLst>
                <a:ext uri="{FF2B5EF4-FFF2-40B4-BE49-F238E27FC236}">
                  <a16:creationId xmlns:a16="http://schemas.microsoft.com/office/drawing/2014/main" id="{FE0111DB-7C7F-5FBF-0214-15A68E5A830C}"/>
                </a:ext>
              </a:extLst>
            </p:cNvPr>
            <p:cNvSpPr txBox="1"/>
            <p:nvPr/>
          </p:nvSpPr>
          <p:spPr>
            <a:xfrm>
              <a:off x="4981153" y="1375292"/>
              <a:ext cx="1819752" cy="313168"/>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Asset allocation</a:t>
              </a:r>
            </a:p>
          </p:txBody>
        </p:sp>
        <p:sp>
          <p:nvSpPr>
            <p:cNvPr id="27" name="Rectangle 26">
              <a:extLst>
                <a:ext uri="{FF2B5EF4-FFF2-40B4-BE49-F238E27FC236}">
                  <a16:creationId xmlns:a16="http://schemas.microsoft.com/office/drawing/2014/main" id="{327EA793-24F4-CE98-9F6F-056AD351F4CD}"/>
                </a:ext>
              </a:extLst>
            </p:cNvPr>
            <p:cNvSpPr>
              <a:spLocks/>
            </p:cNvSpPr>
            <p:nvPr/>
          </p:nvSpPr>
          <p:spPr>
            <a:xfrm>
              <a:off x="5053917" y="1660317"/>
              <a:ext cx="1678857" cy="776730"/>
            </a:xfrm>
            <a:prstGeom prst="rect">
              <a:avLst/>
            </a:prstGeom>
            <a:solidFill>
              <a:srgbClr val="0098C6"/>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55%</a:t>
              </a:r>
            </a:p>
          </p:txBody>
        </p:sp>
        <p:sp>
          <p:nvSpPr>
            <p:cNvPr id="28" name="Rectangle 27">
              <a:extLst>
                <a:ext uri="{FF2B5EF4-FFF2-40B4-BE49-F238E27FC236}">
                  <a16:creationId xmlns:a16="http://schemas.microsoft.com/office/drawing/2014/main" id="{E057B02D-AF51-7ED0-AEA0-9CD85BD88F83}"/>
                </a:ext>
              </a:extLst>
            </p:cNvPr>
            <p:cNvSpPr>
              <a:spLocks/>
            </p:cNvSpPr>
            <p:nvPr/>
          </p:nvSpPr>
          <p:spPr>
            <a:xfrm>
              <a:off x="5051488" y="2620121"/>
              <a:ext cx="1683712" cy="776729"/>
            </a:xfrm>
            <a:prstGeom prst="rect">
              <a:avLst/>
            </a:prstGeom>
            <a:solidFill>
              <a:srgbClr val="0098C6"/>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27%</a:t>
              </a:r>
              <a:endParaRPr kumimoji="0" lang="en-GB" sz="1890" b="0" i="0" u="none" strike="noStrike" kern="0" cap="none" spc="0" normalizeH="0" baseline="30000" noProof="0" dirty="0">
                <a:ln>
                  <a:noFill/>
                </a:ln>
                <a:solidFill>
                  <a:srgbClr val="FFFFFF"/>
                </a:solidFill>
                <a:effectLst/>
                <a:uLnTx/>
                <a:uFillTx/>
                <a:latin typeface="Impact" panose="020B0806030902050204" pitchFamily="34" charset="0"/>
                <a:ea typeface="+mn-ea"/>
                <a:cs typeface="Arial" charset="0"/>
              </a:endParaRPr>
            </a:p>
          </p:txBody>
        </p:sp>
        <p:sp>
          <p:nvSpPr>
            <p:cNvPr id="29" name="Rectangle 28">
              <a:extLst>
                <a:ext uri="{FF2B5EF4-FFF2-40B4-BE49-F238E27FC236}">
                  <a16:creationId xmlns:a16="http://schemas.microsoft.com/office/drawing/2014/main" id="{49F0FE6E-DC05-84D9-9DB1-1940ABD16F3C}"/>
                </a:ext>
              </a:extLst>
            </p:cNvPr>
            <p:cNvSpPr>
              <a:spLocks/>
            </p:cNvSpPr>
            <p:nvPr/>
          </p:nvSpPr>
          <p:spPr>
            <a:xfrm>
              <a:off x="5055345" y="3579925"/>
              <a:ext cx="1683712" cy="776730"/>
            </a:xfrm>
            <a:prstGeom prst="rect">
              <a:avLst/>
            </a:prstGeom>
            <a:solidFill>
              <a:srgbClr val="0098C6"/>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16%</a:t>
              </a:r>
            </a:p>
          </p:txBody>
        </p:sp>
        <p:sp>
          <p:nvSpPr>
            <p:cNvPr id="30" name="Rectangle 29">
              <a:extLst>
                <a:ext uri="{FF2B5EF4-FFF2-40B4-BE49-F238E27FC236}">
                  <a16:creationId xmlns:a16="http://schemas.microsoft.com/office/drawing/2014/main" id="{3DDCFDF5-093F-27C9-2CB4-7DF897F90ED6}"/>
                </a:ext>
              </a:extLst>
            </p:cNvPr>
            <p:cNvSpPr>
              <a:spLocks/>
            </p:cNvSpPr>
            <p:nvPr/>
          </p:nvSpPr>
          <p:spPr>
            <a:xfrm>
              <a:off x="5050421" y="4539730"/>
              <a:ext cx="1683712" cy="776730"/>
            </a:xfrm>
            <a:prstGeom prst="rect">
              <a:avLst/>
            </a:prstGeom>
            <a:solidFill>
              <a:srgbClr val="0098C6"/>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2%</a:t>
              </a:r>
            </a:p>
          </p:txBody>
        </p:sp>
      </p:grpSp>
      <p:grpSp>
        <p:nvGrpSpPr>
          <p:cNvPr id="68" name="Group 67">
            <a:extLst>
              <a:ext uri="{FF2B5EF4-FFF2-40B4-BE49-F238E27FC236}">
                <a16:creationId xmlns:a16="http://schemas.microsoft.com/office/drawing/2014/main" id="{9D87A8CE-6040-B22B-1B63-A303FC246BC3}"/>
              </a:ext>
            </a:extLst>
          </p:cNvPr>
          <p:cNvGrpSpPr/>
          <p:nvPr/>
        </p:nvGrpSpPr>
        <p:grpSpPr>
          <a:xfrm>
            <a:off x="6646589" y="1287589"/>
            <a:ext cx="2043798" cy="3735973"/>
            <a:chOff x="7034022" y="1362662"/>
            <a:chExt cx="2162961" cy="3953798"/>
          </a:xfrm>
        </p:grpSpPr>
        <p:sp>
          <p:nvSpPr>
            <p:cNvPr id="53" name="TextBox 52">
              <a:extLst>
                <a:ext uri="{FF2B5EF4-FFF2-40B4-BE49-F238E27FC236}">
                  <a16:creationId xmlns:a16="http://schemas.microsoft.com/office/drawing/2014/main" id="{31D85E0F-BD6A-171D-E237-8408438D8539}"/>
                </a:ext>
              </a:extLst>
            </p:cNvPr>
            <p:cNvSpPr txBox="1"/>
            <p:nvPr/>
          </p:nvSpPr>
          <p:spPr>
            <a:xfrm>
              <a:off x="7034022" y="1362662"/>
              <a:ext cx="2162961" cy="313168"/>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Income contribution</a:t>
              </a:r>
            </a:p>
          </p:txBody>
        </p:sp>
        <p:sp>
          <p:nvSpPr>
            <p:cNvPr id="49" name="Rectangle 48">
              <a:extLst>
                <a:ext uri="{FF2B5EF4-FFF2-40B4-BE49-F238E27FC236}">
                  <a16:creationId xmlns:a16="http://schemas.microsoft.com/office/drawing/2014/main" id="{04A37899-7513-78AF-FF1C-9E24B7C0833F}"/>
                </a:ext>
              </a:extLst>
            </p:cNvPr>
            <p:cNvSpPr>
              <a:spLocks/>
            </p:cNvSpPr>
            <p:nvPr/>
          </p:nvSpPr>
          <p:spPr>
            <a:xfrm>
              <a:off x="7276075" y="1660317"/>
              <a:ext cx="1678857" cy="776730"/>
            </a:xfrm>
            <a:prstGeom prst="rect">
              <a:avLst/>
            </a:prstGeom>
            <a:solidFill>
              <a:srgbClr val="41BB9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2.0%</a:t>
              </a:r>
            </a:p>
          </p:txBody>
        </p:sp>
        <p:sp>
          <p:nvSpPr>
            <p:cNvPr id="50" name="Rectangle 49">
              <a:extLst>
                <a:ext uri="{FF2B5EF4-FFF2-40B4-BE49-F238E27FC236}">
                  <a16:creationId xmlns:a16="http://schemas.microsoft.com/office/drawing/2014/main" id="{9454621E-25B4-818A-4A31-1FC2B4DFB6C8}"/>
                </a:ext>
              </a:extLst>
            </p:cNvPr>
            <p:cNvSpPr>
              <a:spLocks/>
            </p:cNvSpPr>
            <p:nvPr/>
          </p:nvSpPr>
          <p:spPr>
            <a:xfrm>
              <a:off x="7274859" y="2620121"/>
              <a:ext cx="1683712" cy="776729"/>
            </a:xfrm>
            <a:prstGeom prst="rect">
              <a:avLst/>
            </a:prstGeom>
            <a:solidFill>
              <a:srgbClr val="41BB9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1.6%</a:t>
              </a:r>
              <a:endParaRPr kumimoji="0" lang="en-GB" sz="1890" b="0" i="0" u="none" strike="noStrike" kern="0" cap="none" spc="0" normalizeH="0" baseline="30000" noProof="0" dirty="0">
                <a:ln>
                  <a:noFill/>
                </a:ln>
                <a:solidFill>
                  <a:srgbClr val="FFFFFF"/>
                </a:solidFill>
                <a:effectLst/>
                <a:uLnTx/>
                <a:uFillTx/>
                <a:latin typeface="Impact" panose="020B0806030902050204" pitchFamily="34" charset="0"/>
                <a:ea typeface="+mn-ea"/>
                <a:cs typeface="Arial" charset="0"/>
              </a:endParaRPr>
            </a:p>
          </p:txBody>
        </p:sp>
        <p:sp>
          <p:nvSpPr>
            <p:cNvPr id="51" name="Rectangle 50">
              <a:extLst>
                <a:ext uri="{FF2B5EF4-FFF2-40B4-BE49-F238E27FC236}">
                  <a16:creationId xmlns:a16="http://schemas.microsoft.com/office/drawing/2014/main" id="{C51902BB-8FA2-5834-19CE-12D5DCC1A1B6}"/>
                </a:ext>
              </a:extLst>
            </p:cNvPr>
            <p:cNvSpPr>
              <a:spLocks/>
            </p:cNvSpPr>
            <p:nvPr/>
          </p:nvSpPr>
          <p:spPr>
            <a:xfrm>
              <a:off x="7276788" y="3579925"/>
              <a:ext cx="1683712" cy="776730"/>
            </a:xfrm>
            <a:prstGeom prst="rect">
              <a:avLst/>
            </a:prstGeom>
            <a:solidFill>
              <a:srgbClr val="41BB9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1.4%</a:t>
              </a:r>
            </a:p>
          </p:txBody>
        </p:sp>
        <p:sp>
          <p:nvSpPr>
            <p:cNvPr id="52" name="Rectangle 51">
              <a:extLst>
                <a:ext uri="{FF2B5EF4-FFF2-40B4-BE49-F238E27FC236}">
                  <a16:creationId xmlns:a16="http://schemas.microsoft.com/office/drawing/2014/main" id="{C989019B-6CDD-19AC-6E42-774410327037}"/>
                </a:ext>
              </a:extLst>
            </p:cNvPr>
            <p:cNvSpPr>
              <a:spLocks/>
            </p:cNvSpPr>
            <p:nvPr/>
          </p:nvSpPr>
          <p:spPr>
            <a:xfrm>
              <a:off x="7274326" y="4539730"/>
              <a:ext cx="1683712" cy="776730"/>
            </a:xfrm>
            <a:prstGeom prst="rect">
              <a:avLst/>
            </a:prstGeom>
            <a:solidFill>
              <a:srgbClr val="41BB98"/>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0.1%</a:t>
              </a:r>
            </a:p>
          </p:txBody>
        </p:sp>
      </p:grpSp>
      <p:grpSp>
        <p:nvGrpSpPr>
          <p:cNvPr id="69" name="Group 68">
            <a:extLst>
              <a:ext uri="{FF2B5EF4-FFF2-40B4-BE49-F238E27FC236}">
                <a16:creationId xmlns:a16="http://schemas.microsoft.com/office/drawing/2014/main" id="{8657F9DF-4B22-A265-B6F3-1AFD61F6BA20}"/>
              </a:ext>
            </a:extLst>
          </p:cNvPr>
          <p:cNvGrpSpPr/>
          <p:nvPr/>
        </p:nvGrpSpPr>
        <p:grpSpPr>
          <a:xfrm>
            <a:off x="8624448" y="1302214"/>
            <a:ext cx="2279100" cy="3721349"/>
            <a:chOff x="9127201" y="1378139"/>
            <a:chExt cx="2411982" cy="3938321"/>
          </a:xfrm>
        </p:grpSpPr>
        <p:sp>
          <p:nvSpPr>
            <p:cNvPr id="54" name="TextBox 53">
              <a:extLst>
                <a:ext uri="{FF2B5EF4-FFF2-40B4-BE49-F238E27FC236}">
                  <a16:creationId xmlns:a16="http://schemas.microsoft.com/office/drawing/2014/main" id="{B8D2FD5A-EDD1-2DB0-7F5B-F3FA4D8F0A1C}"/>
                </a:ext>
              </a:extLst>
            </p:cNvPr>
            <p:cNvSpPr txBox="1"/>
            <p:nvPr/>
          </p:nvSpPr>
          <p:spPr>
            <a:xfrm>
              <a:off x="9127201" y="1378139"/>
              <a:ext cx="2411982" cy="313168"/>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 of total income</a:t>
              </a:r>
            </a:p>
          </p:txBody>
        </p:sp>
        <p:sp>
          <p:nvSpPr>
            <p:cNvPr id="56" name="Rectangle 55">
              <a:extLst>
                <a:ext uri="{FF2B5EF4-FFF2-40B4-BE49-F238E27FC236}">
                  <a16:creationId xmlns:a16="http://schemas.microsoft.com/office/drawing/2014/main" id="{F01A6961-EDE7-B487-7A41-AE596630BBB6}"/>
                </a:ext>
              </a:extLst>
            </p:cNvPr>
            <p:cNvSpPr>
              <a:spLocks/>
            </p:cNvSpPr>
            <p:nvPr/>
          </p:nvSpPr>
          <p:spPr>
            <a:xfrm>
              <a:off x="9498232" y="1660317"/>
              <a:ext cx="1678857" cy="776730"/>
            </a:xfrm>
            <a:prstGeom prst="rect">
              <a:avLst/>
            </a:prstGeom>
            <a:solidFill>
              <a:srgbClr val="2DB4B4"/>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40%</a:t>
              </a:r>
            </a:p>
          </p:txBody>
        </p:sp>
        <p:sp>
          <p:nvSpPr>
            <p:cNvPr id="57" name="Rectangle 56">
              <a:extLst>
                <a:ext uri="{FF2B5EF4-FFF2-40B4-BE49-F238E27FC236}">
                  <a16:creationId xmlns:a16="http://schemas.microsoft.com/office/drawing/2014/main" id="{8E0D7572-D499-D047-D132-BB07BDA3DEA9}"/>
                </a:ext>
              </a:extLst>
            </p:cNvPr>
            <p:cNvSpPr>
              <a:spLocks/>
            </p:cNvSpPr>
            <p:nvPr/>
          </p:nvSpPr>
          <p:spPr>
            <a:xfrm>
              <a:off x="9498232" y="2620121"/>
              <a:ext cx="1683712" cy="776729"/>
            </a:xfrm>
            <a:prstGeom prst="rect">
              <a:avLst/>
            </a:prstGeom>
            <a:solidFill>
              <a:srgbClr val="2DB4B4"/>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32%</a:t>
              </a:r>
              <a:endParaRPr kumimoji="0" lang="en-GB" sz="1890" b="0" i="0" u="none" strike="noStrike" kern="0" cap="none" spc="0" normalizeH="0" baseline="30000" noProof="0" dirty="0">
                <a:ln>
                  <a:noFill/>
                </a:ln>
                <a:solidFill>
                  <a:srgbClr val="FFFFFF"/>
                </a:solidFill>
                <a:effectLst/>
                <a:uLnTx/>
                <a:uFillTx/>
                <a:latin typeface="Impact" panose="020B0806030902050204" pitchFamily="34" charset="0"/>
                <a:ea typeface="+mn-ea"/>
                <a:cs typeface="Arial" charset="0"/>
              </a:endParaRPr>
            </a:p>
          </p:txBody>
        </p:sp>
        <p:sp>
          <p:nvSpPr>
            <p:cNvPr id="58" name="Rectangle 57">
              <a:extLst>
                <a:ext uri="{FF2B5EF4-FFF2-40B4-BE49-F238E27FC236}">
                  <a16:creationId xmlns:a16="http://schemas.microsoft.com/office/drawing/2014/main" id="{4C58FD1F-3FBC-DD0B-7355-6598D0ECCEA7}"/>
                </a:ext>
              </a:extLst>
            </p:cNvPr>
            <p:cNvSpPr>
              <a:spLocks/>
            </p:cNvSpPr>
            <p:nvPr/>
          </p:nvSpPr>
          <p:spPr>
            <a:xfrm>
              <a:off x="9498232" y="3579925"/>
              <a:ext cx="1683712" cy="776730"/>
            </a:xfrm>
            <a:prstGeom prst="rect">
              <a:avLst/>
            </a:prstGeom>
            <a:solidFill>
              <a:srgbClr val="2DB4B4"/>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26%</a:t>
              </a:r>
            </a:p>
          </p:txBody>
        </p:sp>
        <p:sp>
          <p:nvSpPr>
            <p:cNvPr id="59" name="Rectangle 58">
              <a:extLst>
                <a:ext uri="{FF2B5EF4-FFF2-40B4-BE49-F238E27FC236}">
                  <a16:creationId xmlns:a16="http://schemas.microsoft.com/office/drawing/2014/main" id="{0BDDD26F-0F5D-93B8-F9AE-00906BA4954F}"/>
                </a:ext>
              </a:extLst>
            </p:cNvPr>
            <p:cNvSpPr>
              <a:spLocks/>
            </p:cNvSpPr>
            <p:nvPr/>
          </p:nvSpPr>
          <p:spPr>
            <a:xfrm>
              <a:off x="9498232" y="4539730"/>
              <a:ext cx="1683712" cy="776730"/>
            </a:xfrm>
            <a:prstGeom prst="rect">
              <a:avLst/>
            </a:prstGeom>
            <a:solidFill>
              <a:srgbClr val="2DB4B4"/>
            </a:solidFill>
            <a:ln w="19050" cap="sq" cmpd="sng" algn="ctr">
              <a:solidFill>
                <a:srgbClr val="FFFFFF"/>
              </a:solidFill>
              <a:prstDash val="solid"/>
              <a:miter lim="800000"/>
            </a:ln>
            <a:effectLst/>
          </p:spPr>
          <p:txBody>
            <a:bodyPr rtlCol="0" anchor="ct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en-GB" sz="1890" b="0" i="0" u="none" strike="noStrike" kern="0" cap="none" spc="0" normalizeH="0" baseline="0" noProof="0" dirty="0">
                  <a:ln>
                    <a:noFill/>
                  </a:ln>
                  <a:solidFill>
                    <a:srgbClr val="FFFFFF"/>
                  </a:solidFill>
                  <a:effectLst/>
                  <a:uLnTx/>
                  <a:uFillTx/>
                  <a:latin typeface="Impact" panose="020B0806030902050204" pitchFamily="34" charset="0"/>
                  <a:ea typeface="+mn-ea"/>
                  <a:cs typeface="Arial" charset="0"/>
                </a:rPr>
                <a:t>2%</a:t>
              </a:r>
            </a:p>
          </p:txBody>
        </p:sp>
      </p:grpSp>
      <p:sp>
        <p:nvSpPr>
          <p:cNvPr id="5" name="TextBox 4">
            <a:extLst>
              <a:ext uri="{FF2B5EF4-FFF2-40B4-BE49-F238E27FC236}">
                <a16:creationId xmlns:a16="http://schemas.microsoft.com/office/drawing/2014/main" id="{9D84465C-9E11-74FF-488C-4A4132462BFF}"/>
              </a:ext>
            </a:extLst>
          </p:cNvPr>
          <p:cNvSpPr txBox="1"/>
          <p:nvPr/>
        </p:nvSpPr>
        <p:spPr>
          <a:xfrm>
            <a:off x="5287842" y="5412139"/>
            <a:ext cx="1719497" cy="295915"/>
          </a:xfrm>
          <a:prstGeom prst="rect">
            <a:avLst/>
          </a:prstGeom>
          <a:noFill/>
        </p:spPr>
        <p:txBody>
          <a:bodyPr wrap="square" rtlCol="0">
            <a:spAutoFit/>
          </a:bodyPr>
          <a:lstStyle/>
          <a:p>
            <a:pPr marL="0" marR="0" lvl="0" indent="0" algn="ctr" defTabSz="864017" rtl="0" eaLnBrk="1" fontAlgn="auto" latinLnBrk="0" hangingPunct="1">
              <a:lnSpc>
                <a:spcPct val="100000"/>
              </a:lnSpc>
              <a:spcBef>
                <a:spcPts val="1134"/>
              </a:spcBef>
              <a:spcAft>
                <a:spcPts val="0"/>
              </a:spcAft>
              <a:buClrTx/>
              <a:buSzTx/>
              <a:buFontTx/>
              <a:buNone/>
              <a:tabLst/>
              <a:defRPr/>
            </a:pPr>
            <a:r>
              <a:rPr kumimoji="0" lang="en-GB" sz="1323" b="1"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Arial" charset="0"/>
              </a:rPr>
              <a:t>Overall yield</a:t>
            </a:r>
          </a:p>
        </p:txBody>
      </p:sp>
    </p:spTree>
    <p:custDataLst>
      <p:tags r:id="rId1"/>
    </p:custDataLst>
    <p:extLst>
      <p:ext uri="{BB962C8B-B14F-4D97-AF65-F5344CB8AC3E}">
        <p14:creationId xmlns:p14="http://schemas.microsoft.com/office/powerpoint/2010/main" val="533385474"/>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AD85174A-879F-EEA8-7306-7BFD29171EF1}"/>
              </a:ext>
            </a:extLst>
          </p:cNvPr>
          <p:cNvSpPr>
            <a:spLocks noGrp="1"/>
          </p:cNvSpPr>
          <p:nvPr>
            <p:ph sz="quarter" idx="33"/>
          </p:nvPr>
        </p:nvSpPr>
        <p:spPr>
          <a:xfrm>
            <a:off x="8567738" y="1736614"/>
            <a:ext cx="2376487" cy="3808524"/>
          </a:xfrm>
        </p:spPr>
        <p:txBody>
          <a:bodyPr/>
          <a:lstStyle/>
          <a:p>
            <a:pPr lvl="2"/>
            <a:r>
              <a:rPr lang="en-GB" sz="1400" dirty="0"/>
              <a:t>Set fixed withdrawal equal to regular monthly payout from income share class</a:t>
            </a:r>
          </a:p>
          <a:p>
            <a:pPr lvl="2"/>
            <a:r>
              <a:rPr lang="en-GB" sz="1400" dirty="0"/>
              <a:t>Pay income to top up cash reserve and draw down from this reserve</a:t>
            </a:r>
          </a:p>
          <a:p>
            <a:pPr lvl="2"/>
            <a:r>
              <a:rPr lang="en-GB" sz="1400" dirty="0"/>
              <a:t>Use accumulation share class and set withdrawals equal to the income paid on the income share class</a:t>
            </a:r>
          </a:p>
        </p:txBody>
      </p:sp>
      <p:sp>
        <p:nvSpPr>
          <p:cNvPr id="21" name="Text Placeholder 20">
            <a:extLst>
              <a:ext uri="{FF2B5EF4-FFF2-40B4-BE49-F238E27FC236}">
                <a16:creationId xmlns:a16="http://schemas.microsoft.com/office/drawing/2014/main" id="{04419686-3E81-42D9-09F0-3A3EC5844340}"/>
              </a:ext>
            </a:extLst>
          </p:cNvPr>
          <p:cNvSpPr>
            <a:spLocks noGrp="1"/>
          </p:cNvSpPr>
          <p:nvPr>
            <p:ph type="body" sz="quarter" idx="13"/>
          </p:nvPr>
        </p:nvSpPr>
        <p:spPr/>
        <p:txBody>
          <a:bodyPr/>
          <a:lstStyle/>
          <a:p>
            <a:r>
              <a:rPr lang="en-GB" dirty="0"/>
              <a:t>Fund paying income quarterly, annual income of £5,000</a:t>
            </a:r>
            <a:r>
              <a:rPr lang="en-GB" baseline="30000" dirty="0"/>
              <a:t>1</a:t>
            </a:r>
          </a:p>
        </p:txBody>
      </p:sp>
      <p:sp>
        <p:nvSpPr>
          <p:cNvPr id="3" name="Text Placeholder 2">
            <a:extLst>
              <a:ext uri="{FF2B5EF4-FFF2-40B4-BE49-F238E27FC236}">
                <a16:creationId xmlns:a16="http://schemas.microsoft.com/office/drawing/2014/main" id="{DD2B7B46-78AE-D23F-2B5A-98082084482C}"/>
              </a:ext>
            </a:extLst>
          </p:cNvPr>
          <p:cNvSpPr>
            <a:spLocks noGrp="1"/>
          </p:cNvSpPr>
          <p:nvPr>
            <p:ph type="body" sz="quarter" idx="11"/>
          </p:nvPr>
        </p:nvSpPr>
        <p:spPr>
          <a:xfrm>
            <a:off x="576263" y="1008000"/>
            <a:ext cx="10368000" cy="432000"/>
          </a:xfrm>
        </p:spPr>
        <p:txBody>
          <a:bodyPr/>
          <a:lstStyle/>
          <a:p>
            <a:r>
              <a:rPr lang="en-GB" dirty="0"/>
              <a:t>Fund income can be structured to align with account withdrawals </a:t>
            </a:r>
          </a:p>
        </p:txBody>
      </p:sp>
      <p:sp>
        <p:nvSpPr>
          <p:cNvPr id="2" name="Title 1">
            <a:extLst>
              <a:ext uri="{FF2B5EF4-FFF2-40B4-BE49-F238E27FC236}">
                <a16:creationId xmlns:a16="http://schemas.microsoft.com/office/drawing/2014/main" id="{5BA5DE13-7A0F-9630-949E-8F60D224960A}"/>
              </a:ext>
            </a:extLst>
          </p:cNvPr>
          <p:cNvSpPr>
            <a:spLocks noGrp="1"/>
          </p:cNvSpPr>
          <p:nvPr>
            <p:ph type="title"/>
          </p:nvPr>
        </p:nvSpPr>
        <p:spPr>
          <a:xfrm>
            <a:off x="576263" y="576263"/>
            <a:ext cx="10367962" cy="360000"/>
          </a:xfrm>
        </p:spPr>
        <p:txBody>
          <a:bodyPr/>
          <a:lstStyle/>
          <a:p>
            <a:r>
              <a:rPr lang="en-GB" dirty="0"/>
              <a:t>Stable and predictable income simplifies planning and admin</a:t>
            </a:r>
          </a:p>
        </p:txBody>
      </p:sp>
      <p:sp>
        <p:nvSpPr>
          <p:cNvPr id="22" name="Text Placeholder 21">
            <a:extLst>
              <a:ext uri="{FF2B5EF4-FFF2-40B4-BE49-F238E27FC236}">
                <a16:creationId xmlns:a16="http://schemas.microsoft.com/office/drawing/2014/main" id="{ED1285A2-3501-8D7D-AD53-D1A61F05FE1C}"/>
              </a:ext>
            </a:extLst>
          </p:cNvPr>
          <p:cNvSpPr>
            <a:spLocks noGrp="1"/>
          </p:cNvSpPr>
          <p:nvPr>
            <p:ph type="body" sz="quarter" idx="18"/>
          </p:nvPr>
        </p:nvSpPr>
        <p:spPr/>
        <p:txBody>
          <a:bodyPr/>
          <a:lstStyle/>
          <a:p>
            <a:endParaRPr lang="en-GB"/>
          </a:p>
        </p:txBody>
      </p:sp>
      <p:sp>
        <p:nvSpPr>
          <p:cNvPr id="20" name="Content Placeholder 19">
            <a:extLst>
              <a:ext uri="{FF2B5EF4-FFF2-40B4-BE49-F238E27FC236}">
                <a16:creationId xmlns:a16="http://schemas.microsoft.com/office/drawing/2014/main" id="{B9602659-1575-9127-0C22-EA04BDD54564}"/>
              </a:ext>
            </a:extLst>
          </p:cNvPr>
          <p:cNvSpPr>
            <a:spLocks noGrp="1"/>
          </p:cNvSpPr>
          <p:nvPr>
            <p:ph sz="quarter" idx="12"/>
          </p:nvPr>
        </p:nvSpPr>
        <p:spPr/>
        <p:txBody>
          <a:bodyPr/>
          <a:lstStyle/>
          <a:p>
            <a:r>
              <a:rPr lang="en-GB" dirty="0"/>
              <a:t>Source: BNY Investments. This is a hypothetical example provided for illustrative purposes only. </a:t>
            </a:r>
            <a:r>
              <a:rPr lang="en-GB" baseline="30000" dirty="0"/>
              <a:t>1</a:t>
            </a:r>
            <a:r>
              <a:rPr lang="en-GB" dirty="0"/>
              <a:t>Assumes £100,000 in a fund paying 5% per annum. </a:t>
            </a:r>
          </a:p>
        </p:txBody>
      </p:sp>
      <p:graphicFrame>
        <p:nvGraphicFramePr>
          <p:cNvPr id="26" name="Content Placeholder 25">
            <a:extLst>
              <a:ext uri="{FF2B5EF4-FFF2-40B4-BE49-F238E27FC236}">
                <a16:creationId xmlns:a16="http://schemas.microsoft.com/office/drawing/2014/main" id="{B636F933-009F-CA9D-DFF2-38874C51BDCF}"/>
              </a:ext>
            </a:extLst>
          </p:cNvPr>
          <p:cNvGraphicFramePr>
            <a:graphicFrameLocks noGrp="1"/>
          </p:cNvGraphicFramePr>
          <p:nvPr>
            <p:ph sz="quarter" idx="35"/>
          </p:nvPr>
        </p:nvGraphicFramePr>
        <p:xfrm>
          <a:off x="576263" y="1727200"/>
          <a:ext cx="7704137" cy="1692275"/>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22">
            <a:extLst>
              <a:ext uri="{FF2B5EF4-FFF2-40B4-BE49-F238E27FC236}">
                <a16:creationId xmlns:a16="http://schemas.microsoft.com/office/drawing/2014/main" id="{839695FD-7C72-A39A-D186-EF58FBCB3421}"/>
              </a:ext>
            </a:extLst>
          </p:cNvPr>
          <p:cNvSpPr>
            <a:spLocks noGrp="1"/>
          </p:cNvSpPr>
          <p:nvPr>
            <p:ph type="body" sz="quarter" idx="21"/>
          </p:nvPr>
        </p:nvSpPr>
        <p:spPr>
          <a:xfrm>
            <a:off x="576262" y="1448614"/>
            <a:ext cx="7704137" cy="288000"/>
          </a:xfrm>
          <a:solidFill>
            <a:schemeClr val="bg1"/>
          </a:solidFill>
        </p:spPr>
        <p:txBody>
          <a:bodyPr/>
          <a:lstStyle/>
          <a:p>
            <a:r>
              <a:rPr lang="en-GB" dirty="0"/>
              <a:t>Income restructured to pay monthly with Christmas bonus</a:t>
            </a:r>
            <a:r>
              <a:rPr lang="en-GB" baseline="30000" dirty="0"/>
              <a:t>1</a:t>
            </a:r>
          </a:p>
        </p:txBody>
      </p:sp>
      <p:graphicFrame>
        <p:nvGraphicFramePr>
          <p:cNvPr id="27" name="Content Placeholder 26">
            <a:extLst>
              <a:ext uri="{FF2B5EF4-FFF2-40B4-BE49-F238E27FC236}">
                <a16:creationId xmlns:a16="http://schemas.microsoft.com/office/drawing/2014/main" id="{9DA508D7-6397-4D64-A59D-DF6EC70098F9}"/>
              </a:ext>
            </a:extLst>
          </p:cNvPr>
          <p:cNvGraphicFramePr>
            <a:graphicFrameLocks noGrp="1"/>
          </p:cNvGraphicFramePr>
          <p:nvPr>
            <p:ph sz="quarter" idx="36"/>
          </p:nvPr>
        </p:nvGraphicFramePr>
        <p:xfrm>
          <a:off x="576263" y="1727201"/>
          <a:ext cx="7704137" cy="3817938"/>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3896753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26">
                                            <p:graphicEl>
                                              <a:chart seriesIdx="-4" categoryIdx="0" bldStep="category"/>
                                            </p:graphicEl>
                                          </p:spTgt>
                                        </p:tgtEl>
                                        <p:attrNameLst>
                                          <p:attrName>style.visibility</p:attrName>
                                        </p:attrNameLst>
                                      </p:cBhvr>
                                      <p:to>
                                        <p:strVal val="visible"/>
                                      </p:to>
                                    </p:set>
                                    <p:anim calcmode="lin" valueType="num">
                                      <p:cBhvr additive="base">
                                        <p:cTn id="10" dur="500"/>
                                        <p:tgtEl>
                                          <p:spTgt spid="26">
                                            <p:graphicEl>
                                              <a:chart seriesIdx="-4" categoryIdx="0" bldStep="category"/>
                                            </p:graphicEl>
                                          </p:spTgt>
                                        </p:tgtEl>
                                        <p:attrNameLst>
                                          <p:attrName>ppt_y</p:attrName>
                                        </p:attrNameLst>
                                      </p:cBhvr>
                                      <p:tavLst>
                                        <p:tav tm="0">
                                          <p:val>
                                            <p:strVal val="#ppt_y+#ppt_h*1.125000"/>
                                          </p:val>
                                        </p:tav>
                                        <p:tav tm="100000">
                                          <p:val>
                                            <p:strVal val="#ppt_y"/>
                                          </p:val>
                                        </p:tav>
                                      </p:tavLst>
                                    </p:anim>
                                    <p:animEffect transition="in" filter="wipe(up)">
                                      <p:cBhvr>
                                        <p:cTn id="11" dur="500"/>
                                        <p:tgtEl>
                                          <p:spTgt spid="26">
                                            <p:graphicEl>
                                              <a:chart seriesIdx="-4" categoryIdx="0" bldStep="category"/>
                                            </p:graphicEl>
                                          </p:spTgt>
                                        </p:tgtEl>
                                      </p:cBhvr>
                                    </p:animEffect>
                                  </p:childTnLst>
                                </p:cTn>
                              </p:par>
                            </p:childTnLst>
                          </p:cTn>
                        </p:par>
                        <p:par>
                          <p:cTn id="12" fill="hold">
                            <p:stCondLst>
                              <p:cond delay="500"/>
                            </p:stCondLst>
                            <p:childTnLst>
                              <p:par>
                                <p:cTn id="13" presetID="12" presetClass="entr" presetSubtype="4" fill="hold" grpId="0" nodeType="afterEffect">
                                  <p:stCondLst>
                                    <p:cond delay="0"/>
                                  </p:stCondLst>
                                  <p:childTnLst>
                                    <p:set>
                                      <p:cBhvr>
                                        <p:cTn id="14" dur="1" fill="hold">
                                          <p:stCondLst>
                                            <p:cond delay="0"/>
                                          </p:stCondLst>
                                        </p:cTn>
                                        <p:tgtEl>
                                          <p:spTgt spid="26">
                                            <p:graphicEl>
                                              <a:chart seriesIdx="-4" categoryIdx="1" bldStep="category"/>
                                            </p:graphicEl>
                                          </p:spTgt>
                                        </p:tgtEl>
                                        <p:attrNameLst>
                                          <p:attrName>style.visibility</p:attrName>
                                        </p:attrNameLst>
                                      </p:cBhvr>
                                      <p:to>
                                        <p:strVal val="visible"/>
                                      </p:to>
                                    </p:set>
                                    <p:anim calcmode="lin" valueType="num">
                                      <p:cBhvr additive="base">
                                        <p:cTn id="15" dur="500"/>
                                        <p:tgtEl>
                                          <p:spTgt spid="26">
                                            <p:graphicEl>
                                              <a:chart seriesIdx="-4" categoryIdx="1" bldStep="category"/>
                                            </p:graphicEl>
                                          </p:spTgt>
                                        </p:tgtEl>
                                        <p:attrNameLst>
                                          <p:attrName>ppt_y</p:attrName>
                                        </p:attrNameLst>
                                      </p:cBhvr>
                                      <p:tavLst>
                                        <p:tav tm="0">
                                          <p:val>
                                            <p:strVal val="#ppt_y+#ppt_h*1.125000"/>
                                          </p:val>
                                        </p:tav>
                                        <p:tav tm="100000">
                                          <p:val>
                                            <p:strVal val="#ppt_y"/>
                                          </p:val>
                                        </p:tav>
                                      </p:tavLst>
                                    </p:anim>
                                    <p:animEffect transition="in" filter="wipe(up)">
                                      <p:cBhvr>
                                        <p:cTn id="16" dur="500"/>
                                        <p:tgtEl>
                                          <p:spTgt spid="26">
                                            <p:graphicEl>
                                              <a:chart seriesIdx="-4" categoryIdx="1" bldStep="category"/>
                                            </p:graphicEl>
                                          </p:spTgt>
                                        </p:tgtEl>
                                      </p:cBhvr>
                                    </p:animEffect>
                                  </p:childTnLst>
                                </p:cTn>
                              </p:par>
                            </p:childTnLst>
                          </p:cTn>
                        </p:par>
                        <p:par>
                          <p:cTn id="17" fill="hold">
                            <p:stCondLst>
                              <p:cond delay="1000"/>
                            </p:stCondLst>
                            <p:childTnLst>
                              <p:par>
                                <p:cTn id="18" presetID="12" presetClass="entr" presetSubtype="4" fill="hold" grpId="0" nodeType="afterEffect">
                                  <p:stCondLst>
                                    <p:cond delay="0"/>
                                  </p:stCondLst>
                                  <p:childTnLst>
                                    <p:set>
                                      <p:cBhvr>
                                        <p:cTn id="19" dur="1" fill="hold">
                                          <p:stCondLst>
                                            <p:cond delay="0"/>
                                          </p:stCondLst>
                                        </p:cTn>
                                        <p:tgtEl>
                                          <p:spTgt spid="26">
                                            <p:graphicEl>
                                              <a:chart seriesIdx="-4" categoryIdx="2" bldStep="category"/>
                                            </p:graphicEl>
                                          </p:spTgt>
                                        </p:tgtEl>
                                        <p:attrNameLst>
                                          <p:attrName>style.visibility</p:attrName>
                                        </p:attrNameLst>
                                      </p:cBhvr>
                                      <p:to>
                                        <p:strVal val="visible"/>
                                      </p:to>
                                    </p:set>
                                    <p:anim calcmode="lin" valueType="num">
                                      <p:cBhvr additive="base">
                                        <p:cTn id="20" dur="500"/>
                                        <p:tgtEl>
                                          <p:spTgt spid="26">
                                            <p:graphicEl>
                                              <a:chart seriesIdx="-4" categoryIdx="2" bldStep="category"/>
                                            </p:graphicEl>
                                          </p:spTgt>
                                        </p:tgtEl>
                                        <p:attrNameLst>
                                          <p:attrName>ppt_y</p:attrName>
                                        </p:attrNameLst>
                                      </p:cBhvr>
                                      <p:tavLst>
                                        <p:tav tm="0">
                                          <p:val>
                                            <p:strVal val="#ppt_y+#ppt_h*1.125000"/>
                                          </p:val>
                                        </p:tav>
                                        <p:tav tm="100000">
                                          <p:val>
                                            <p:strVal val="#ppt_y"/>
                                          </p:val>
                                        </p:tav>
                                      </p:tavLst>
                                    </p:anim>
                                    <p:animEffect transition="in" filter="wipe(up)">
                                      <p:cBhvr>
                                        <p:cTn id="21" dur="500"/>
                                        <p:tgtEl>
                                          <p:spTgt spid="26">
                                            <p:graphicEl>
                                              <a:chart seriesIdx="-4" categoryIdx="2" bldStep="category"/>
                                            </p:graphicEl>
                                          </p:spTgt>
                                        </p:tgtEl>
                                      </p:cBhvr>
                                    </p:animEffect>
                                  </p:childTnLst>
                                </p:cTn>
                              </p:par>
                            </p:childTnLst>
                          </p:cTn>
                        </p:par>
                        <p:par>
                          <p:cTn id="22" fill="hold">
                            <p:stCondLst>
                              <p:cond delay="1500"/>
                            </p:stCondLst>
                            <p:childTnLst>
                              <p:par>
                                <p:cTn id="23" presetID="12" presetClass="entr" presetSubtype="4" fill="hold" grpId="0" nodeType="afterEffect">
                                  <p:stCondLst>
                                    <p:cond delay="0"/>
                                  </p:stCondLst>
                                  <p:childTnLst>
                                    <p:set>
                                      <p:cBhvr>
                                        <p:cTn id="24" dur="1" fill="hold">
                                          <p:stCondLst>
                                            <p:cond delay="0"/>
                                          </p:stCondLst>
                                        </p:cTn>
                                        <p:tgtEl>
                                          <p:spTgt spid="26">
                                            <p:graphicEl>
                                              <a:chart seriesIdx="-4" categoryIdx="3" bldStep="category"/>
                                            </p:graphicEl>
                                          </p:spTgt>
                                        </p:tgtEl>
                                        <p:attrNameLst>
                                          <p:attrName>style.visibility</p:attrName>
                                        </p:attrNameLst>
                                      </p:cBhvr>
                                      <p:to>
                                        <p:strVal val="visible"/>
                                      </p:to>
                                    </p:set>
                                    <p:anim calcmode="lin" valueType="num">
                                      <p:cBhvr additive="base">
                                        <p:cTn id="25" dur="500"/>
                                        <p:tgtEl>
                                          <p:spTgt spid="26">
                                            <p:graphicEl>
                                              <a:chart seriesIdx="-4" categoryIdx="3" bldStep="category"/>
                                            </p:graphicEl>
                                          </p:spTgt>
                                        </p:tgtEl>
                                        <p:attrNameLst>
                                          <p:attrName>ppt_y</p:attrName>
                                        </p:attrNameLst>
                                      </p:cBhvr>
                                      <p:tavLst>
                                        <p:tav tm="0">
                                          <p:val>
                                            <p:strVal val="#ppt_y+#ppt_h*1.125000"/>
                                          </p:val>
                                        </p:tav>
                                        <p:tav tm="100000">
                                          <p:val>
                                            <p:strVal val="#ppt_y"/>
                                          </p:val>
                                        </p:tav>
                                      </p:tavLst>
                                    </p:anim>
                                    <p:animEffect transition="in" filter="wipe(up)">
                                      <p:cBhvr>
                                        <p:cTn id="26" dur="500"/>
                                        <p:tgtEl>
                                          <p:spTgt spid="26">
                                            <p:graphicEl>
                                              <a:chart seriesIdx="-4" categoryIdx="3" bldStep="category"/>
                                            </p:graphicEl>
                                          </p:spTgt>
                                        </p:tgtEl>
                                      </p:cBhvr>
                                    </p:animEffect>
                                  </p:childTnLst>
                                </p:cTn>
                              </p:par>
                            </p:childTnLst>
                          </p:cTn>
                        </p:par>
                        <p:par>
                          <p:cTn id="27" fill="hold">
                            <p:stCondLst>
                              <p:cond delay="2000"/>
                            </p:stCondLst>
                            <p:childTnLst>
                              <p:par>
                                <p:cTn id="28" presetID="12" presetClass="entr" presetSubtype="4" fill="hold" grpId="0" nodeType="afterEffect">
                                  <p:stCondLst>
                                    <p:cond delay="0"/>
                                  </p:stCondLst>
                                  <p:childTnLst>
                                    <p:set>
                                      <p:cBhvr>
                                        <p:cTn id="29" dur="1" fill="hold">
                                          <p:stCondLst>
                                            <p:cond delay="0"/>
                                          </p:stCondLst>
                                        </p:cTn>
                                        <p:tgtEl>
                                          <p:spTgt spid="26">
                                            <p:graphicEl>
                                              <a:chart seriesIdx="-4" categoryIdx="4" bldStep="category"/>
                                            </p:graphicEl>
                                          </p:spTgt>
                                        </p:tgtEl>
                                        <p:attrNameLst>
                                          <p:attrName>style.visibility</p:attrName>
                                        </p:attrNameLst>
                                      </p:cBhvr>
                                      <p:to>
                                        <p:strVal val="visible"/>
                                      </p:to>
                                    </p:set>
                                    <p:anim calcmode="lin" valueType="num">
                                      <p:cBhvr additive="base">
                                        <p:cTn id="30" dur="500"/>
                                        <p:tgtEl>
                                          <p:spTgt spid="26">
                                            <p:graphicEl>
                                              <a:chart seriesIdx="-4" categoryIdx="4" bldStep="category"/>
                                            </p:graphicEl>
                                          </p:spTgt>
                                        </p:tgtEl>
                                        <p:attrNameLst>
                                          <p:attrName>ppt_y</p:attrName>
                                        </p:attrNameLst>
                                      </p:cBhvr>
                                      <p:tavLst>
                                        <p:tav tm="0">
                                          <p:val>
                                            <p:strVal val="#ppt_y+#ppt_h*1.125000"/>
                                          </p:val>
                                        </p:tav>
                                        <p:tav tm="100000">
                                          <p:val>
                                            <p:strVal val="#ppt_y"/>
                                          </p:val>
                                        </p:tav>
                                      </p:tavLst>
                                    </p:anim>
                                    <p:animEffect transition="in" filter="wipe(up)">
                                      <p:cBhvr>
                                        <p:cTn id="31" dur="500"/>
                                        <p:tgtEl>
                                          <p:spTgt spid="26">
                                            <p:graphicEl>
                                              <a:chart seriesIdx="-4" categoryIdx="4" bldStep="category"/>
                                            </p:graphicEl>
                                          </p:spTgt>
                                        </p:tgtEl>
                                      </p:cBhvr>
                                    </p:animEffect>
                                  </p:childTnLst>
                                </p:cTn>
                              </p:par>
                            </p:childTnLst>
                          </p:cTn>
                        </p:par>
                        <p:par>
                          <p:cTn id="32" fill="hold">
                            <p:stCondLst>
                              <p:cond delay="2500"/>
                            </p:stCondLst>
                            <p:childTnLst>
                              <p:par>
                                <p:cTn id="33" presetID="12" presetClass="entr" presetSubtype="4" fill="hold" grpId="0" nodeType="afterEffect">
                                  <p:stCondLst>
                                    <p:cond delay="0"/>
                                  </p:stCondLst>
                                  <p:childTnLst>
                                    <p:set>
                                      <p:cBhvr>
                                        <p:cTn id="34" dur="1" fill="hold">
                                          <p:stCondLst>
                                            <p:cond delay="0"/>
                                          </p:stCondLst>
                                        </p:cTn>
                                        <p:tgtEl>
                                          <p:spTgt spid="26">
                                            <p:graphicEl>
                                              <a:chart seriesIdx="-4" categoryIdx="5" bldStep="category"/>
                                            </p:graphicEl>
                                          </p:spTgt>
                                        </p:tgtEl>
                                        <p:attrNameLst>
                                          <p:attrName>style.visibility</p:attrName>
                                        </p:attrNameLst>
                                      </p:cBhvr>
                                      <p:to>
                                        <p:strVal val="visible"/>
                                      </p:to>
                                    </p:set>
                                    <p:anim calcmode="lin" valueType="num">
                                      <p:cBhvr additive="base">
                                        <p:cTn id="35" dur="500"/>
                                        <p:tgtEl>
                                          <p:spTgt spid="26">
                                            <p:graphicEl>
                                              <a:chart seriesIdx="-4" categoryIdx="5" bldStep="category"/>
                                            </p:graphicEl>
                                          </p:spTgt>
                                        </p:tgtEl>
                                        <p:attrNameLst>
                                          <p:attrName>ppt_y</p:attrName>
                                        </p:attrNameLst>
                                      </p:cBhvr>
                                      <p:tavLst>
                                        <p:tav tm="0">
                                          <p:val>
                                            <p:strVal val="#ppt_y+#ppt_h*1.125000"/>
                                          </p:val>
                                        </p:tav>
                                        <p:tav tm="100000">
                                          <p:val>
                                            <p:strVal val="#ppt_y"/>
                                          </p:val>
                                        </p:tav>
                                      </p:tavLst>
                                    </p:anim>
                                    <p:animEffect transition="in" filter="wipe(up)">
                                      <p:cBhvr>
                                        <p:cTn id="36" dur="500"/>
                                        <p:tgtEl>
                                          <p:spTgt spid="26">
                                            <p:graphicEl>
                                              <a:chart seriesIdx="-4" categoryIdx="5" bldStep="category"/>
                                            </p:graphicEl>
                                          </p:spTgt>
                                        </p:tgtEl>
                                      </p:cBhvr>
                                    </p:animEffect>
                                  </p:childTnLst>
                                </p:cTn>
                              </p:par>
                            </p:childTnLst>
                          </p:cTn>
                        </p:par>
                        <p:par>
                          <p:cTn id="37" fill="hold">
                            <p:stCondLst>
                              <p:cond delay="3000"/>
                            </p:stCondLst>
                            <p:childTnLst>
                              <p:par>
                                <p:cTn id="38" presetID="12" presetClass="entr" presetSubtype="4" fill="hold" grpId="0" nodeType="afterEffect">
                                  <p:stCondLst>
                                    <p:cond delay="0"/>
                                  </p:stCondLst>
                                  <p:childTnLst>
                                    <p:set>
                                      <p:cBhvr>
                                        <p:cTn id="39" dur="1" fill="hold">
                                          <p:stCondLst>
                                            <p:cond delay="0"/>
                                          </p:stCondLst>
                                        </p:cTn>
                                        <p:tgtEl>
                                          <p:spTgt spid="26">
                                            <p:graphicEl>
                                              <a:chart seriesIdx="-4" categoryIdx="6" bldStep="category"/>
                                            </p:graphicEl>
                                          </p:spTgt>
                                        </p:tgtEl>
                                        <p:attrNameLst>
                                          <p:attrName>style.visibility</p:attrName>
                                        </p:attrNameLst>
                                      </p:cBhvr>
                                      <p:to>
                                        <p:strVal val="visible"/>
                                      </p:to>
                                    </p:set>
                                    <p:anim calcmode="lin" valueType="num">
                                      <p:cBhvr additive="base">
                                        <p:cTn id="40" dur="500"/>
                                        <p:tgtEl>
                                          <p:spTgt spid="26">
                                            <p:graphicEl>
                                              <a:chart seriesIdx="-4" categoryIdx="6" bldStep="category"/>
                                            </p:graphicEl>
                                          </p:spTgt>
                                        </p:tgtEl>
                                        <p:attrNameLst>
                                          <p:attrName>ppt_y</p:attrName>
                                        </p:attrNameLst>
                                      </p:cBhvr>
                                      <p:tavLst>
                                        <p:tav tm="0">
                                          <p:val>
                                            <p:strVal val="#ppt_y+#ppt_h*1.125000"/>
                                          </p:val>
                                        </p:tav>
                                        <p:tav tm="100000">
                                          <p:val>
                                            <p:strVal val="#ppt_y"/>
                                          </p:val>
                                        </p:tav>
                                      </p:tavLst>
                                    </p:anim>
                                    <p:animEffect transition="in" filter="wipe(up)">
                                      <p:cBhvr>
                                        <p:cTn id="41" dur="500"/>
                                        <p:tgtEl>
                                          <p:spTgt spid="26">
                                            <p:graphicEl>
                                              <a:chart seriesIdx="-4" categoryIdx="6" bldStep="category"/>
                                            </p:graphicEl>
                                          </p:spTgt>
                                        </p:tgtEl>
                                      </p:cBhvr>
                                    </p:animEffect>
                                  </p:childTnLst>
                                </p:cTn>
                              </p:par>
                            </p:childTnLst>
                          </p:cTn>
                        </p:par>
                        <p:par>
                          <p:cTn id="42" fill="hold">
                            <p:stCondLst>
                              <p:cond delay="3500"/>
                            </p:stCondLst>
                            <p:childTnLst>
                              <p:par>
                                <p:cTn id="43" presetID="12" presetClass="entr" presetSubtype="4" fill="hold" grpId="0" nodeType="afterEffect">
                                  <p:stCondLst>
                                    <p:cond delay="0"/>
                                  </p:stCondLst>
                                  <p:childTnLst>
                                    <p:set>
                                      <p:cBhvr>
                                        <p:cTn id="44" dur="1" fill="hold">
                                          <p:stCondLst>
                                            <p:cond delay="0"/>
                                          </p:stCondLst>
                                        </p:cTn>
                                        <p:tgtEl>
                                          <p:spTgt spid="26">
                                            <p:graphicEl>
                                              <a:chart seriesIdx="-4" categoryIdx="7" bldStep="category"/>
                                            </p:graphicEl>
                                          </p:spTgt>
                                        </p:tgtEl>
                                        <p:attrNameLst>
                                          <p:attrName>style.visibility</p:attrName>
                                        </p:attrNameLst>
                                      </p:cBhvr>
                                      <p:to>
                                        <p:strVal val="visible"/>
                                      </p:to>
                                    </p:set>
                                    <p:anim calcmode="lin" valueType="num">
                                      <p:cBhvr additive="base">
                                        <p:cTn id="45" dur="500"/>
                                        <p:tgtEl>
                                          <p:spTgt spid="26">
                                            <p:graphicEl>
                                              <a:chart seriesIdx="-4" categoryIdx="7" bldStep="category"/>
                                            </p:graphicEl>
                                          </p:spTgt>
                                        </p:tgtEl>
                                        <p:attrNameLst>
                                          <p:attrName>ppt_y</p:attrName>
                                        </p:attrNameLst>
                                      </p:cBhvr>
                                      <p:tavLst>
                                        <p:tav tm="0">
                                          <p:val>
                                            <p:strVal val="#ppt_y+#ppt_h*1.125000"/>
                                          </p:val>
                                        </p:tav>
                                        <p:tav tm="100000">
                                          <p:val>
                                            <p:strVal val="#ppt_y"/>
                                          </p:val>
                                        </p:tav>
                                      </p:tavLst>
                                    </p:anim>
                                    <p:animEffect transition="in" filter="wipe(up)">
                                      <p:cBhvr>
                                        <p:cTn id="46" dur="500"/>
                                        <p:tgtEl>
                                          <p:spTgt spid="26">
                                            <p:graphicEl>
                                              <a:chart seriesIdx="-4" categoryIdx="7" bldStep="category"/>
                                            </p:graphicEl>
                                          </p:spTgt>
                                        </p:tgtEl>
                                      </p:cBhvr>
                                    </p:animEffect>
                                  </p:childTnLst>
                                </p:cTn>
                              </p:par>
                            </p:childTnLst>
                          </p:cTn>
                        </p:par>
                        <p:par>
                          <p:cTn id="47" fill="hold">
                            <p:stCondLst>
                              <p:cond delay="4000"/>
                            </p:stCondLst>
                            <p:childTnLst>
                              <p:par>
                                <p:cTn id="48" presetID="12" presetClass="entr" presetSubtype="4" fill="hold" grpId="0" nodeType="afterEffect">
                                  <p:stCondLst>
                                    <p:cond delay="0"/>
                                  </p:stCondLst>
                                  <p:childTnLst>
                                    <p:set>
                                      <p:cBhvr>
                                        <p:cTn id="49" dur="1" fill="hold">
                                          <p:stCondLst>
                                            <p:cond delay="0"/>
                                          </p:stCondLst>
                                        </p:cTn>
                                        <p:tgtEl>
                                          <p:spTgt spid="26">
                                            <p:graphicEl>
                                              <a:chart seriesIdx="-4" categoryIdx="8" bldStep="category"/>
                                            </p:graphicEl>
                                          </p:spTgt>
                                        </p:tgtEl>
                                        <p:attrNameLst>
                                          <p:attrName>style.visibility</p:attrName>
                                        </p:attrNameLst>
                                      </p:cBhvr>
                                      <p:to>
                                        <p:strVal val="visible"/>
                                      </p:to>
                                    </p:set>
                                    <p:anim calcmode="lin" valueType="num">
                                      <p:cBhvr additive="base">
                                        <p:cTn id="50" dur="500"/>
                                        <p:tgtEl>
                                          <p:spTgt spid="26">
                                            <p:graphicEl>
                                              <a:chart seriesIdx="-4" categoryIdx="8" bldStep="category"/>
                                            </p:graphicEl>
                                          </p:spTgt>
                                        </p:tgtEl>
                                        <p:attrNameLst>
                                          <p:attrName>ppt_y</p:attrName>
                                        </p:attrNameLst>
                                      </p:cBhvr>
                                      <p:tavLst>
                                        <p:tav tm="0">
                                          <p:val>
                                            <p:strVal val="#ppt_y+#ppt_h*1.125000"/>
                                          </p:val>
                                        </p:tav>
                                        <p:tav tm="100000">
                                          <p:val>
                                            <p:strVal val="#ppt_y"/>
                                          </p:val>
                                        </p:tav>
                                      </p:tavLst>
                                    </p:anim>
                                    <p:animEffect transition="in" filter="wipe(up)">
                                      <p:cBhvr>
                                        <p:cTn id="51" dur="500"/>
                                        <p:tgtEl>
                                          <p:spTgt spid="26">
                                            <p:graphicEl>
                                              <a:chart seriesIdx="-4" categoryIdx="8" bldStep="category"/>
                                            </p:graphicEl>
                                          </p:spTgt>
                                        </p:tgtEl>
                                      </p:cBhvr>
                                    </p:animEffect>
                                  </p:childTnLst>
                                </p:cTn>
                              </p:par>
                            </p:childTnLst>
                          </p:cTn>
                        </p:par>
                        <p:par>
                          <p:cTn id="52" fill="hold">
                            <p:stCondLst>
                              <p:cond delay="4500"/>
                            </p:stCondLst>
                            <p:childTnLst>
                              <p:par>
                                <p:cTn id="53" presetID="12" presetClass="entr" presetSubtype="4" fill="hold" grpId="0" nodeType="afterEffect">
                                  <p:stCondLst>
                                    <p:cond delay="0"/>
                                  </p:stCondLst>
                                  <p:childTnLst>
                                    <p:set>
                                      <p:cBhvr>
                                        <p:cTn id="54" dur="1" fill="hold">
                                          <p:stCondLst>
                                            <p:cond delay="0"/>
                                          </p:stCondLst>
                                        </p:cTn>
                                        <p:tgtEl>
                                          <p:spTgt spid="26">
                                            <p:graphicEl>
                                              <a:chart seriesIdx="-4" categoryIdx="9" bldStep="category"/>
                                            </p:graphicEl>
                                          </p:spTgt>
                                        </p:tgtEl>
                                        <p:attrNameLst>
                                          <p:attrName>style.visibility</p:attrName>
                                        </p:attrNameLst>
                                      </p:cBhvr>
                                      <p:to>
                                        <p:strVal val="visible"/>
                                      </p:to>
                                    </p:set>
                                    <p:anim calcmode="lin" valueType="num">
                                      <p:cBhvr additive="base">
                                        <p:cTn id="55" dur="500"/>
                                        <p:tgtEl>
                                          <p:spTgt spid="26">
                                            <p:graphicEl>
                                              <a:chart seriesIdx="-4" categoryIdx="9" bldStep="category"/>
                                            </p:graphicEl>
                                          </p:spTgt>
                                        </p:tgtEl>
                                        <p:attrNameLst>
                                          <p:attrName>ppt_y</p:attrName>
                                        </p:attrNameLst>
                                      </p:cBhvr>
                                      <p:tavLst>
                                        <p:tav tm="0">
                                          <p:val>
                                            <p:strVal val="#ppt_y+#ppt_h*1.125000"/>
                                          </p:val>
                                        </p:tav>
                                        <p:tav tm="100000">
                                          <p:val>
                                            <p:strVal val="#ppt_y"/>
                                          </p:val>
                                        </p:tav>
                                      </p:tavLst>
                                    </p:anim>
                                    <p:animEffect transition="in" filter="wipe(up)">
                                      <p:cBhvr>
                                        <p:cTn id="56" dur="500"/>
                                        <p:tgtEl>
                                          <p:spTgt spid="26">
                                            <p:graphicEl>
                                              <a:chart seriesIdx="-4" categoryIdx="9" bldStep="category"/>
                                            </p:graphicEl>
                                          </p:spTgt>
                                        </p:tgtEl>
                                      </p:cBhvr>
                                    </p:animEffect>
                                  </p:childTnLst>
                                </p:cTn>
                              </p:par>
                            </p:childTnLst>
                          </p:cTn>
                        </p:par>
                        <p:par>
                          <p:cTn id="57" fill="hold">
                            <p:stCondLst>
                              <p:cond delay="5000"/>
                            </p:stCondLst>
                            <p:childTnLst>
                              <p:par>
                                <p:cTn id="58" presetID="12" presetClass="entr" presetSubtype="4" fill="hold" grpId="0" nodeType="afterEffect">
                                  <p:stCondLst>
                                    <p:cond delay="0"/>
                                  </p:stCondLst>
                                  <p:childTnLst>
                                    <p:set>
                                      <p:cBhvr>
                                        <p:cTn id="59" dur="1" fill="hold">
                                          <p:stCondLst>
                                            <p:cond delay="0"/>
                                          </p:stCondLst>
                                        </p:cTn>
                                        <p:tgtEl>
                                          <p:spTgt spid="26">
                                            <p:graphicEl>
                                              <a:chart seriesIdx="-4" categoryIdx="10" bldStep="category"/>
                                            </p:graphicEl>
                                          </p:spTgt>
                                        </p:tgtEl>
                                        <p:attrNameLst>
                                          <p:attrName>style.visibility</p:attrName>
                                        </p:attrNameLst>
                                      </p:cBhvr>
                                      <p:to>
                                        <p:strVal val="visible"/>
                                      </p:to>
                                    </p:set>
                                    <p:anim calcmode="lin" valueType="num">
                                      <p:cBhvr additive="base">
                                        <p:cTn id="60" dur="500"/>
                                        <p:tgtEl>
                                          <p:spTgt spid="26">
                                            <p:graphicEl>
                                              <a:chart seriesIdx="-4" categoryIdx="10" bldStep="category"/>
                                            </p:graphicEl>
                                          </p:spTgt>
                                        </p:tgtEl>
                                        <p:attrNameLst>
                                          <p:attrName>ppt_y</p:attrName>
                                        </p:attrNameLst>
                                      </p:cBhvr>
                                      <p:tavLst>
                                        <p:tav tm="0">
                                          <p:val>
                                            <p:strVal val="#ppt_y+#ppt_h*1.125000"/>
                                          </p:val>
                                        </p:tav>
                                        <p:tav tm="100000">
                                          <p:val>
                                            <p:strVal val="#ppt_y"/>
                                          </p:val>
                                        </p:tav>
                                      </p:tavLst>
                                    </p:anim>
                                    <p:animEffect transition="in" filter="wipe(up)">
                                      <p:cBhvr>
                                        <p:cTn id="61" dur="500"/>
                                        <p:tgtEl>
                                          <p:spTgt spid="26">
                                            <p:graphicEl>
                                              <a:chart seriesIdx="-4" categoryIdx="10" bldStep="category"/>
                                            </p:graphicEl>
                                          </p:spTgt>
                                        </p:tgtEl>
                                      </p:cBhvr>
                                    </p:animEffect>
                                  </p:childTnLst>
                                </p:cTn>
                              </p:par>
                            </p:childTnLst>
                          </p:cTn>
                        </p:par>
                        <p:par>
                          <p:cTn id="62" fill="hold">
                            <p:stCondLst>
                              <p:cond delay="5500"/>
                            </p:stCondLst>
                            <p:childTnLst>
                              <p:par>
                                <p:cTn id="63" presetID="12" presetClass="entr" presetSubtype="4" fill="hold" grpId="0" nodeType="afterEffect">
                                  <p:stCondLst>
                                    <p:cond delay="0"/>
                                  </p:stCondLst>
                                  <p:childTnLst>
                                    <p:set>
                                      <p:cBhvr>
                                        <p:cTn id="64" dur="1" fill="hold">
                                          <p:stCondLst>
                                            <p:cond delay="0"/>
                                          </p:stCondLst>
                                        </p:cTn>
                                        <p:tgtEl>
                                          <p:spTgt spid="26">
                                            <p:graphicEl>
                                              <a:chart seriesIdx="-4" categoryIdx="11" bldStep="category"/>
                                            </p:graphicEl>
                                          </p:spTgt>
                                        </p:tgtEl>
                                        <p:attrNameLst>
                                          <p:attrName>style.visibility</p:attrName>
                                        </p:attrNameLst>
                                      </p:cBhvr>
                                      <p:to>
                                        <p:strVal val="visible"/>
                                      </p:to>
                                    </p:set>
                                    <p:anim calcmode="lin" valueType="num">
                                      <p:cBhvr additive="base">
                                        <p:cTn id="65" dur="500"/>
                                        <p:tgtEl>
                                          <p:spTgt spid="26">
                                            <p:graphicEl>
                                              <a:chart seriesIdx="-4" categoryIdx="11" bldStep="category"/>
                                            </p:graphicEl>
                                          </p:spTgt>
                                        </p:tgtEl>
                                        <p:attrNameLst>
                                          <p:attrName>ppt_y</p:attrName>
                                        </p:attrNameLst>
                                      </p:cBhvr>
                                      <p:tavLst>
                                        <p:tav tm="0">
                                          <p:val>
                                            <p:strVal val="#ppt_y+#ppt_h*1.125000"/>
                                          </p:val>
                                        </p:tav>
                                        <p:tav tm="100000">
                                          <p:val>
                                            <p:strVal val="#ppt_y"/>
                                          </p:val>
                                        </p:tav>
                                      </p:tavLst>
                                    </p:anim>
                                    <p:animEffect transition="in" filter="wipe(up)">
                                      <p:cBhvr>
                                        <p:cTn id="66" dur="500"/>
                                        <p:tgtEl>
                                          <p:spTgt spid="26">
                                            <p:graphicEl>
                                              <a:chart seriesIdx="-4" categoryIdx="11" bldStep="category"/>
                                            </p:graphic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3">
                                            <p:bg/>
                                          </p:spTgt>
                                        </p:tgtEl>
                                        <p:attrNameLst>
                                          <p:attrName>style.visibility</p:attrName>
                                        </p:attrNameLst>
                                      </p:cBhvr>
                                      <p:to>
                                        <p:strVal val="visible"/>
                                      </p:to>
                                    </p:set>
                                    <p:animEffect transition="in" filter="fade">
                                      <p:cBhvr>
                                        <p:cTn id="71" dur="500"/>
                                        <p:tgtEl>
                                          <p:spTgt spid="23">
                                            <p:bg/>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3">
                                            <p:txEl>
                                              <p:pRg st="0" end="0"/>
                                            </p:txEl>
                                          </p:spTgt>
                                        </p:tgtEl>
                                        <p:attrNameLst>
                                          <p:attrName>style.visibility</p:attrName>
                                        </p:attrNameLst>
                                      </p:cBhvr>
                                      <p:to>
                                        <p:strVal val="visible"/>
                                      </p:to>
                                    </p:set>
                                    <p:animEffect transition="in" filter="fade">
                                      <p:cBhvr>
                                        <p:cTn id="74" dur="500"/>
                                        <p:tgtEl>
                                          <p:spTgt spid="23">
                                            <p:txEl>
                                              <p:pRg st="0" end="0"/>
                                            </p:txEl>
                                          </p:spTgt>
                                        </p:tgtEl>
                                      </p:cBhvr>
                                    </p:animEffect>
                                  </p:childTnLst>
                                </p:cTn>
                              </p:par>
                              <p:par>
                                <p:cTn id="75" presetID="12" presetClass="entr" presetSubtype="4" fill="hold" grpId="0" nodeType="withEffect">
                                  <p:stCondLst>
                                    <p:cond delay="0"/>
                                  </p:stCondLst>
                                  <p:childTnLst>
                                    <p:set>
                                      <p:cBhvr>
                                        <p:cTn id="76" dur="1" fill="hold">
                                          <p:stCondLst>
                                            <p:cond delay="0"/>
                                          </p:stCondLst>
                                        </p:cTn>
                                        <p:tgtEl>
                                          <p:spTgt spid="27">
                                            <p:graphicEl>
                                              <a:chart seriesIdx="-3" categoryIdx="-3" bldStep="gridLegend"/>
                                            </p:graphicEl>
                                          </p:spTgt>
                                        </p:tgtEl>
                                        <p:attrNameLst>
                                          <p:attrName>style.visibility</p:attrName>
                                        </p:attrNameLst>
                                      </p:cBhvr>
                                      <p:to>
                                        <p:strVal val="visible"/>
                                      </p:to>
                                    </p:set>
                                    <p:anim calcmode="lin" valueType="num">
                                      <p:cBhvr additive="base">
                                        <p:cTn id="77" dur="500"/>
                                        <p:tgtEl>
                                          <p:spTgt spid="27">
                                            <p:graphicEl>
                                              <a:chart seriesIdx="-3" categoryIdx="-3" bldStep="gridLegend"/>
                                            </p:graphicEl>
                                          </p:spTgt>
                                        </p:tgtEl>
                                        <p:attrNameLst>
                                          <p:attrName>ppt_y</p:attrName>
                                        </p:attrNameLst>
                                      </p:cBhvr>
                                      <p:tavLst>
                                        <p:tav tm="0">
                                          <p:val>
                                            <p:strVal val="#ppt_y+#ppt_h*1.125000"/>
                                          </p:val>
                                        </p:tav>
                                        <p:tav tm="100000">
                                          <p:val>
                                            <p:strVal val="#ppt_y"/>
                                          </p:val>
                                        </p:tav>
                                      </p:tavLst>
                                    </p:anim>
                                    <p:animEffect transition="in" filter="wipe(up)">
                                      <p:cBhvr>
                                        <p:cTn id="78" dur="500"/>
                                        <p:tgtEl>
                                          <p:spTgt spid="27">
                                            <p:graphicEl>
                                              <a:chart seriesIdx="-3" categoryIdx="-3" bldStep="gridLegend"/>
                                            </p:graphicEl>
                                          </p:spTgt>
                                        </p:tgtEl>
                                      </p:cBhvr>
                                    </p:animEffect>
                                  </p:childTnLst>
                                </p:cTn>
                              </p:par>
                            </p:childTnLst>
                          </p:cTn>
                        </p:par>
                        <p:par>
                          <p:cTn id="79" fill="hold">
                            <p:stCondLst>
                              <p:cond delay="500"/>
                            </p:stCondLst>
                            <p:childTnLst>
                              <p:par>
                                <p:cTn id="80" presetID="12" presetClass="entr" presetSubtype="4" fill="hold" grpId="0" nodeType="afterEffect">
                                  <p:stCondLst>
                                    <p:cond delay="0"/>
                                  </p:stCondLst>
                                  <p:childTnLst>
                                    <p:set>
                                      <p:cBhvr>
                                        <p:cTn id="81" dur="1" fill="hold">
                                          <p:stCondLst>
                                            <p:cond delay="0"/>
                                          </p:stCondLst>
                                        </p:cTn>
                                        <p:tgtEl>
                                          <p:spTgt spid="27">
                                            <p:graphicEl>
                                              <a:chart seriesIdx="0" categoryIdx="0" bldStep="ptInCategory"/>
                                            </p:graphicEl>
                                          </p:spTgt>
                                        </p:tgtEl>
                                        <p:attrNameLst>
                                          <p:attrName>style.visibility</p:attrName>
                                        </p:attrNameLst>
                                      </p:cBhvr>
                                      <p:to>
                                        <p:strVal val="visible"/>
                                      </p:to>
                                    </p:set>
                                    <p:anim calcmode="lin" valueType="num">
                                      <p:cBhvr additive="base">
                                        <p:cTn id="82" dur="500"/>
                                        <p:tgtEl>
                                          <p:spTgt spid="27">
                                            <p:graphicEl>
                                              <a:chart seriesIdx="0" categoryIdx="0" bldStep="ptInCategory"/>
                                            </p:graphicEl>
                                          </p:spTgt>
                                        </p:tgtEl>
                                        <p:attrNameLst>
                                          <p:attrName>ppt_y</p:attrName>
                                        </p:attrNameLst>
                                      </p:cBhvr>
                                      <p:tavLst>
                                        <p:tav tm="0">
                                          <p:val>
                                            <p:strVal val="#ppt_y+#ppt_h*1.125000"/>
                                          </p:val>
                                        </p:tav>
                                        <p:tav tm="100000">
                                          <p:val>
                                            <p:strVal val="#ppt_y"/>
                                          </p:val>
                                        </p:tav>
                                      </p:tavLst>
                                    </p:anim>
                                    <p:animEffect transition="in" filter="wipe(up)">
                                      <p:cBhvr>
                                        <p:cTn id="83" dur="500"/>
                                        <p:tgtEl>
                                          <p:spTgt spid="27">
                                            <p:graphicEl>
                                              <a:chart seriesIdx="0" categoryIdx="0" bldStep="ptInCategory"/>
                                            </p:graphicEl>
                                          </p:spTgt>
                                        </p:tgtEl>
                                      </p:cBhvr>
                                    </p:animEffect>
                                  </p:childTnLst>
                                </p:cTn>
                              </p:par>
                            </p:childTnLst>
                          </p:cTn>
                        </p:par>
                        <p:par>
                          <p:cTn id="84" fill="hold">
                            <p:stCondLst>
                              <p:cond delay="1000"/>
                            </p:stCondLst>
                            <p:childTnLst>
                              <p:par>
                                <p:cTn id="85" presetID="12" presetClass="entr" presetSubtype="4" fill="hold" grpId="0" nodeType="afterEffect">
                                  <p:stCondLst>
                                    <p:cond delay="0"/>
                                  </p:stCondLst>
                                  <p:childTnLst>
                                    <p:set>
                                      <p:cBhvr>
                                        <p:cTn id="86" dur="1" fill="hold">
                                          <p:stCondLst>
                                            <p:cond delay="0"/>
                                          </p:stCondLst>
                                        </p:cTn>
                                        <p:tgtEl>
                                          <p:spTgt spid="27">
                                            <p:graphicEl>
                                              <a:chart seriesIdx="1" categoryIdx="0" bldStep="ptInCategory"/>
                                            </p:graphicEl>
                                          </p:spTgt>
                                        </p:tgtEl>
                                        <p:attrNameLst>
                                          <p:attrName>style.visibility</p:attrName>
                                        </p:attrNameLst>
                                      </p:cBhvr>
                                      <p:to>
                                        <p:strVal val="visible"/>
                                      </p:to>
                                    </p:set>
                                    <p:anim calcmode="lin" valueType="num">
                                      <p:cBhvr additive="base">
                                        <p:cTn id="87" dur="500"/>
                                        <p:tgtEl>
                                          <p:spTgt spid="27">
                                            <p:graphicEl>
                                              <a:chart seriesIdx="1" categoryIdx="0" bldStep="ptInCategory"/>
                                            </p:graphicEl>
                                          </p:spTgt>
                                        </p:tgtEl>
                                        <p:attrNameLst>
                                          <p:attrName>ppt_y</p:attrName>
                                        </p:attrNameLst>
                                      </p:cBhvr>
                                      <p:tavLst>
                                        <p:tav tm="0">
                                          <p:val>
                                            <p:strVal val="#ppt_y+#ppt_h*1.125000"/>
                                          </p:val>
                                        </p:tav>
                                        <p:tav tm="100000">
                                          <p:val>
                                            <p:strVal val="#ppt_y"/>
                                          </p:val>
                                        </p:tav>
                                      </p:tavLst>
                                    </p:anim>
                                    <p:animEffect transition="in" filter="wipe(up)">
                                      <p:cBhvr>
                                        <p:cTn id="88" dur="500"/>
                                        <p:tgtEl>
                                          <p:spTgt spid="27">
                                            <p:graphicEl>
                                              <a:chart seriesIdx="1" categoryIdx="0" bldStep="ptInCategory"/>
                                            </p:graphicEl>
                                          </p:spTgt>
                                        </p:tgtEl>
                                      </p:cBhvr>
                                    </p:animEffect>
                                  </p:childTnLst>
                                </p:cTn>
                              </p:par>
                            </p:childTnLst>
                          </p:cTn>
                        </p:par>
                        <p:par>
                          <p:cTn id="89" fill="hold">
                            <p:stCondLst>
                              <p:cond delay="1500"/>
                            </p:stCondLst>
                            <p:childTnLst>
                              <p:par>
                                <p:cTn id="90" presetID="12" presetClass="entr" presetSubtype="4" fill="hold" grpId="0" nodeType="afterEffect">
                                  <p:stCondLst>
                                    <p:cond delay="0"/>
                                  </p:stCondLst>
                                  <p:childTnLst>
                                    <p:set>
                                      <p:cBhvr>
                                        <p:cTn id="91" dur="1" fill="hold">
                                          <p:stCondLst>
                                            <p:cond delay="0"/>
                                          </p:stCondLst>
                                        </p:cTn>
                                        <p:tgtEl>
                                          <p:spTgt spid="27">
                                            <p:graphicEl>
                                              <a:chart seriesIdx="0" categoryIdx="1" bldStep="ptInCategory"/>
                                            </p:graphicEl>
                                          </p:spTgt>
                                        </p:tgtEl>
                                        <p:attrNameLst>
                                          <p:attrName>style.visibility</p:attrName>
                                        </p:attrNameLst>
                                      </p:cBhvr>
                                      <p:to>
                                        <p:strVal val="visible"/>
                                      </p:to>
                                    </p:set>
                                    <p:anim calcmode="lin" valueType="num">
                                      <p:cBhvr additive="base">
                                        <p:cTn id="92" dur="500"/>
                                        <p:tgtEl>
                                          <p:spTgt spid="27">
                                            <p:graphicEl>
                                              <a:chart seriesIdx="0" categoryIdx="1" bldStep="ptInCategory"/>
                                            </p:graphicEl>
                                          </p:spTgt>
                                        </p:tgtEl>
                                        <p:attrNameLst>
                                          <p:attrName>ppt_y</p:attrName>
                                        </p:attrNameLst>
                                      </p:cBhvr>
                                      <p:tavLst>
                                        <p:tav tm="0">
                                          <p:val>
                                            <p:strVal val="#ppt_y+#ppt_h*1.125000"/>
                                          </p:val>
                                        </p:tav>
                                        <p:tav tm="100000">
                                          <p:val>
                                            <p:strVal val="#ppt_y"/>
                                          </p:val>
                                        </p:tav>
                                      </p:tavLst>
                                    </p:anim>
                                    <p:animEffect transition="in" filter="wipe(up)">
                                      <p:cBhvr>
                                        <p:cTn id="93" dur="500"/>
                                        <p:tgtEl>
                                          <p:spTgt spid="27">
                                            <p:graphicEl>
                                              <a:chart seriesIdx="0" categoryIdx="1" bldStep="ptInCategory"/>
                                            </p:graphicEl>
                                          </p:spTgt>
                                        </p:tgtEl>
                                      </p:cBhvr>
                                    </p:animEffect>
                                  </p:childTnLst>
                                </p:cTn>
                              </p:par>
                            </p:childTnLst>
                          </p:cTn>
                        </p:par>
                        <p:par>
                          <p:cTn id="94" fill="hold">
                            <p:stCondLst>
                              <p:cond delay="2000"/>
                            </p:stCondLst>
                            <p:childTnLst>
                              <p:par>
                                <p:cTn id="95" presetID="12" presetClass="entr" presetSubtype="4" fill="hold" grpId="0" nodeType="afterEffect">
                                  <p:stCondLst>
                                    <p:cond delay="0"/>
                                  </p:stCondLst>
                                  <p:childTnLst>
                                    <p:set>
                                      <p:cBhvr>
                                        <p:cTn id="96" dur="1" fill="hold">
                                          <p:stCondLst>
                                            <p:cond delay="0"/>
                                          </p:stCondLst>
                                        </p:cTn>
                                        <p:tgtEl>
                                          <p:spTgt spid="27">
                                            <p:graphicEl>
                                              <a:chart seriesIdx="1" categoryIdx="1" bldStep="ptInCategory"/>
                                            </p:graphicEl>
                                          </p:spTgt>
                                        </p:tgtEl>
                                        <p:attrNameLst>
                                          <p:attrName>style.visibility</p:attrName>
                                        </p:attrNameLst>
                                      </p:cBhvr>
                                      <p:to>
                                        <p:strVal val="visible"/>
                                      </p:to>
                                    </p:set>
                                    <p:anim calcmode="lin" valueType="num">
                                      <p:cBhvr additive="base">
                                        <p:cTn id="97" dur="500"/>
                                        <p:tgtEl>
                                          <p:spTgt spid="27">
                                            <p:graphicEl>
                                              <a:chart seriesIdx="1" categoryIdx="1" bldStep="ptInCategory"/>
                                            </p:graphicEl>
                                          </p:spTgt>
                                        </p:tgtEl>
                                        <p:attrNameLst>
                                          <p:attrName>ppt_y</p:attrName>
                                        </p:attrNameLst>
                                      </p:cBhvr>
                                      <p:tavLst>
                                        <p:tav tm="0">
                                          <p:val>
                                            <p:strVal val="#ppt_y+#ppt_h*1.125000"/>
                                          </p:val>
                                        </p:tav>
                                        <p:tav tm="100000">
                                          <p:val>
                                            <p:strVal val="#ppt_y"/>
                                          </p:val>
                                        </p:tav>
                                      </p:tavLst>
                                    </p:anim>
                                    <p:animEffect transition="in" filter="wipe(up)">
                                      <p:cBhvr>
                                        <p:cTn id="98" dur="500"/>
                                        <p:tgtEl>
                                          <p:spTgt spid="27">
                                            <p:graphicEl>
                                              <a:chart seriesIdx="1" categoryIdx="1" bldStep="ptInCategory"/>
                                            </p:graphicEl>
                                          </p:spTgt>
                                        </p:tgtEl>
                                      </p:cBhvr>
                                    </p:animEffect>
                                  </p:childTnLst>
                                </p:cTn>
                              </p:par>
                            </p:childTnLst>
                          </p:cTn>
                        </p:par>
                        <p:par>
                          <p:cTn id="99" fill="hold">
                            <p:stCondLst>
                              <p:cond delay="2500"/>
                            </p:stCondLst>
                            <p:childTnLst>
                              <p:par>
                                <p:cTn id="100" presetID="12" presetClass="entr" presetSubtype="4" fill="hold" grpId="0" nodeType="afterEffect">
                                  <p:stCondLst>
                                    <p:cond delay="0"/>
                                  </p:stCondLst>
                                  <p:childTnLst>
                                    <p:set>
                                      <p:cBhvr>
                                        <p:cTn id="101" dur="1" fill="hold">
                                          <p:stCondLst>
                                            <p:cond delay="0"/>
                                          </p:stCondLst>
                                        </p:cTn>
                                        <p:tgtEl>
                                          <p:spTgt spid="27">
                                            <p:graphicEl>
                                              <a:chart seriesIdx="0" categoryIdx="2" bldStep="ptInCategory"/>
                                            </p:graphicEl>
                                          </p:spTgt>
                                        </p:tgtEl>
                                        <p:attrNameLst>
                                          <p:attrName>style.visibility</p:attrName>
                                        </p:attrNameLst>
                                      </p:cBhvr>
                                      <p:to>
                                        <p:strVal val="visible"/>
                                      </p:to>
                                    </p:set>
                                    <p:anim calcmode="lin" valueType="num">
                                      <p:cBhvr additive="base">
                                        <p:cTn id="102" dur="500"/>
                                        <p:tgtEl>
                                          <p:spTgt spid="27">
                                            <p:graphicEl>
                                              <a:chart seriesIdx="0" categoryIdx="2" bldStep="ptInCategory"/>
                                            </p:graphicEl>
                                          </p:spTgt>
                                        </p:tgtEl>
                                        <p:attrNameLst>
                                          <p:attrName>ppt_y</p:attrName>
                                        </p:attrNameLst>
                                      </p:cBhvr>
                                      <p:tavLst>
                                        <p:tav tm="0">
                                          <p:val>
                                            <p:strVal val="#ppt_y+#ppt_h*1.125000"/>
                                          </p:val>
                                        </p:tav>
                                        <p:tav tm="100000">
                                          <p:val>
                                            <p:strVal val="#ppt_y"/>
                                          </p:val>
                                        </p:tav>
                                      </p:tavLst>
                                    </p:anim>
                                    <p:animEffect transition="in" filter="wipe(up)">
                                      <p:cBhvr>
                                        <p:cTn id="103" dur="500"/>
                                        <p:tgtEl>
                                          <p:spTgt spid="27">
                                            <p:graphicEl>
                                              <a:chart seriesIdx="0" categoryIdx="2" bldStep="ptInCategory"/>
                                            </p:graphicEl>
                                          </p:spTgt>
                                        </p:tgtEl>
                                      </p:cBhvr>
                                    </p:animEffect>
                                  </p:childTnLst>
                                </p:cTn>
                              </p:par>
                            </p:childTnLst>
                          </p:cTn>
                        </p:par>
                        <p:par>
                          <p:cTn id="104" fill="hold">
                            <p:stCondLst>
                              <p:cond delay="3000"/>
                            </p:stCondLst>
                            <p:childTnLst>
                              <p:par>
                                <p:cTn id="105" presetID="12" presetClass="entr" presetSubtype="4" fill="hold" grpId="0" nodeType="afterEffect">
                                  <p:stCondLst>
                                    <p:cond delay="0"/>
                                  </p:stCondLst>
                                  <p:childTnLst>
                                    <p:set>
                                      <p:cBhvr>
                                        <p:cTn id="106" dur="1" fill="hold">
                                          <p:stCondLst>
                                            <p:cond delay="0"/>
                                          </p:stCondLst>
                                        </p:cTn>
                                        <p:tgtEl>
                                          <p:spTgt spid="27">
                                            <p:graphicEl>
                                              <a:chart seriesIdx="1" categoryIdx="2" bldStep="ptInCategory"/>
                                            </p:graphicEl>
                                          </p:spTgt>
                                        </p:tgtEl>
                                        <p:attrNameLst>
                                          <p:attrName>style.visibility</p:attrName>
                                        </p:attrNameLst>
                                      </p:cBhvr>
                                      <p:to>
                                        <p:strVal val="visible"/>
                                      </p:to>
                                    </p:set>
                                    <p:anim calcmode="lin" valueType="num">
                                      <p:cBhvr additive="base">
                                        <p:cTn id="107" dur="500"/>
                                        <p:tgtEl>
                                          <p:spTgt spid="27">
                                            <p:graphicEl>
                                              <a:chart seriesIdx="1" categoryIdx="2" bldStep="ptInCategory"/>
                                            </p:graphicEl>
                                          </p:spTgt>
                                        </p:tgtEl>
                                        <p:attrNameLst>
                                          <p:attrName>ppt_y</p:attrName>
                                        </p:attrNameLst>
                                      </p:cBhvr>
                                      <p:tavLst>
                                        <p:tav tm="0">
                                          <p:val>
                                            <p:strVal val="#ppt_y+#ppt_h*1.125000"/>
                                          </p:val>
                                        </p:tav>
                                        <p:tav tm="100000">
                                          <p:val>
                                            <p:strVal val="#ppt_y"/>
                                          </p:val>
                                        </p:tav>
                                      </p:tavLst>
                                    </p:anim>
                                    <p:animEffect transition="in" filter="wipe(up)">
                                      <p:cBhvr>
                                        <p:cTn id="108" dur="500"/>
                                        <p:tgtEl>
                                          <p:spTgt spid="27">
                                            <p:graphicEl>
                                              <a:chart seriesIdx="1" categoryIdx="2" bldStep="ptInCategory"/>
                                            </p:graphicEl>
                                          </p:spTgt>
                                        </p:tgtEl>
                                      </p:cBhvr>
                                    </p:animEffect>
                                  </p:childTnLst>
                                </p:cTn>
                              </p:par>
                            </p:childTnLst>
                          </p:cTn>
                        </p:par>
                        <p:par>
                          <p:cTn id="109" fill="hold">
                            <p:stCondLst>
                              <p:cond delay="3500"/>
                            </p:stCondLst>
                            <p:childTnLst>
                              <p:par>
                                <p:cTn id="110" presetID="12" presetClass="entr" presetSubtype="4" fill="hold" grpId="0" nodeType="afterEffect">
                                  <p:stCondLst>
                                    <p:cond delay="0"/>
                                  </p:stCondLst>
                                  <p:childTnLst>
                                    <p:set>
                                      <p:cBhvr>
                                        <p:cTn id="111" dur="1" fill="hold">
                                          <p:stCondLst>
                                            <p:cond delay="0"/>
                                          </p:stCondLst>
                                        </p:cTn>
                                        <p:tgtEl>
                                          <p:spTgt spid="27">
                                            <p:graphicEl>
                                              <a:chart seriesIdx="0" categoryIdx="3" bldStep="ptInCategory"/>
                                            </p:graphicEl>
                                          </p:spTgt>
                                        </p:tgtEl>
                                        <p:attrNameLst>
                                          <p:attrName>style.visibility</p:attrName>
                                        </p:attrNameLst>
                                      </p:cBhvr>
                                      <p:to>
                                        <p:strVal val="visible"/>
                                      </p:to>
                                    </p:set>
                                    <p:anim calcmode="lin" valueType="num">
                                      <p:cBhvr additive="base">
                                        <p:cTn id="112" dur="500"/>
                                        <p:tgtEl>
                                          <p:spTgt spid="27">
                                            <p:graphicEl>
                                              <a:chart seriesIdx="0" categoryIdx="3" bldStep="ptInCategory"/>
                                            </p:graphicEl>
                                          </p:spTgt>
                                        </p:tgtEl>
                                        <p:attrNameLst>
                                          <p:attrName>ppt_y</p:attrName>
                                        </p:attrNameLst>
                                      </p:cBhvr>
                                      <p:tavLst>
                                        <p:tav tm="0">
                                          <p:val>
                                            <p:strVal val="#ppt_y+#ppt_h*1.125000"/>
                                          </p:val>
                                        </p:tav>
                                        <p:tav tm="100000">
                                          <p:val>
                                            <p:strVal val="#ppt_y"/>
                                          </p:val>
                                        </p:tav>
                                      </p:tavLst>
                                    </p:anim>
                                    <p:animEffect transition="in" filter="wipe(up)">
                                      <p:cBhvr>
                                        <p:cTn id="113" dur="500"/>
                                        <p:tgtEl>
                                          <p:spTgt spid="27">
                                            <p:graphicEl>
                                              <a:chart seriesIdx="0" categoryIdx="3" bldStep="ptInCategory"/>
                                            </p:graphicEl>
                                          </p:spTgt>
                                        </p:tgtEl>
                                      </p:cBhvr>
                                    </p:animEffect>
                                  </p:childTnLst>
                                </p:cTn>
                              </p:par>
                            </p:childTnLst>
                          </p:cTn>
                        </p:par>
                        <p:par>
                          <p:cTn id="114" fill="hold">
                            <p:stCondLst>
                              <p:cond delay="4000"/>
                            </p:stCondLst>
                            <p:childTnLst>
                              <p:par>
                                <p:cTn id="115" presetID="12" presetClass="entr" presetSubtype="4" fill="hold" grpId="0" nodeType="afterEffect">
                                  <p:stCondLst>
                                    <p:cond delay="0"/>
                                  </p:stCondLst>
                                  <p:childTnLst>
                                    <p:set>
                                      <p:cBhvr>
                                        <p:cTn id="116" dur="1" fill="hold">
                                          <p:stCondLst>
                                            <p:cond delay="0"/>
                                          </p:stCondLst>
                                        </p:cTn>
                                        <p:tgtEl>
                                          <p:spTgt spid="27">
                                            <p:graphicEl>
                                              <a:chart seriesIdx="1" categoryIdx="3" bldStep="ptInCategory"/>
                                            </p:graphicEl>
                                          </p:spTgt>
                                        </p:tgtEl>
                                        <p:attrNameLst>
                                          <p:attrName>style.visibility</p:attrName>
                                        </p:attrNameLst>
                                      </p:cBhvr>
                                      <p:to>
                                        <p:strVal val="visible"/>
                                      </p:to>
                                    </p:set>
                                    <p:anim calcmode="lin" valueType="num">
                                      <p:cBhvr additive="base">
                                        <p:cTn id="117" dur="500"/>
                                        <p:tgtEl>
                                          <p:spTgt spid="27">
                                            <p:graphicEl>
                                              <a:chart seriesIdx="1" categoryIdx="3" bldStep="ptInCategory"/>
                                            </p:graphicEl>
                                          </p:spTgt>
                                        </p:tgtEl>
                                        <p:attrNameLst>
                                          <p:attrName>ppt_y</p:attrName>
                                        </p:attrNameLst>
                                      </p:cBhvr>
                                      <p:tavLst>
                                        <p:tav tm="0">
                                          <p:val>
                                            <p:strVal val="#ppt_y+#ppt_h*1.125000"/>
                                          </p:val>
                                        </p:tav>
                                        <p:tav tm="100000">
                                          <p:val>
                                            <p:strVal val="#ppt_y"/>
                                          </p:val>
                                        </p:tav>
                                      </p:tavLst>
                                    </p:anim>
                                    <p:animEffect transition="in" filter="wipe(up)">
                                      <p:cBhvr>
                                        <p:cTn id="118" dur="500"/>
                                        <p:tgtEl>
                                          <p:spTgt spid="27">
                                            <p:graphicEl>
                                              <a:chart seriesIdx="1" categoryIdx="3" bldStep="ptInCategory"/>
                                            </p:graphicEl>
                                          </p:spTgt>
                                        </p:tgtEl>
                                      </p:cBhvr>
                                    </p:animEffect>
                                  </p:childTnLst>
                                </p:cTn>
                              </p:par>
                            </p:childTnLst>
                          </p:cTn>
                        </p:par>
                        <p:par>
                          <p:cTn id="119" fill="hold">
                            <p:stCondLst>
                              <p:cond delay="4500"/>
                            </p:stCondLst>
                            <p:childTnLst>
                              <p:par>
                                <p:cTn id="120" presetID="12" presetClass="entr" presetSubtype="4" fill="hold" grpId="0" nodeType="afterEffect">
                                  <p:stCondLst>
                                    <p:cond delay="0"/>
                                  </p:stCondLst>
                                  <p:childTnLst>
                                    <p:set>
                                      <p:cBhvr>
                                        <p:cTn id="121" dur="1" fill="hold">
                                          <p:stCondLst>
                                            <p:cond delay="0"/>
                                          </p:stCondLst>
                                        </p:cTn>
                                        <p:tgtEl>
                                          <p:spTgt spid="27">
                                            <p:graphicEl>
                                              <a:chart seriesIdx="0" categoryIdx="4" bldStep="ptInCategory"/>
                                            </p:graphicEl>
                                          </p:spTgt>
                                        </p:tgtEl>
                                        <p:attrNameLst>
                                          <p:attrName>style.visibility</p:attrName>
                                        </p:attrNameLst>
                                      </p:cBhvr>
                                      <p:to>
                                        <p:strVal val="visible"/>
                                      </p:to>
                                    </p:set>
                                    <p:anim calcmode="lin" valueType="num">
                                      <p:cBhvr additive="base">
                                        <p:cTn id="122" dur="500"/>
                                        <p:tgtEl>
                                          <p:spTgt spid="27">
                                            <p:graphicEl>
                                              <a:chart seriesIdx="0" categoryIdx="4" bldStep="ptInCategory"/>
                                            </p:graphicEl>
                                          </p:spTgt>
                                        </p:tgtEl>
                                        <p:attrNameLst>
                                          <p:attrName>ppt_y</p:attrName>
                                        </p:attrNameLst>
                                      </p:cBhvr>
                                      <p:tavLst>
                                        <p:tav tm="0">
                                          <p:val>
                                            <p:strVal val="#ppt_y+#ppt_h*1.125000"/>
                                          </p:val>
                                        </p:tav>
                                        <p:tav tm="100000">
                                          <p:val>
                                            <p:strVal val="#ppt_y"/>
                                          </p:val>
                                        </p:tav>
                                      </p:tavLst>
                                    </p:anim>
                                    <p:animEffect transition="in" filter="wipe(up)">
                                      <p:cBhvr>
                                        <p:cTn id="123" dur="500"/>
                                        <p:tgtEl>
                                          <p:spTgt spid="27">
                                            <p:graphicEl>
                                              <a:chart seriesIdx="0" categoryIdx="4" bldStep="ptInCategory"/>
                                            </p:graphicEl>
                                          </p:spTgt>
                                        </p:tgtEl>
                                      </p:cBhvr>
                                    </p:animEffect>
                                  </p:childTnLst>
                                </p:cTn>
                              </p:par>
                            </p:childTnLst>
                          </p:cTn>
                        </p:par>
                        <p:par>
                          <p:cTn id="124" fill="hold">
                            <p:stCondLst>
                              <p:cond delay="5000"/>
                            </p:stCondLst>
                            <p:childTnLst>
                              <p:par>
                                <p:cTn id="125" presetID="12" presetClass="entr" presetSubtype="4" fill="hold" grpId="0" nodeType="afterEffect">
                                  <p:stCondLst>
                                    <p:cond delay="0"/>
                                  </p:stCondLst>
                                  <p:childTnLst>
                                    <p:set>
                                      <p:cBhvr>
                                        <p:cTn id="126" dur="1" fill="hold">
                                          <p:stCondLst>
                                            <p:cond delay="0"/>
                                          </p:stCondLst>
                                        </p:cTn>
                                        <p:tgtEl>
                                          <p:spTgt spid="27">
                                            <p:graphicEl>
                                              <a:chart seriesIdx="1" categoryIdx="4" bldStep="ptInCategory"/>
                                            </p:graphicEl>
                                          </p:spTgt>
                                        </p:tgtEl>
                                        <p:attrNameLst>
                                          <p:attrName>style.visibility</p:attrName>
                                        </p:attrNameLst>
                                      </p:cBhvr>
                                      <p:to>
                                        <p:strVal val="visible"/>
                                      </p:to>
                                    </p:set>
                                    <p:anim calcmode="lin" valueType="num">
                                      <p:cBhvr additive="base">
                                        <p:cTn id="127" dur="500"/>
                                        <p:tgtEl>
                                          <p:spTgt spid="27">
                                            <p:graphicEl>
                                              <a:chart seriesIdx="1" categoryIdx="4" bldStep="ptInCategory"/>
                                            </p:graphicEl>
                                          </p:spTgt>
                                        </p:tgtEl>
                                        <p:attrNameLst>
                                          <p:attrName>ppt_y</p:attrName>
                                        </p:attrNameLst>
                                      </p:cBhvr>
                                      <p:tavLst>
                                        <p:tav tm="0">
                                          <p:val>
                                            <p:strVal val="#ppt_y+#ppt_h*1.125000"/>
                                          </p:val>
                                        </p:tav>
                                        <p:tav tm="100000">
                                          <p:val>
                                            <p:strVal val="#ppt_y"/>
                                          </p:val>
                                        </p:tav>
                                      </p:tavLst>
                                    </p:anim>
                                    <p:animEffect transition="in" filter="wipe(up)">
                                      <p:cBhvr>
                                        <p:cTn id="128" dur="500"/>
                                        <p:tgtEl>
                                          <p:spTgt spid="27">
                                            <p:graphicEl>
                                              <a:chart seriesIdx="1" categoryIdx="4" bldStep="ptInCategory"/>
                                            </p:graphicEl>
                                          </p:spTgt>
                                        </p:tgtEl>
                                      </p:cBhvr>
                                    </p:animEffect>
                                  </p:childTnLst>
                                </p:cTn>
                              </p:par>
                            </p:childTnLst>
                          </p:cTn>
                        </p:par>
                        <p:par>
                          <p:cTn id="129" fill="hold">
                            <p:stCondLst>
                              <p:cond delay="5500"/>
                            </p:stCondLst>
                            <p:childTnLst>
                              <p:par>
                                <p:cTn id="130" presetID="12" presetClass="entr" presetSubtype="4" fill="hold" grpId="0" nodeType="afterEffect">
                                  <p:stCondLst>
                                    <p:cond delay="0"/>
                                  </p:stCondLst>
                                  <p:childTnLst>
                                    <p:set>
                                      <p:cBhvr>
                                        <p:cTn id="131" dur="1" fill="hold">
                                          <p:stCondLst>
                                            <p:cond delay="0"/>
                                          </p:stCondLst>
                                        </p:cTn>
                                        <p:tgtEl>
                                          <p:spTgt spid="27">
                                            <p:graphicEl>
                                              <a:chart seriesIdx="0" categoryIdx="5" bldStep="ptInCategory"/>
                                            </p:graphicEl>
                                          </p:spTgt>
                                        </p:tgtEl>
                                        <p:attrNameLst>
                                          <p:attrName>style.visibility</p:attrName>
                                        </p:attrNameLst>
                                      </p:cBhvr>
                                      <p:to>
                                        <p:strVal val="visible"/>
                                      </p:to>
                                    </p:set>
                                    <p:anim calcmode="lin" valueType="num">
                                      <p:cBhvr additive="base">
                                        <p:cTn id="132" dur="500"/>
                                        <p:tgtEl>
                                          <p:spTgt spid="27">
                                            <p:graphicEl>
                                              <a:chart seriesIdx="0" categoryIdx="5" bldStep="ptInCategory"/>
                                            </p:graphicEl>
                                          </p:spTgt>
                                        </p:tgtEl>
                                        <p:attrNameLst>
                                          <p:attrName>ppt_y</p:attrName>
                                        </p:attrNameLst>
                                      </p:cBhvr>
                                      <p:tavLst>
                                        <p:tav tm="0">
                                          <p:val>
                                            <p:strVal val="#ppt_y+#ppt_h*1.125000"/>
                                          </p:val>
                                        </p:tav>
                                        <p:tav tm="100000">
                                          <p:val>
                                            <p:strVal val="#ppt_y"/>
                                          </p:val>
                                        </p:tav>
                                      </p:tavLst>
                                    </p:anim>
                                    <p:animEffect transition="in" filter="wipe(up)">
                                      <p:cBhvr>
                                        <p:cTn id="133" dur="500"/>
                                        <p:tgtEl>
                                          <p:spTgt spid="27">
                                            <p:graphicEl>
                                              <a:chart seriesIdx="0" categoryIdx="5" bldStep="ptInCategory"/>
                                            </p:graphicEl>
                                          </p:spTgt>
                                        </p:tgtEl>
                                      </p:cBhvr>
                                    </p:animEffect>
                                  </p:childTnLst>
                                </p:cTn>
                              </p:par>
                            </p:childTnLst>
                          </p:cTn>
                        </p:par>
                        <p:par>
                          <p:cTn id="134" fill="hold">
                            <p:stCondLst>
                              <p:cond delay="6000"/>
                            </p:stCondLst>
                            <p:childTnLst>
                              <p:par>
                                <p:cTn id="135" presetID="12" presetClass="entr" presetSubtype="4" fill="hold" grpId="0" nodeType="afterEffect">
                                  <p:stCondLst>
                                    <p:cond delay="0"/>
                                  </p:stCondLst>
                                  <p:childTnLst>
                                    <p:set>
                                      <p:cBhvr>
                                        <p:cTn id="136" dur="1" fill="hold">
                                          <p:stCondLst>
                                            <p:cond delay="0"/>
                                          </p:stCondLst>
                                        </p:cTn>
                                        <p:tgtEl>
                                          <p:spTgt spid="27">
                                            <p:graphicEl>
                                              <a:chart seriesIdx="1" categoryIdx="5" bldStep="ptInCategory"/>
                                            </p:graphicEl>
                                          </p:spTgt>
                                        </p:tgtEl>
                                        <p:attrNameLst>
                                          <p:attrName>style.visibility</p:attrName>
                                        </p:attrNameLst>
                                      </p:cBhvr>
                                      <p:to>
                                        <p:strVal val="visible"/>
                                      </p:to>
                                    </p:set>
                                    <p:anim calcmode="lin" valueType="num">
                                      <p:cBhvr additive="base">
                                        <p:cTn id="137" dur="500"/>
                                        <p:tgtEl>
                                          <p:spTgt spid="27">
                                            <p:graphicEl>
                                              <a:chart seriesIdx="1" categoryIdx="5" bldStep="ptInCategory"/>
                                            </p:graphicEl>
                                          </p:spTgt>
                                        </p:tgtEl>
                                        <p:attrNameLst>
                                          <p:attrName>ppt_y</p:attrName>
                                        </p:attrNameLst>
                                      </p:cBhvr>
                                      <p:tavLst>
                                        <p:tav tm="0">
                                          <p:val>
                                            <p:strVal val="#ppt_y+#ppt_h*1.125000"/>
                                          </p:val>
                                        </p:tav>
                                        <p:tav tm="100000">
                                          <p:val>
                                            <p:strVal val="#ppt_y"/>
                                          </p:val>
                                        </p:tav>
                                      </p:tavLst>
                                    </p:anim>
                                    <p:animEffect transition="in" filter="wipe(up)">
                                      <p:cBhvr>
                                        <p:cTn id="138" dur="500"/>
                                        <p:tgtEl>
                                          <p:spTgt spid="27">
                                            <p:graphicEl>
                                              <a:chart seriesIdx="1" categoryIdx="5" bldStep="ptInCategory"/>
                                            </p:graphicEl>
                                          </p:spTgt>
                                        </p:tgtEl>
                                      </p:cBhvr>
                                    </p:animEffect>
                                  </p:childTnLst>
                                </p:cTn>
                              </p:par>
                            </p:childTnLst>
                          </p:cTn>
                        </p:par>
                        <p:par>
                          <p:cTn id="139" fill="hold">
                            <p:stCondLst>
                              <p:cond delay="6500"/>
                            </p:stCondLst>
                            <p:childTnLst>
                              <p:par>
                                <p:cTn id="140" presetID="12" presetClass="entr" presetSubtype="4" fill="hold" grpId="0" nodeType="afterEffect">
                                  <p:stCondLst>
                                    <p:cond delay="0"/>
                                  </p:stCondLst>
                                  <p:childTnLst>
                                    <p:set>
                                      <p:cBhvr>
                                        <p:cTn id="141" dur="1" fill="hold">
                                          <p:stCondLst>
                                            <p:cond delay="0"/>
                                          </p:stCondLst>
                                        </p:cTn>
                                        <p:tgtEl>
                                          <p:spTgt spid="27">
                                            <p:graphicEl>
                                              <a:chart seriesIdx="0" categoryIdx="6" bldStep="ptInCategory"/>
                                            </p:graphicEl>
                                          </p:spTgt>
                                        </p:tgtEl>
                                        <p:attrNameLst>
                                          <p:attrName>style.visibility</p:attrName>
                                        </p:attrNameLst>
                                      </p:cBhvr>
                                      <p:to>
                                        <p:strVal val="visible"/>
                                      </p:to>
                                    </p:set>
                                    <p:anim calcmode="lin" valueType="num">
                                      <p:cBhvr additive="base">
                                        <p:cTn id="142" dur="500"/>
                                        <p:tgtEl>
                                          <p:spTgt spid="27">
                                            <p:graphicEl>
                                              <a:chart seriesIdx="0" categoryIdx="6" bldStep="ptInCategory"/>
                                            </p:graphicEl>
                                          </p:spTgt>
                                        </p:tgtEl>
                                        <p:attrNameLst>
                                          <p:attrName>ppt_y</p:attrName>
                                        </p:attrNameLst>
                                      </p:cBhvr>
                                      <p:tavLst>
                                        <p:tav tm="0">
                                          <p:val>
                                            <p:strVal val="#ppt_y+#ppt_h*1.125000"/>
                                          </p:val>
                                        </p:tav>
                                        <p:tav tm="100000">
                                          <p:val>
                                            <p:strVal val="#ppt_y"/>
                                          </p:val>
                                        </p:tav>
                                      </p:tavLst>
                                    </p:anim>
                                    <p:animEffect transition="in" filter="wipe(up)">
                                      <p:cBhvr>
                                        <p:cTn id="143" dur="500"/>
                                        <p:tgtEl>
                                          <p:spTgt spid="27">
                                            <p:graphicEl>
                                              <a:chart seriesIdx="0" categoryIdx="6" bldStep="ptInCategory"/>
                                            </p:graphicEl>
                                          </p:spTgt>
                                        </p:tgtEl>
                                      </p:cBhvr>
                                    </p:animEffect>
                                  </p:childTnLst>
                                </p:cTn>
                              </p:par>
                            </p:childTnLst>
                          </p:cTn>
                        </p:par>
                        <p:par>
                          <p:cTn id="144" fill="hold">
                            <p:stCondLst>
                              <p:cond delay="7000"/>
                            </p:stCondLst>
                            <p:childTnLst>
                              <p:par>
                                <p:cTn id="145" presetID="12" presetClass="entr" presetSubtype="4" fill="hold" grpId="0" nodeType="afterEffect">
                                  <p:stCondLst>
                                    <p:cond delay="0"/>
                                  </p:stCondLst>
                                  <p:childTnLst>
                                    <p:set>
                                      <p:cBhvr>
                                        <p:cTn id="146" dur="1" fill="hold">
                                          <p:stCondLst>
                                            <p:cond delay="0"/>
                                          </p:stCondLst>
                                        </p:cTn>
                                        <p:tgtEl>
                                          <p:spTgt spid="27">
                                            <p:graphicEl>
                                              <a:chart seriesIdx="1" categoryIdx="6" bldStep="ptInCategory"/>
                                            </p:graphicEl>
                                          </p:spTgt>
                                        </p:tgtEl>
                                        <p:attrNameLst>
                                          <p:attrName>style.visibility</p:attrName>
                                        </p:attrNameLst>
                                      </p:cBhvr>
                                      <p:to>
                                        <p:strVal val="visible"/>
                                      </p:to>
                                    </p:set>
                                    <p:anim calcmode="lin" valueType="num">
                                      <p:cBhvr additive="base">
                                        <p:cTn id="147" dur="500"/>
                                        <p:tgtEl>
                                          <p:spTgt spid="27">
                                            <p:graphicEl>
                                              <a:chart seriesIdx="1" categoryIdx="6" bldStep="ptInCategory"/>
                                            </p:graphicEl>
                                          </p:spTgt>
                                        </p:tgtEl>
                                        <p:attrNameLst>
                                          <p:attrName>ppt_y</p:attrName>
                                        </p:attrNameLst>
                                      </p:cBhvr>
                                      <p:tavLst>
                                        <p:tav tm="0">
                                          <p:val>
                                            <p:strVal val="#ppt_y+#ppt_h*1.125000"/>
                                          </p:val>
                                        </p:tav>
                                        <p:tav tm="100000">
                                          <p:val>
                                            <p:strVal val="#ppt_y"/>
                                          </p:val>
                                        </p:tav>
                                      </p:tavLst>
                                    </p:anim>
                                    <p:animEffect transition="in" filter="wipe(up)">
                                      <p:cBhvr>
                                        <p:cTn id="148" dur="500"/>
                                        <p:tgtEl>
                                          <p:spTgt spid="27">
                                            <p:graphicEl>
                                              <a:chart seriesIdx="1" categoryIdx="6" bldStep="ptInCategory"/>
                                            </p:graphicEl>
                                          </p:spTgt>
                                        </p:tgtEl>
                                      </p:cBhvr>
                                    </p:animEffect>
                                  </p:childTnLst>
                                </p:cTn>
                              </p:par>
                            </p:childTnLst>
                          </p:cTn>
                        </p:par>
                        <p:par>
                          <p:cTn id="149" fill="hold">
                            <p:stCondLst>
                              <p:cond delay="7500"/>
                            </p:stCondLst>
                            <p:childTnLst>
                              <p:par>
                                <p:cTn id="150" presetID="12" presetClass="entr" presetSubtype="4" fill="hold" grpId="0" nodeType="afterEffect">
                                  <p:stCondLst>
                                    <p:cond delay="0"/>
                                  </p:stCondLst>
                                  <p:childTnLst>
                                    <p:set>
                                      <p:cBhvr>
                                        <p:cTn id="151" dur="1" fill="hold">
                                          <p:stCondLst>
                                            <p:cond delay="0"/>
                                          </p:stCondLst>
                                        </p:cTn>
                                        <p:tgtEl>
                                          <p:spTgt spid="27">
                                            <p:graphicEl>
                                              <a:chart seriesIdx="0" categoryIdx="7" bldStep="ptInCategory"/>
                                            </p:graphicEl>
                                          </p:spTgt>
                                        </p:tgtEl>
                                        <p:attrNameLst>
                                          <p:attrName>style.visibility</p:attrName>
                                        </p:attrNameLst>
                                      </p:cBhvr>
                                      <p:to>
                                        <p:strVal val="visible"/>
                                      </p:to>
                                    </p:set>
                                    <p:anim calcmode="lin" valueType="num">
                                      <p:cBhvr additive="base">
                                        <p:cTn id="152" dur="500"/>
                                        <p:tgtEl>
                                          <p:spTgt spid="27">
                                            <p:graphicEl>
                                              <a:chart seriesIdx="0" categoryIdx="7" bldStep="ptInCategory"/>
                                            </p:graphicEl>
                                          </p:spTgt>
                                        </p:tgtEl>
                                        <p:attrNameLst>
                                          <p:attrName>ppt_y</p:attrName>
                                        </p:attrNameLst>
                                      </p:cBhvr>
                                      <p:tavLst>
                                        <p:tav tm="0">
                                          <p:val>
                                            <p:strVal val="#ppt_y+#ppt_h*1.125000"/>
                                          </p:val>
                                        </p:tav>
                                        <p:tav tm="100000">
                                          <p:val>
                                            <p:strVal val="#ppt_y"/>
                                          </p:val>
                                        </p:tav>
                                      </p:tavLst>
                                    </p:anim>
                                    <p:animEffect transition="in" filter="wipe(up)">
                                      <p:cBhvr>
                                        <p:cTn id="153" dur="500"/>
                                        <p:tgtEl>
                                          <p:spTgt spid="27">
                                            <p:graphicEl>
                                              <a:chart seriesIdx="0" categoryIdx="7" bldStep="ptInCategory"/>
                                            </p:graphicEl>
                                          </p:spTgt>
                                        </p:tgtEl>
                                      </p:cBhvr>
                                    </p:animEffect>
                                  </p:childTnLst>
                                </p:cTn>
                              </p:par>
                            </p:childTnLst>
                          </p:cTn>
                        </p:par>
                        <p:par>
                          <p:cTn id="154" fill="hold">
                            <p:stCondLst>
                              <p:cond delay="8000"/>
                            </p:stCondLst>
                            <p:childTnLst>
                              <p:par>
                                <p:cTn id="155" presetID="12" presetClass="entr" presetSubtype="4" fill="hold" grpId="0" nodeType="afterEffect">
                                  <p:stCondLst>
                                    <p:cond delay="0"/>
                                  </p:stCondLst>
                                  <p:childTnLst>
                                    <p:set>
                                      <p:cBhvr>
                                        <p:cTn id="156" dur="1" fill="hold">
                                          <p:stCondLst>
                                            <p:cond delay="0"/>
                                          </p:stCondLst>
                                        </p:cTn>
                                        <p:tgtEl>
                                          <p:spTgt spid="27">
                                            <p:graphicEl>
                                              <a:chart seriesIdx="1" categoryIdx="7" bldStep="ptInCategory"/>
                                            </p:graphicEl>
                                          </p:spTgt>
                                        </p:tgtEl>
                                        <p:attrNameLst>
                                          <p:attrName>style.visibility</p:attrName>
                                        </p:attrNameLst>
                                      </p:cBhvr>
                                      <p:to>
                                        <p:strVal val="visible"/>
                                      </p:to>
                                    </p:set>
                                    <p:anim calcmode="lin" valueType="num">
                                      <p:cBhvr additive="base">
                                        <p:cTn id="157" dur="500"/>
                                        <p:tgtEl>
                                          <p:spTgt spid="27">
                                            <p:graphicEl>
                                              <a:chart seriesIdx="1" categoryIdx="7" bldStep="ptInCategory"/>
                                            </p:graphicEl>
                                          </p:spTgt>
                                        </p:tgtEl>
                                        <p:attrNameLst>
                                          <p:attrName>ppt_y</p:attrName>
                                        </p:attrNameLst>
                                      </p:cBhvr>
                                      <p:tavLst>
                                        <p:tav tm="0">
                                          <p:val>
                                            <p:strVal val="#ppt_y+#ppt_h*1.125000"/>
                                          </p:val>
                                        </p:tav>
                                        <p:tav tm="100000">
                                          <p:val>
                                            <p:strVal val="#ppt_y"/>
                                          </p:val>
                                        </p:tav>
                                      </p:tavLst>
                                    </p:anim>
                                    <p:animEffect transition="in" filter="wipe(up)">
                                      <p:cBhvr>
                                        <p:cTn id="158" dur="500"/>
                                        <p:tgtEl>
                                          <p:spTgt spid="27">
                                            <p:graphicEl>
                                              <a:chart seriesIdx="1" categoryIdx="7" bldStep="ptInCategory"/>
                                            </p:graphicEl>
                                          </p:spTgt>
                                        </p:tgtEl>
                                      </p:cBhvr>
                                    </p:animEffect>
                                  </p:childTnLst>
                                </p:cTn>
                              </p:par>
                            </p:childTnLst>
                          </p:cTn>
                        </p:par>
                        <p:par>
                          <p:cTn id="159" fill="hold">
                            <p:stCondLst>
                              <p:cond delay="8500"/>
                            </p:stCondLst>
                            <p:childTnLst>
                              <p:par>
                                <p:cTn id="160" presetID="12" presetClass="entr" presetSubtype="4" fill="hold" grpId="0" nodeType="afterEffect">
                                  <p:stCondLst>
                                    <p:cond delay="0"/>
                                  </p:stCondLst>
                                  <p:childTnLst>
                                    <p:set>
                                      <p:cBhvr>
                                        <p:cTn id="161" dur="1" fill="hold">
                                          <p:stCondLst>
                                            <p:cond delay="0"/>
                                          </p:stCondLst>
                                        </p:cTn>
                                        <p:tgtEl>
                                          <p:spTgt spid="27">
                                            <p:graphicEl>
                                              <a:chart seriesIdx="0" categoryIdx="8" bldStep="ptInCategory"/>
                                            </p:graphicEl>
                                          </p:spTgt>
                                        </p:tgtEl>
                                        <p:attrNameLst>
                                          <p:attrName>style.visibility</p:attrName>
                                        </p:attrNameLst>
                                      </p:cBhvr>
                                      <p:to>
                                        <p:strVal val="visible"/>
                                      </p:to>
                                    </p:set>
                                    <p:anim calcmode="lin" valueType="num">
                                      <p:cBhvr additive="base">
                                        <p:cTn id="162" dur="500"/>
                                        <p:tgtEl>
                                          <p:spTgt spid="27">
                                            <p:graphicEl>
                                              <a:chart seriesIdx="0" categoryIdx="8" bldStep="ptInCategory"/>
                                            </p:graphicEl>
                                          </p:spTgt>
                                        </p:tgtEl>
                                        <p:attrNameLst>
                                          <p:attrName>ppt_y</p:attrName>
                                        </p:attrNameLst>
                                      </p:cBhvr>
                                      <p:tavLst>
                                        <p:tav tm="0">
                                          <p:val>
                                            <p:strVal val="#ppt_y+#ppt_h*1.125000"/>
                                          </p:val>
                                        </p:tav>
                                        <p:tav tm="100000">
                                          <p:val>
                                            <p:strVal val="#ppt_y"/>
                                          </p:val>
                                        </p:tav>
                                      </p:tavLst>
                                    </p:anim>
                                    <p:animEffect transition="in" filter="wipe(up)">
                                      <p:cBhvr>
                                        <p:cTn id="163" dur="500"/>
                                        <p:tgtEl>
                                          <p:spTgt spid="27">
                                            <p:graphicEl>
                                              <a:chart seriesIdx="0" categoryIdx="8" bldStep="ptInCategory"/>
                                            </p:graphicEl>
                                          </p:spTgt>
                                        </p:tgtEl>
                                      </p:cBhvr>
                                    </p:animEffect>
                                  </p:childTnLst>
                                </p:cTn>
                              </p:par>
                            </p:childTnLst>
                          </p:cTn>
                        </p:par>
                        <p:par>
                          <p:cTn id="164" fill="hold">
                            <p:stCondLst>
                              <p:cond delay="9000"/>
                            </p:stCondLst>
                            <p:childTnLst>
                              <p:par>
                                <p:cTn id="165" presetID="12" presetClass="entr" presetSubtype="4" fill="hold" grpId="0" nodeType="afterEffect">
                                  <p:stCondLst>
                                    <p:cond delay="0"/>
                                  </p:stCondLst>
                                  <p:childTnLst>
                                    <p:set>
                                      <p:cBhvr>
                                        <p:cTn id="166" dur="1" fill="hold">
                                          <p:stCondLst>
                                            <p:cond delay="0"/>
                                          </p:stCondLst>
                                        </p:cTn>
                                        <p:tgtEl>
                                          <p:spTgt spid="27">
                                            <p:graphicEl>
                                              <a:chart seriesIdx="1" categoryIdx="8" bldStep="ptInCategory"/>
                                            </p:graphicEl>
                                          </p:spTgt>
                                        </p:tgtEl>
                                        <p:attrNameLst>
                                          <p:attrName>style.visibility</p:attrName>
                                        </p:attrNameLst>
                                      </p:cBhvr>
                                      <p:to>
                                        <p:strVal val="visible"/>
                                      </p:to>
                                    </p:set>
                                    <p:anim calcmode="lin" valueType="num">
                                      <p:cBhvr additive="base">
                                        <p:cTn id="167" dur="500"/>
                                        <p:tgtEl>
                                          <p:spTgt spid="27">
                                            <p:graphicEl>
                                              <a:chart seriesIdx="1" categoryIdx="8" bldStep="ptInCategory"/>
                                            </p:graphicEl>
                                          </p:spTgt>
                                        </p:tgtEl>
                                        <p:attrNameLst>
                                          <p:attrName>ppt_y</p:attrName>
                                        </p:attrNameLst>
                                      </p:cBhvr>
                                      <p:tavLst>
                                        <p:tav tm="0">
                                          <p:val>
                                            <p:strVal val="#ppt_y+#ppt_h*1.125000"/>
                                          </p:val>
                                        </p:tav>
                                        <p:tav tm="100000">
                                          <p:val>
                                            <p:strVal val="#ppt_y"/>
                                          </p:val>
                                        </p:tav>
                                      </p:tavLst>
                                    </p:anim>
                                    <p:animEffect transition="in" filter="wipe(up)">
                                      <p:cBhvr>
                                        <p:cTn id="168" dur="500"/>
                                        <p:tgtEl>
                                          <p:spTgt spid="27">
                                            <p:graphicEl>
                                              <a:chart seriesIdx="1" categoryIdx="8" bldStep="ptInCategory"/>
                                            </p:graphicEl>
                                          </p:spTgt>
                                        </p:tgtEl>
                                      </p:cBhvr>
                                    </p:animEffect>
                                  </p:childTnLst>
                                </p:cTn>
                              </p:par>
                            </p:childTnLst>
                          </p:cTn>
                        </p:par>
                        <p:par>
                          <p:cTn id="169" fill="hold">
                            <p:stCondLst>
                              <p:cond delay="9500"/>
                            </p:stCondLst>
                            <p:childTnLst>
                              <p:par>
                                <p:cTn id="170" presetID="12" presetClass="entr" presetSubtype="4" fill="hold" grpId="0" nodeType="afterEffect">
                                  <p:stCondLst>
                                    <p:cond delay="0"/>
                                  </p:stCondLst>
                                  <p:childTnLst>
                                    <p:set>
                                      <p:cBhvr>
                                        <p:cTn id="171" dur="1" fill="hold">
                                          <p:stCondLst>
                                            <p:cond delay="0"/>
                                          </p:stCondLst>
                                        </p:cTn>
                                        <p:tgtEl>
                                          <p:spTgt spid="27">
                                            <p:graphicEl>
                                              <a:chart seriesIdx="0" categoryIdx="9" bldStep="ptInCategory"/>
                                            </p:graphicEl>
                                          </p:spTgt>
                                        </p:tgtEl>
                                        <p:attrNameLst>
                                          <p:attrName>style.visibility</p:attrName>
                                        </p:attrNameLst>
                                      </p:cBhvr>
                                      <p:to>
                                        <p:strVal val="visible"/>
                                      </p:to>
                                    </p:set>
                                    <p:anim calcmode="lin" valueType="num">
                                      <p:cBhvr additive="base">
                                        <p:cTn id="172" dur="500"/>
                                        <p:tgtEl>
                                          <p:spTgt spid="27">
                                            <p:graphicEl>
                                              <a:chart seriesIdx="0" categoryIdx="9" bldStep="ptInCategory"/>
                                            </p:graphicEl>
                                          </p:spTgt>
                                        </p:tgtEl>
                                        <p:attrNameLst>
                                          <p:attrName>ppt_y</p:attrName>
                                        </p:attrNameLst>
                                      </p:cBhvr>
                                      <p:tavLst>
                                        <p:tav tm="0">
                                          <p:val>
                                            <p:strVal val="#ppt_y+#ppt_h*1.125000"/>
                                          </p:val>
                                        </p:tav>
                                        <p:tav tm="100000">
                                          <p:val>
                                            <p:strVal val="#ppt_y"/>
                                          </p:val>
                                        </p:tav>
                                      </p:tavLst>
                                    </p:anim>
                                    <p:animEffect transition="in" filter="wipe(up)">
                                      <p:cBhvr>
                                        <p:cTn id="173" dur="500"/>
                                        <p:tgtEl>
                                          <p:spTgt spid="27">
                                            <p:graphicEl>
                                              <a:chart seriesIdx="0" categoryIdx="9" bldStep="ptInCategory"/>
                                            </p:graphicEl>
                                          </p:spTgt>
                                        </p:tgtEl>
                                      </p:cBhvr>
                                    </p:animEffect>
                                  </p:childTnLst>
                                </p:cTn>
                              </p:par>
                            </p:childTnLst>
                          </p:cTn>
                        </p:par>
                        <p:par>
                          <p:cTn id="174" fill="hold">
                            <p:stCondLst>
                              <p:cond delay="10000"/>
                            </p:stCondLst>
                            <p:childTnLst>
                              <p:par>
                                <p:cTn id="175" presetID="12" presetClass="entr" presetSubtype="4" fill="hold" grpId="0" nodeType="afterEffect">
                                  <p:stCondLst>
                                    <p:cond delay="0"/>
                                  </p:stCondLst>
                                  <p:childTnLst>
                                    <p:set>
                                      <p:cBhvr>
                                        <p:cTn id="176" dur="1" fill="hold">
                                          <p:stCondLst>
                                            <p:cond delay="0"/>
                                          </p:stCondLst>
                                        </p:cTn>
                                        <p:tgtEl>
                                          <p:spTgt spid="27">
                                            <p:graphicEl>
                                              <a:chart seriesIdx="1" categoryIdx="9" bldStep="ptInCategory"/>
                                            </p:graphicEl>
                                          </p:spTgt>
                                        </p:tgtEl>
                                        <p:attrNameLst>
                                          <p:attrName>style.visibility</p:attrName>
                                        </p:attrNameLst>
                                      </p:cBhvr>
                                      <p:to>
                                        <p:strVal val="visible"/>
                                      </p:to>
                                    </p:set>
                                    <p:anim calcmode="lin" valueType="num">
                                      <p:cBhvr additive="base">
                                        <p:cTn id="177" dur="500"/>
                                        <p:tgtEl>
                                          <p:spTgt spid="27">
                                            <p:graphicEl>
                                              <a:chart seriesIdx="1" categoryIdx="9" bldStep="ptInCategory"/>
                                            </p:graphicEl>
                                          </p:spTgt>
                                        </p:tgtEl>
                                        <p:attrNameLst>
                                          <p:attrName>ppt_y</p:attrName>
                                        </p:attrNameLst>
                                      </p:cBhvr>
                                      <p:tavLst>
                                        <p:tav tm="0">
                                          <p:val>
                                            <p:strVal val="#ppt_y+#ppt_h*1.125000"/>
                                          </p:val>
                                        </p:tav>
                                        <p:tav tm="100000">
                                          <p:val>
                                            <p:strVal val="#ppt_y"/>
                                          </p:val>
                                        </p:tav>
                                      </p:tavLst>
                                    </p:anim>
                                    <p:animEffect transition="in" filter="wipe(up)">
                                      <p:cBhvr>
                                        <p:cTn id="178" dur="500"/>
                                        <p:tgtEl>
                                          <p:spTgt spid="27">
                                            <p:graphicEl>
                                              <a:chart seriesIdx="1" categoryIdx="9" bldStep="ptInCategory"/>
                                            </p:graphicEl>
                                          </p:spTgt>
                                        </p:tgtEl>
                                      </p:cBhvr>
                                    </p:animEffect>
                                  </p:childTnLst>
                                </p:cTn>
                              </p:par>
                            </p:childTnLst>
                          </p:cTn>
                        </p:par>
                        <p:par>
                          <p:cTn id="179" fill="hold">
                            <p:stCondLst>
                              <p:cond delay="10500"/>
                            </p:stCondLst>
                            <p:childTnLst>
                              <p:par>
                                <p:cTn id="180" presetID="12" presetClass="entr" presetSubtype="4" fill="hold" grpId="0" nodeType="afterEffect">
                                  <p:stCondLst>
                                    <p:cond delay="0"/>
                                  </p:stCondLst>
                                  <p:childTnLst>
                                    <p:set>
                                      <p:cBhvr>
                                        <p:cTn id="181" dur="1" fill="hold">
                                          <p:stCondLst>
                                            <p:cond delay="0"/>
                                          </p:stCondLst>
                                        </p:cTn>
                                        <p:tgtEl>
                                          <p:spTgt spid="27">
                                            <p:graphicEl>
                                              <a:chart seriesIdx="0" categoryIdx="10" bldStep="ptInCategory"/>
                                            </p:graphicEl>
                                          </p:spTgt>
                                        </p:tgtEl>
                                        <p:attrNameLst>
                                          <p:attrName>style.visibility</p:attrName>
                                        </p:attrNameLst>
                                      </p:cBhvr>
                                      <p:to>
                                        <p:strVal val="visible"/>
                                      </p:to>
                                    </p:set>
                                    <p:anim calcmode="lin" valueType="num">
                                      <p:cBhvr additive="base">
                                        <p:cTn id="182" dur="500"/>
                                        <p:tgtEl>
                                          <p:spTgt spid="27">
                                            <p:graphicEl>
                                              <a:chart seriesIdx="0" categoryIdx="10" bldStep="ptInCategory"/>
                                            </p:graphicEl>
                                          </p:spTgt>
                                        </p:tgtEl>
                                        <p:attrNameLst>
                                          <p:attrName>ppt_y</p:attrName>
                                        </p:attrNameLst>
                                      </p:cBhvr>
                                      <p:tavLst>
                                        <p:tav tm="0">
                                          <p:val>
                                            <p:strVal val="#ppt_y+#ppt_h*1.125000"/>
                                          </p:val>
                                        </p:tav>
                                        <p:tav tm="100000">
                                          <p:val>
                                            <p:strVal val="#ppt_y"/>
                                          </p:val>
                                        </p:tav>
                                      </p:tavLst>
                                    </p:anim>
                                    <p:animEffect transition="in" filter="wipe(up)">
                                      <p:cBhvr>
                                        <p:cTn id="183" dur="500"/>
                                        <p:tgtEl>
                                          <p:spTgt spid="27">
                                            <p:graphicEl>
                                              <a:chart seriesIdx="0" categoryIdx="10" bldStep="ptInCategory"/>
                                            </p:graphicEl>
                                          </p:spTgt>
                                        </p:tgtEl>
                                      </p:cBhvr>
                                    </p:animEffect>
                                  </p:childTnLst>
                                </p:cTn>
                              </p:par>
                            </p:childTnLst>
                          </p:cTn>
                        </p:par>
                        <p:par>
                          <p:cTn id="184" fill="hold">
                            <p:stCondLst>
                              <p:cond delay="11000"/>
                            </p:stCondLst>
                            <p:childTnLst>
                              <p:par>
                                <p:cTn id="185" presetID="12" presetClass="entr" presetSubtype="4" fill="hold" grpId="0" nodeType="afterEffect">
                                  <p:stCondLst>
                                    <p:cond delay="0"/>
                                  </p:stCondLst>
                                  <p:childTnLst>
                                    <p:set>
                                      <p:cBhvr>
                                        <p:cTn id="186" dur="1" fill="hold">
                                          <p:stCondLst>
                                            <p:cond delay="0"/>
                                          </p:stCondLst>
                                        </p:cTn>
                                        <p:tgtEl>
                                          <p:spTgt spid="27">
                                            <p:graphicEl>
                                              <a:chart seriesIdx="1" categoryIdx="10" bldStep="ptInCategory"/>
                                            </p:graphicEl>
                                          </p:spTgt>
                                        </p:tgtEl>
                                        <p:attrNameLst>
                                          <p:attrName>style.visibility</p:attrName>
                                        </p:attrNameLst>
                                      </p:cBhvr>
                                      <p:to>
                                        <p:strVal val="visible"/>
                                      </p:to>
                                    </p:set>
                                    <p:anim calcmode="lin" valueType="num">
                                      <p:cBhvr additive="base">
                                        <p:cTn id="187" dur="500"/>
                                        <p:tgtEl>
                                          <p:spTgt spid="27">
                                            <p:graphicEl>
                                              <a:chart seriesIdx="1" categoryIdx="10" bldStep="ptInCategory"/>
                                            </p:graphicEl>
                                          </p:spTgt>
                                        </p:tgtEl>
                                        <p:attrNameLst>
                                          <p:attrName>ppt_y</p:attrName>
                                        </p:attrNameLst>
                                      </p:cBhvr>
                                      <p:tavLst>
                                        <p:tav tm="0">
                                          <p:val>
                                            <p:strVal val="#ppt_y+#ppt_h*1.125000"/>
                                          </p:val>
                                        </p:tav>
                                        <p:tav tm="100000">
                                          <p:val>
                                            <p:strVal val="#ppt_y"/>
                                          </p:val>
                                        </p:tav>
                                      </p:tavLst>
                                    </p:anim>
                                    <p:animEffect transition="in" filter="wipe(up)">
                                      <p:cBhvr>
                                        <p:cTn id="188" dur="500"/>
                                        <p:tgtEl>
                                          <p:spTgt spid="27">
                                            <p:graphicEl>
                                              <a:chart seriesIdx="1" categoryIdx="10" bldStep="ptInCategory"/>
                                            </p:graphicEl>
                                          </p:spTgt>
                                        </p:tgtEl>
                                      </p:cBhvr>
                                    </p:animEffect>
                                  </p:childTnLst>
                                </p:cTn>
                              </p:par>
                            </p:childTnLst>
                          </p:cTn>
                        </p:par>
                        <p:par>
                          <p:cTn id="189" fill="hold">
                            <p:stCondLst>
                              <p:cond delay="11500"/>
                            </p:stCondLst>
                            <p:childTnLst>
                              <p:par>
                                <p:cTn id="190" presetID="12" presetClass="entr" presetSubtype="4" fill="hold" grpId="0" nodeType="afterEffect">
                                  <p:stCondLst>
                                    <p:cond delay="0"/>
                                  </p:stCondLst>
                                  <p:childTnLst>
                                    <p:set>
                                      <p:cBhvr>
                                        <p:cTn id="191" dur="1" fill="hold">
                                          <p:stCondLst>
                                            <p:cond delay="0"/>
                                          </p:stCondLst>
                                        </p:cTn>
                                        <p:tgtEl>
                                          <p:spTgt spid="27">
                                            <p:graphicEl>
                                              <a:chart seriesIdx="0" categoryIdx="11" bldStep="ptInCategory"/>
                                            </p:graphicEl>
                                          </p:spTgt>
                                        </p:tgtEl>
                                        <p:attrNameLst>
                                          <p:attrName>style.visibility</p:attrName>
                                        </p:attrNameLst>
                                      </p:cBhvr>
                                      <p:to>
                                        <p:strVal val="visible"/>
                                      </p:to>
                                    </p:set>
                                    <p:anim calcmode="lin" valueType="num">
                                      <p:cBhvr additive="base">
                                        <p:cTn id="192" dur="500"/>
                                        <p:tgtEl>
                                          <p:spTgt spid="27">
                                            <p:graphicEl>
                                              <a:chart seriesIdx="0" categoryIdx="11" bldStep="ptInCategory"/>
                                            </p:graphicEl>
                                          </p:spTgt>
                                        </p:tgtEl>
                                        <p:attrNameLst>
                                          <p:attrName>ppt_y</p:attrName>
                                        </p:attrNameLst>
                                      </p:cBhvr>
                                      <p:tavLst>
                                        <p:tav tm="0">
                                          <p:val>
                                            <p:strVal val="#ppt_y+#ppt_h*1.125000"/>
                                          </p:val>
                                        </p:tav>
                                        <p:tav tm="100000">
                                          <p:val>
                                            <p:strVal val="#ppt_y"/>
                                          </p:val>
                                        </p:tav>
                                      </p:tavLst>
                                    </p:anim>
                                    <p:animEffect transition="in" filter="wipe(up)">
                                      <p:cBhvr>
                                        <p:cTn id="193" dur="500"/>
                                        <p:tgtEl>
                                          <p:spTgt spid="27">
                                            <p:graphicEl>
                                              <a:chart seriesIdx="0" categoryIdx="11" bldStep="ptInCategory"/>
                                            </p:graphicEl>
                                          </p:spTgt>
                                        </p:tgtEl>
                                      </p:cBhvr>
                                    </p:animEffect>
                                  </p:childTnLst>
                                </p:cTn>
                              </p:par>
                            </p:childTnLst>
                          </p:cTn>
                        </p:par>
                      </p:childTnLst>
                    </p:cTn>
                  </p:par>
                  <p:par>
                    <p:cTn id="194" fill="hold">
                      <p:stCondLst>
                        <p:cond delay="indefinite"/>
                      </p:stCondLst>
                      <p:childTnLst>
                        <p:par>
                          <p:cTn id="195" fill="hold">
                            <p:stCondLst>
                              <p:cond delay="0"/>
                            </p:stCondLst>
                            <p:childTnLst>
                              <p:par>
                                <p:cTn id="196" presetID="12" presetClass="entr" presetSubtype="4" fill="hold" grpId="0" nodeType="clickEffect">
                                  <p:stCondLst>
                                    <p:cond delay="0"/>
                                  </p:stCondLst>
                                  <p:childTnLst>
                                    <p:set>
                                      <p:cBhvr>
                                        <p:cTn id="197" dur="1" fill="hold">
                                          <p:stCondLst>
                                            <p:cond delay="0"/>
                                          </p:stCondLst>
                                        </p:cTn>
                                        <p:tgtEl>
                                          <p:spTgt spid="27">
                                            <p:graphicEl>
                                              <a:chart seriesIdx="1" categoryIdx="11" bldStep="ptInCategory"/>
                                            </p:graphicEl>
                                          </p:spTgt>
                                        </p:tgtEl>
                                        <p:attrNameLst>
                                          <p:attrName>style.visibility</p:attrName>
                                        </p:attrNameLst>
                                      </p:cBhvr>
                                      <p:to>
                                        <p:strVal val="visible"/>
                                      </p:to>
                                    </p:set>
                                    <p:anim calcmode="lin" valueType="num">
                                      <p:cBhvr additive="base">
                                        <p:cTn id="198" dur="500"/>
                                        <p:tgtEl>
                                          <p:spTgt spid="27">
                                            <p:graphicEl>
                                              <a:chart seriesIdx="1" categoryIdx="11" bldStep="ptInCategory"/>
                                            </p:graphicEl>
                                          </p:spTgt>
                                        </p:tgtEl>
                                        <p:attrNameLst>
                                          <p:attrName>ppt_y</p:attrName>
                                        </p:attrNameLst>
                                      </p:cBhvr>
                                      <p:tavLst>
                                        <p:tav tm="0">
                                          <p:val>
                                            <p:strVal val="#ppt_y+#ppt_h*1.125000"/>
                                          </p:val>
                                        </p:tav>
                                        <p:tav tm="100000">
                                          <p:val>
                                            <p:strVal val="#ppt_y"/>
                                          </p:val>
                                        </p:tav>
                                      </p:tavLst>
                                    </p:anim>
                                    <p:animEffect transition="in" filter="wipe(up)">
                                      <p:cBhvr>
                                        <p:cTn id="199" dur="500"/>
                                        <p:tgtEl>
                                          <p:spTgt spid="27">
                                            <p:graphicEl>
                                              <a:chart seriesIdx="1" categoryIdx="11" bldStep="ptInCategory"/>
                                            </p:graphicEl>
                                          </p:spTgt>
                                        </p:tgtEl>
                                      </p:cBhvr>
                                    </p:animEffect>
                                  </p:childTnLst>
                                </p:cTn>
                              </p:par>
                            </p:childTnLst>
                          </p:cTn>
                        </p:par>
                      </p:childTnLst>
                    </p:cTn>
                  </p:par>
                  <p:par>
                    <p:cTn id="200" fill="hold">
                      <p:stCondLst>
                        <p:cond delay="indefinite"/>
                      </p:stCondLst>
                      <p:childTnLst>
                        <p:par>
                          <p:cTn id="201" fill="hold">
                            <p:stCondLst>
                              <p:cond delay="0"/>
                            </p:stCondLst>
                            <p:childTnLst>
                              <p:par>
                                <p:cTn id="202" presetID="22" presetClass="entr" presetSubtype="1" fill="hold" grpId="0" nodeType="clickEffect">
                                  <p:stCondLst>
                                    <p:cond delay="0"/>
                                  </p:stCondLst>
                                  <p:childTnLst>
                                    <p:set>
                                      <p:cBhvr>
                                        <p:cTn id="203" dur="1" fill="hold">
                                          <p:stCondLst>
                                            <p:cond delay="0"/>
                                          </p:stCondLst>
                                        </p:cTn>
                                        <p:tgtEl>
                                          <p:spTgt spid="14">
                                            <p:txEl>
                                              <p:pRg st="0" end="0"/>
                                            </p:txEl>
                                          </p:spTgt>
                                        </p:tgtEl>
                                        <p:attrNameLst>
                                          <p:attrName>style.visibility</p:attrName>
                                        </p:attrNameLst>
                                      </p:cBhvr>
                                      <p:to>
                                        <p:strVal val="visible"/>
                                      </p:to>
                                    </p:set>
                                    <p:animEffect transition="in" filter="wipe(up)">
                                      <p:cBhvr>
                                        <p:cTn id="204" dur="500"/>
                                        <p:tgtEl>
                                          <p:spTgt spid="14">
                                            <p:txEl>
                                              <p:pRg st="0" end="0"/>
                                            </p:txEl>
                                          </p:spTgt>
                                        </p:tgtEl>
                                      </p:cBhvr>
                                    </p:animEffect>
                                  </p:childTnLst>
                                </p:cTn>
                              </p:par>
                            </p:childTnLst>
                          </p:cTn>
                        </p:par>
                        <p:par>
                          <p:cTn id="205" fill="hold">
                            <p:stCondLst>
                              <p:cond delay="500"/>
                            </p:stCondLst>
                            <p:childTnLst>
                              <p:par>
                                <p:cTn id="206" presetID="22" presetClass="entr" presetSubtype="1" fill="hold" grpId="0" nodeType="afterEffect">
                                  <p:stCondLst>
                                    <p:cond delay="0"/>
                                  </p:stCondLst>
                                  <p:childTnLst>
                                    <p:set>
                                      <p:cBhvr>
                                        <p:cTn id="207" dur="1" fill="hold">
                                          <p:stCondLst>
                                            <p:cond delay="0"/>
                                          </p:stCondLst>
                                        </p:cTn>
                                        <p:tgtEl>
                                          <p:spTgt spid="14">
                                            <p:txEl>
                                              <p:pRg st="1" end="1"/>
                                            </p:txEl>
                                          </p:spTgt>
                                        </p:tgtEl>
                                        <p:attrNameLst>
                                          <p:attrName>style.visibility</p:attrName>
                                        </p:attrNameLst>
                                      </p:cBhvr>
                                      <p:to>
                                        <p:strVal val="visible"/>
                                      </p:to>
                                    </p:set>
                                    <p:animEffect transition="in" filter="wipe(up)">
                                      <p:cBhvr>
                                        <p:cTn id="208" dur="500"/>
                                        <p:tgtEl>
                                          <p:spTgt spid="14">
                                            <p:txEl>
                                              <p:pRg st="1" end="1"/>
                                            </p:txEl>
                                          </p:spTgt>
                                        </p:tgtEl>
                                      </p:cBhvr>
                                    </p:animEffect>
                                  </p:childTnLst>
                                </p:cTn>
                              </p:par>
                            </p:childTnLst>
                          </p:cTn>
                        </p:par>
                        <p:par>
                          <p:cTn id="209" fill="hold">
                            <p:stCondLst>
                              <p:cond delay="1000"/>
                            </p:stCondLst>
                            <p:childTnLst>
                              <p:par>
                                <p:cTn id="210" presetID="22" presetClass="entr" presetSubtype="1" fill="hold" grpId="0" nodeType="afterEffect">
                                  <p:stCondLst>
                                    <p:cond delay="0"/>
                                  </p:stCondLst>
                                  <p:childTnLst>
                                    <p:set>
                                      <p:cBhvr>
                                        <p:cTn id="211" dur="1" fill="hold">
                                          <p:stCondLst>
                                            <p:cond delay="0"/>
                                          </p:stCondLst>
                                        </p:cTn>
                                        <p:tgtEl>
                                          <p:spTgt spid="14">
                                            <p:txEl>
                                              <p:pRg st="2" end="2"/>
                                            </p:txEl>
                                          </p:spTgt>
                                        </p:tgtEl>
                                        <p:attrNameLst>
                                          <p:attrName>style.visibility</p:attrName>
                                        </p:attrNameLst>
                                      </p:cBhvr>
                                      <p:to>
                                        <p:strVal val="visible"/>
                                      </p:to>
                                    </p:set>
                                    <p:animEffect transition="in" filter="wipe(up)">
                                      <p:cBhvr>
                                        <p:cTn id="212" dur="500"/>
                                        <p:tgtEl>
                                          <p:spTgt spid="1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uiExpand="1" build="p"/>
      <p:bldP spid="21" grpId="0" build="p"/>
      <p:bldGraphic spid="26" grpId="0" uiExpand="1">
        <p:bldSub>
          <a:bldChart bld="category"/>
        </p:bldSub>
      </p:bldGraphic>
      <p:bldP spid="23" grpId="0" uiExpand="1" build="p" animBg="1"/>
      <p:bldGraphic spid="27" grpId="0" uiExpand="1">
        <p:bldSub>
          <a:bldChart bld="categoryEl"/>
        </p:bldSub>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F1208-FEB5-8052-F8DE-6D97327EE354}"/>
              </a:ext>
            </a:extLst>
          </p:cNvPr>
          <p:cNvSpPr>
            <a:spLocks noGrp="1"/>
          </p:cNvSpPr>
          <p:nvPr>
            <p:ph type="title"/>
          </p:nvPr>
        </p:nvSpPr>
        <p:spPr/>
        <p:txBody>
          <a:bodyPr/>
          <a:lstStyle/>
          <a:p>
            <a:r>
              <a:rPr lang="en-GB" dirty="0"/>
              <a:t>Preserve capital with income from other sources</a:t>
            </a:r>
          </a:p>
        </p:txBody>
      </p:sp>
      <p:sp>
        <p:nvSpPr>
          <p:cNvPr id="6" name="Text Placeholder 5">
            <a:extLst>
              <a:ext uri="{FF2B5EF4-FFF2-40B4-BE49-F238E27FC236}">
                <a16:creationId xmlns:a16="http://schemas.microsoft.com/office/drawing/2014/main" id="{88F96B17-56B8-21F9-3BEF-70BFDC896D70}"/>
              </a:ext>
            </a:extLst>
          </p:cNvPr>
          <p:cNvSpPr>
            <a:spLocks noGrp="1"/>
          </p:cNvSpPr>
          <p:nvPr>
            <p:ph type="body" sz="quarter" idx="18"/>
          </p:nvPr>
        </p:nvSpPr>
        <p:spPr/>
        <p:txBody>
          <a:bodyPr/>
          <a:lstStyle/>
          <a:p>
            <a:endParaRPr lang="en-GB" dirty="0"/>
          </a:p>
        </p:txBody>
      </p:sp>
      <p:graphicFrame>
        <p:nvGraphicFramePr>
          <p:cNvPr id="12" name="Content Placeholder 7">
            <a:extLst>
              <a:ext uri="{FF2B5EF4-FFF2-40B4-BE49-F238E27FC236}">
                <a16:creationId xmlns:a16="http://schemas.microsoft.com/office/drawing/2014/main" id="{428C4E81-28E6-5AAF-5364-EBBCDBD0B684}"/>
              </a:ext>
            </a:extLst>
          </p:cNvPr>
          <p:cNvGraphicFramePr>
            <a:graphicFrameLocks noGrp="1"/>
          </p:cNvGraphicFramePr>
          <p:nvPr>
            <p:ph sz="quarter" idx="30"/>
            <p:extLst>
              <p:ext uri="{D42A27DB-BD31-4B8C-83A1-F6EECF244321}">
                <p14:modId xmlns:p14="http://schemas.microsoft.com/office/powerpoint/2010/main" val="1894501087"/>
              </p:ext>
            </p:extLst>
          </p:nvPr>
        </p:nvGraphicFramePr>
        <p:xfrm>
          <a:off x="576263" y="1012919"/>
          <a:ext cx="10367960" cy="4532216"/>
        </p:xfrm>
        <a:graphic>
          <a:graphicData uri="http://schemas.openxmlformats.org/drawingml/2006/table">
            <a:tbl>
              <a:tblPr firstRow="1" bandRow="1">
                <a:tableStyleId>{6E25E649-3F16-4E02-A733-19D2CDBF48F0}</a:tableStyleId>
              </a:tblPr>
              <a:tblGrid>
                <a:gridCol w="2407256">
                  <a:extLst>
                    <a:ext uri="{9D8B030D-6E8A-4147-A177-3AD203B41FA5}">
                      <a16:colId xmlns:a16="http://schemas.microsoft.com/office/drawing/2014/main" val="20897580"/>
                    </a:ext>
                  </a:extLst>
                </a:gridCol>
                <a:gridCol w="2437727">
                  <a:extLst>
                    <a:ext uri="{9D8B030D-6E8A-4147-A177-3AD203B41FA5}">
                      <a16:colId xmlns:a16="http://schemas.microsoft.com/office/drawing/2014/main" val="4041898764"/>
                    </a:ext>
                  </a:extLst>
                </a:gridCol>
                <a:gridCol w="2536760">
                  <a:extLst>
                    <a:ext uri="{9D8B030D-6E8A-4147-A177-3AD203B41FA5}">
                      <a16:colId xmlns:a16="http://schemas.microsoft.com/office/drawing/2014/main" val="3129690470"/>
                    </a:ext>
                  </a:extLst>
                </a:gridCol>
                <a:gridCol w="2986217">
                  <a:extLst>
                    <a:ext uri="{9D8B030D-6E8A-4147-A177-3AD203B41FA5}">
                      <a16:colId xmlns:a16="http://schemas.microsoft.com/office/drawing/2014/main" val="3253428219"/>
                    </a:ext>
                  </a:extLst>
                </a:gridCol>
              </a:tblGrid>
              <a:tr h="540347">
                <a:tc>
                  <a:txBody>
                    <a:bodyPr/>
                    <a:lstStyle/>
                    <a:p>
                      <a:pPr algn="ctr" fontAlgn="ctr"/>
                      <a:r>
                        <a:rPr lang="en-GB" sz="1400" b="1" u="none" strike="noStrike" dirty="0">
                          <a:effectLst/>
                        </a:rPr>
                        <a:t>Pension income required</a:t>
                      </a:r>
                      <a:endParaRPr lang="en-GB" sz="1400" b="1" i="0" u="none" strike="noStrike" dirty="0">
                        <a:effectLst/>
                        <a:latin typeface="Arial" panose="020B0604020202020204" pitchFamily="34" charset="0"/>
                      </a:endParaRPr>
                    </a:p>
                  </a:txBody>
                  <a:tcPr marL="9525" marR="9525" marT="9525" marB="72000" anchor="b">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ctr"/>
                      <a:r>
                        <a:rPr lang="en-GB" sz="1400" b="1" u="none" strike="noStrike" dirty="0">
                          <a:effectLst/>
                        </a:rPr>
                        <a:t>Pension withdrawal </a:t>
                      </a:r>
                    </a:p>
                    <a:p>
                      <a:pPr algn="ctr" fontAlgn="ctr"/>
                      <a:r>
                        <a:rPr lang="en-GB" sz="1200" b="1" u="none" strike="noStrike" dirty="0">
                          <a:effectLst/>
                        </a:rPr>
                        <a:t>(net of income tax &amp; NI)</a:t>
                      </a:r>
                      <a:endParaRPr lang="en-GB" sz="1200" b="1" i="0" u="none" strike="noStrike" dirty="0">
                        <a:effectLst/>
                        <a:latin typeface="Arial" panose="020B0604020202020204" pitchFamily="34" charset="0"/>
                      </a:endParaRPr>
                    </a:p>
                  </a:txBody>
                  <a:tcPr marL="9525" marR="9525" marT="9525" marB="72000" anchor="b">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ctr"/>
                      <a:r>
                        <a:rPr lang="en-GB" sz="1400" b="1" u="none" strike="noStrike" dirty="0">
                          <a:effectLst/>
                        </a:rPr>
                        <a:t>Tax-free income </a:t>
                      </a:r>
                    </a:p>
                    <a:p>
                      <a:pPr algn="ctr" fontAlgn="ctr"/>
                      <a:r>
                        <a:rPr lang="en-GB" sz="1200" b="1" u="none" strike="noStrike" dirty="0">
                          <a:effectLst/>
                        </a:rPr>
                        <a:t>(from other source)</a:t>
                      </a:r>
                      <a:endParaRPr lang="en-GB" sz="1200" b="1" i="0" u="none" strike="noStrike" dirty="0">
                        <a:effectLst/>
                        <a:latin typeface="Arial" panose="020B0604020202020204" pitchFamily="34" charset="0"/>
                      </a:endParaRPr>
                    </a:p>
                  </a:txBody>
                  <a:tcPr marL="9525" marR="9525" marT="9525" marB="72000" anchor="b">
                    <a:lnL>
                      <a:noFill/>
                    </a:lnL>
                    <a:lnR>
                      <a:noFill/>
                    </a:lnR>
                    <a:lnT w="25400" cmpd="sng">
                      <a:noFill/>
                    </a:lnT>
                    <a:lnB w="25400" cmpd="sng">
                      <a:noFill/>
                    </a:lnB>
                    <a:lnTlToBr w="12700" cmpd="sng">
                      <a:noFill/>
                      <a:prstDash val="solid"/>
                    </a:lnTlToBr>
                    <a:lnBlToTr w="12700" cmpd="sng">
                      <a:noFill/>
                      <a:prstDash val="solid"/>
                    </a:lnBlToTr>
                  </a:tcPr>
                </a:tc>
                <a:tc>
                  <a:txBody>
                    <a:bodyPr/>
                    <a:lstStyle/>
                    <a:p>
                      <a:pPr algn="ctr" fontAlgn="ctr"/>
                      <a:r>
                        <a:rPr lang="en-GB" sz="1400" b="1" u="none" strike="noStrike" dirty="0">
                          <a:effectLst/>
                        </a:rPr>
                        <a:t>Effective tax saving</a:t>
                      </a:r>
                      <a:endParaRPr lang="en-GB" sz="1400" b="1" i="0" u="none" strike="noStrike" dirty="0">
                        <a:effectLst/>
                        <a:latin typeface="Arial" panose="020B0604020202020204" pitchFamily="34" charset="0"/>
                      </a:endParaRPr>
                    </a:p>
                  </a:txBody>
                  <a:tcPr marL="9525" marR="9525" marT="9525" marB="72000" anchor="b">
                    <a:lnL>
                      <a:noFill/>
                    </a:lnL>
                    <a:lnR>
                      <a:noFill/>
                    </a:lnR>
                    <a:lnT w="25400" cmpd="sng">
                      <a:noFill/>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313259946"/>
                  </a:ext>
                </a:extLst>
              </a:tr>
              <a:tr h="443541">
                <a:tc>
                  <a:txBody>
                    <a:bodyPr/>
                    <a:lstStyle/>
                    <a:p>
                      <a:pPr algn="ctr" fontAlgn="b"/>
                      <a:r>
                        <a:rPr lang="en-GB" sz="1400" b="0" i="0" u="none" strike="noStrike" dirty="0">
                          <a:effectLst/>
                          <a:latin typeface="Arial" panose="020B0604020202020204" pitchFamily="34" charset="0"/>
                        </a:rPr>
                        <a:t> £                 10,000</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10,000</a:t>
                      </a: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endParaRPr lang="en-GB" sz="1400" b="0" i="0" u="none" strike="noStrike">
                        <a:effectLst/>
                        <a:latin typeface="Arial" panose="020B060402020202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tc>
                  <a:txBody>
                    <a:bodyPr/>
                    <a:lstStyle/>
                    <a:p>
                      <a:pPr algn="ctr" fontAlgn="b"/>
                      <a:endParaRPr lang="en-GB" sz="1400" b="0" i="0" u="none" strike="noStrike" dirty="0">
                        <a:effectLst/>
                        <a:latin typeface="Arial" panose="020B0604020202020204" pitchFamily="34" charset="0"/>
                      </a:endParaRPr>
                    </a:p>
                  </a:txBody>
                  <a:tcPr marL="9525" marR="9525" marT="9525" marB="0" anchor="ctr">
                    <a:lnL>
                      <a:noFill/>
                    </a:lnL>
                    <a:lnR>
                      <a:noFill/>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56633294"/>
                  </a:ext>
                </a:extLst>
              </a:tr>
              <a:tr h="443541">
                <a:tc>
                  <a:txBody>
                    <a:bodyPr/>
                    <a:lstStyle/>
                    <a:p>
                      <a:pPr algn="ctr" fontAlgn="b"/>
                      <a:r>
                        <a:rPr lang="en-GB" sz="1400" b="0" i="0" u="none" strike="noStrike" dirty="0">
                          <a:effectLst/>
                          <a:latin typeface="Arial" panose="020B0604020202020204" pitchFamily="34" charset="0"/>
                        </a:rPr>
                        <a:t> £                 15,0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15,943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943</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21623677"/>
                  </a:ext>
                </a:extLst>
              </a:tr>
              <a:tr h="443541">
                <a:tc>
                  <a:txBody>
                    <a:bodyPr/>
                    <a:lstStyle/>
                    <a:p>
                      <a:pPr algn="ctr" fontAlgn="b"/>
                      <a:r>
                        <a:rPr lang="en-GB" sz="1400" b="0" i="0" u="none" strike="noStrike" dirty="0">
                          <a:effectLst/>
                          <a:latin typeface="Arial" panose="020B0604020202020204" pitchFamily="34" charset="0"/>
                        </a:rPr>
                        <a:t> £                 20,0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22,888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1,945</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2866331"/>
                  </a:ext>
                </a:extLst>
              </a:tr>
              <a:tr h="443541">
                <a:tc>
                  <a:txBody>
                    <a:bodyPr/>
                    <a:lstStyle/>
                    <a:p>
                      <a:pPr algn="ctr" fontAlgn="b"/>
                      <a:r>
                        <a:rPr lang="en-GB" sz="1400" b="0" i="0" u="none" strike="noStrike" dirty="0">
                          <a:effectLst/>
                          <a:latin typeface="Arial" panose="020B0604020202020204" pitchFamily="34" charset="0"/>
                        </a:rPr>
                        <a:t> £                 2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29,832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1,944</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7798026"/>
                  </a:ext>
                </a:extLst>
              </a:tr>
              <a:tr h="443541">
                <a:tc>
                  <a:txBody>
                    <a:bodyPr/>
                    <a:lstStyle/>
                    <a:p>
                      <a:pPr algn="ctr" fontAlgn="b"/>
                      <a:r>
                        <a:rPr lang="en-GB" sz="1400" b="0" i="0" u="none" strike="noStrike" dirty="0">
                          <a:effectLst/>
                          <a:latin typeface="Arial" panose="020B0604020202020204" pitchFamily="34" charset="0"/>
                        </a:rPr>
                        <a:t> £                 30,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36,776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1,944 </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41531061"/>
                  </a:ext>
                </a:extLst>
              </a:tr>
              <a:tr h="443541">
                <a:tc>
                  <a:txBody>
                    <a:bodyPr/>
                    <a:lstStyle/>
                    <a:p>
                      <a:pPr algn="ctr" fontAlgn="b"/>
                      <a:r>
                        <a:rPr lang="en-GB" sz="1400" b="0" i="0" u="none" strike="noStrike" dirty="0">
                          <a:effectLst/>
                          <a:latin typeface="Arial" panose="020B0604020202020204" pitchFamily="34" charset="0"/>
                        </a:rPr>
                        <a:t> £                 35,0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43,721</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1,945</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97701345"/>
                  </a:ext>
                </a:extLst>
              </a:tr>
              <a:tr h="443541">
                <a:tc>
                  <a:txBody>
                    <a:bodyPr/>
                    <a:lstStyle/>
                    <a:p>
                      <a:pPr algn="ctr" fontAlgn="b"/>
                      <a:r>
                        <a:rPr lang="en-GB" sz="1400" b="0" i="0" u="none" strike="noStrike" dirty="0">
                          <a:effectLst/>
                          <a:latin typeface="Arial" panose="020B0604020202020204" pitchFamily="34" charset="0"/>
                        </a:rPr>
                        <a:t> £                 40,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758</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2,037</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49902465"/>
                  </a:ext>
                </a:extLst>
              </a:tr>
              <a:tr h="443541">
                <a:tc>
                  <a:txBody>
                    <a:bodyPr/>
                    <a:lstStyle/>
                    <a:p>
                      <a:pPr algn="ctr" fontAlgn="b"/>
                      <a:r>
                        <a:rPr lang="en-GB" sz="1400" b="0" i="0" u="none" strike="noStrike" dirty="0">
                          <a:effectLst/>
                          <a:latin typeface="Arial" panose="020B0604020202020204" pitchFamily="34" charset="0"/>
                        </a:rPr>
                        <a:t> £                 4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9,378</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a:noFill/>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3,620 </a:t>
                      </a:r>
                    </a:p>
                  </a:txBody>
                  <a:tcPr marL="9525" marR="9525" marT="952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90735106"/>
                  </a:ext>
                </a:extLst>
              </a:tr>
              <a:tr h="443541">
                <a:tc>
                  <a:txBody>
                    <a:bodyPr/>
                    <a:lstStyle/>
                    <a:p>
                      <a:pPr algn="ctr" fontAlgn="b"/>
                      <a:r>
                        <a:rPr lang="en-GB" sz="1400" b="0" i="0" u="none" strike="noStrike" dirty="0">
                          <a:effectLst/>
                          <a:latin typeface="Arial" panose="020B0604020202020204" pitchFamily="34" charset="0"/>
                        </a:rPr>
                        <a:t> £                 50,000 </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67,999</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400" b="0" i="0" u="none" strike="noStrike" dirty="0">
                          <a:effectLst/>
                          <a:latin typeface="Arial" panose="020B0604020202020204" pitchFamily="34" charset="0"/>
                        </a:rPr>
                        <a:t> £          5,000 </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GB" sz="1600" b="1" i="0" u="none" strike="noStrike" dirty="0">
                          <a:effectLst/>
                          <a:latin typeface="Arial" panose="020B0604020202020204" pitchFamily="34" charset="0"/>
                        </a:rPr>
                        <a:t> £        3,621</a:t>
                      </a: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4083592"/>
                  </a:ext>
                </a:extLst>
              </a:tr>
            </a:tbl>
          </a:graphicData>
        </a:graphic>
      </p:graphicFrame>
      <p:sp>
        <p:nvSpPr>
          <p:cNvPr id="3" name="TextBox 2">
            <a:extLst>
              <a:ext uri="{FF2B5EF4-FFF2-40B4-BE49-F238E27FC236}">
                <a16:creationId xmlns:a16="http://schemas.microsoft.com/office/drawing/2014/main" id="{60360EFC-8AB0-2B40-8BF1-C21CEECE1C91}"/>
              </a:ext>
            </a:extLst>
          </p:cNvPr>
          <p:cNvSpPr txBox="1"/>
          <p:nvPr/>
        </p:nvSpPr>
        <p:spPr>
          <a:xfrm>
            <a:off x="576025" y="5705060"/>
            <a:ext cx="9215437" cy="307777"/>
          </a:xfrm>
          <a:prstGeom prst="rect">
            <a:avLst/>
          </a:prstGeom>
          <a:noFill/>
        </p:spPr>
        <p:txBody>
          <a:bodyPr wrap="square">
            <a:spAutoFit/>
          </a:bodyPr>
          <a:lstStyle/>
          <a:p>
            <a:pPr algn="l"/>
            <a:r>
              <a:rPr lang="en-GB" sz="1400" b="1" i="0" u="none" strike="noStrike" dirty="0">
                <a:solidFill>
                  <a:srgbClr val="000000"/>
                </a:solidFill>
                <a:effectLst/>
                <a:latin typeface="Calibri" panose="020F0502020204030204" pitchFamily="34" charset="0"/>
              </a:rPr>
              <a:t>Tax treatment will depend on individual circumstances and may change in the future.</a:t>
            </a:r>
            <a:endParaRPr lang="en-GB" dirty="0"/>
          </a:p>
        </p:txBody>
      </p:sp>
      <p:sp>
        <p:nvSpPr>
          <p:cNvPr id="8" name="Content Placeholder 7">
            <a:extLst>
              <a:ext uri="{FF2B5EF4-FFF2-40B4-BE49-F238E27FC236}">
                <a16:creationId xmlns:a16="http://schemas.microsoft.com/office/drawing/2014/main" id="{2F2DE4BA-ABE0-FA48-0A88-84BD1D760BAD}"/>
              </a:ext>
            </a:extLst>
          </p:cNvPr>
          <p:cNvSpPr>
            <a:spLocks noGrp="1"/>
          </p:cNvSpPr>
          <p:nvPr>
            <p:ph sz="quarter" idx="12"/>
          </p:nvPr>
        </p:nvSpPr>
        <p:spPr>
          <a:xfrm>
            <a:off x="576262" y="6012837"/>
            <a:ext cx="10367962" cy="180000"/>
          </a:xfrm>
        </p:spPr>
        <p:txBody>
          <a:bodyPr/>
          <a:lstStyle/>
          <a:p>
            <a:pPr>
              <a:buNone/>
            </a:pPr>
            <a:r>
              <a:rPr kumimoji="0" lang="en-GB" sz="700" b="1" i="0" u="none" strike="noStrike" kern="1200" cap="none" spc="0" normalizeH="0" baseline="0" noProof="0" dirty="0">
                <a:ln>
                  <a:noFill/>
                </a:ln>
                <a:solidFill>
                  <a:srgbClr val="343434"/>
                </a:solidFill>
                <a:effectLst/>
                <a:uLnTx/>
                <a:uFillTx/>
                <a:latin typeface="Arial" panose="020B0604020202020204"/>
                <a:ea typeface="+mn-ea"/>
                <a:cs typeface="Arial" charset="0"/>
              </a:rPr>
              <a:t>Source: </a:t>
            </a:r>
            <a:r>
              <a:rPr kumimoji="0" lang="en-GB" sz="700" b="1" i="0" u="none" strike="noStrike" kern="1200" cap="none" spc="0" normalizeH="0" baseline="0" noProof="0" dirty="0">
                <a:ln>
                  <a:noFill/>
                </a:ln>
                <a:solidFill>
                  <a:srgbClr val="343434"/>
                </a:solidFill>
                <a:effectLst/>
                <a:uLnTx/>
                <a:uFillTx/>
                <a:latin typeface="Arial" panose="020B0604020202020204"/>
                <a:ea typeface="+mn-ea"/>
                <a:cs typeface="Arial" charset="0"/>
                <a:hlinkClick r:id="rId3"/>
              </a:rPr>
              <a:t>https://www.tax.service.gov.uk/estimate-paye-take-home-pay</a:t>
            </a:r>
            <a:r>
              <a:rPr kumimoji="0" lang="en-GB" sz="700" b="1" i="0" u="none" strike="noStrike" kern="1200" cap="none" spc="0" normalizeH="0" baseline="0" noProof="0" dirty="0">
                <a:ln>
                  <a:noFill/>
                </a:ln>
                <a:solidFill>
                  <a:srgbClr val="343434"/>
                </a:solidFill>
                <a:effectLst/>
                <a:uLnTx/>
                <a:uFillTx/>
                <a:latin typeface="Arial" panose="020B0604020202020204"/>
                <a:ea typeface="+mn-ea"/>
                <a:cs typeface="Arial" charset="0"/>
              </a:rPr>
              <a:t>. </a:t>
            </a:r>
            <a:r>
              <a:rPr kumimoji="0" lang="en-GB" sz="700" i="0" u="none" strike="noStrike" kern="1200" cap="none" spc="0" normalizeH="0" baseline="0" noProof="0" dirty="0">
                <a:ln>
                  <a:noFill/>
                </a:ln>
                <a:solidFill>
                  <a:srgbClr val="343434"/>
                </a:solidFill>
                <a:effectLst/>
                <a:uLnTx/>
                <a:uFillTx/>
                <a:latin typeface="Arial" panose="020B0604020202020204"/>
                <a:ea typeface="+mn-ea"/>
                <a:cs typeface="Arial" charset="0"/>
              </a:rPr>
              <a:t>This is a hypothetical example provided for illustrative purposes only.</a:t>
            </a:r>
          </a:p>
        </p:txBody>
      </p:sp>
    </p:spTree>
    <p:extLst>
      <p:ext uri="{BB962C8B-B14F-4D97-AF65-F5344CB8AC3E}">
        <p14:creationId xmlns:p14="http://schemas.microsoft.com/office/powerpoint/2010/main" val="856298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1B0E1B-3B17-5113-1FB1-11350C0EFBDD}"/>
              </a:ext>
            </a:extLst>
          </p:cNvPr>
          <p:cNvSpPr>
            <a:spLocks noGrp="1"/>
          </p:cNvSpPr>
          <p:nvPr>
            <p:ph type="title"/>
          </p:nvPr>
        </p:nvSpPr>
        <p:spPr/>
        <p:txBody>
          <a:bodyPr/>
          <a:lstStyle/>
          <a:p>
            <a:r>
              <a:rPr lang="en-GB" dirty="0"/>
              <a:t>Learning objectives</a:t>
            </a:r>
          </a:p>
        </p:txBody>
      </p:sp>
      <p:sp>
        <p:nvSpPr>
          <p:cNvPr id="6" name="Text Placeholder 5">
            <a:extLst>
              <a:ext uri="{FF2B5EF4-FFF2-40B4-BE49-F238E27FC236}">
                <a16:creationId xmlns:a16="http://schemas.microsoft.com/office/drawing/2014/main" id="{96A719DA-DDA2-C9AB-93E0-D6AB26609BC4}"/>
              </a:ext>
            </a:extLst>
          </p:cNvPr>
          <p:cNvSpPr>
            <a:spLocks noGrp="1"/>
          </p:cNvSpPr>
          <p:nvPr>
            <p:ph type="body" sz="quarter" idx="11"/>
          </p:nvPr>
        </p:nvSpPr>
        <p:spPr/>
        <p:txBody>
          <a:bodyPr/>
          <a:lstStyle/>
          <a:p>
            <a:r>
              <a:rPr lang="en-GB" dirty="0"/>
              <a:t>After this presentation you should be able to…</a:t>
            </a:r>
          </a:p>
        </p:txBody>
      </p:sp>
      <p:sp>
        <p:nvSpPr>
          <p:cNvPr id="7" name="Content Placeholder 6">
            <a:extLst>
              <a:ext uri="{FF2B5EF4-FFF2-40B4-BE49-F238E27FC236}">
                <a16:creationId xmlns:a16="http://schemas.microsoft.com/office/drawing/2014/main" id="{CAFE2F36-788B-C0E9-6907-D2EC92DEACAF}"/>
              </a:ext>
            </a:extLst>
          </p:cNvPr>
          <p:cNvSpPr>
            <a:spLocks noGrp="1"/>
          </p:cNvSpPr>
          <p:nvPr>
            <p:ph sz="quarter" idx="17"/>
          </p:nvPr>
        </p:nvSpPr>
        <p:spPr/>
        <p:txBody>
          <a:bodyPr/>
          <a:lstStyle/>
          <a:p>
            <a:pPr marL="324006" indent="-324006">
              <a:lnSpc>
                <a:spcPct val="300000"/>
              </a:lnSpc>
              <a:buFont typeface="+mj-lt"/>
              <a:buAutoNum type="arabicPeriod"/>
            </a:pPr>
            <a:r>
              <a:rPr lang="en-GB" sz="1890" dirty="0"/>
              <a:t>Articulate what makes retirement income clients different </a:t>
            </a:r>
          </a:p>
          <a:p>
            <a:pPr marL="324006" indent="-324006">
              <a:lnSpc>
                <a:spcPct val="300000"/>
              </a:lnSpc>
              <a:buFont typeface="+mj-lt"/>
              <a:buAutoNum type="arabicPeriod"/>
            </a:pPr>
            <a:r>
              <a:rPr lang="en-GB" sz="1890" dirty="0"/>
              <a:t>Describe techniques for managing retirement income risks</a:t>
            </a:r>
          </a:p>
          <a:p>
            <a:pPr marL="324006" indent="-324006">
              <a:lnSpc>
                <a:spcPct val="300000"/>
              </a:lnSpc>
              <a:buFont typeface="+mj-lt"/>
              <a:buAutoNum type="arabicPeriod"/>
            </a:pPr>
            <a:r>
              <a:rPr lang="en-GB" sz="1890" dirty="0"/>
              <a:t>Understand how managed income strategies can support retirement </a:t>
            </a:r>
          </a:p>
          <a:p>
            <a:pPr marL="0" indent="0">
              <a:lnSpc>
                <a:spcPct val="300000"/>
              </a:lnSpc>
              <a:buNone/>
            </a:pPr>
            <a:endParaRPr lang="en-GB" sz="1701" dirty="0"/>
          </a:p>
        </p:txBody>
      </p:sp>
    </p:spTree>
    <p:extLst>
      <p:ext uri="{BB962C8B-B14F-4D97-AF65-F5344CB8AC3E}">
        <p14:creationId xmlns:p14="http://schemas.microsoft.com/office/powerpoint/2010/main" val="2432807284"/>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E90116FA-DD49-FC1B-921B-01552828E16D}"/>
              </a:ext>
            </a:extLst>
          </p:cNvPr>
          <p:cNvSpPr>
            <a:spLocks noGrp="1"/>
          </p:cNvSpPr>
          <p:nvPr>
            <p:ph sz="quarter" idx="30"/>
          </p:nvPr>
        </p:nvSpPr>
        <p:spPr/>
        <p:txBody>
          <a:bodyPr/>
          <a:lstStyle/>
          <a:p>
            <a:pPr lvl="2">
              <a:spcBef>
                <a:spcPts val="3000"/>
              </a:spcBef>
              <a:spcAft>
                <a:spcPts val="0"/>
              </a:spcAft>
            </a:pPr>
            <a:r>
              <a:rPr lang="en-GB" sz="1800" dirty="0"/>
              <a:t>The risks faced by decumulation investors are different from those faced by savers</a:t>
            </a:r>
          </a:p>
          <a:p>
            <a:pPr lvl="2">
              <a:spcBef>
                <a:spcPts val="3000"/>
              </a:spcBef>
              <a:spcAft>
                <a:spcPts val="0"/>
              </a:spcAft>
            </a:pPr>
            <a:r>
              <a:rPr lang="en-GB" sz="1800" dirty="0"/>
              <a:t>Balancing risk and reward and limiting downside may be more important than maximising return</a:t>
            </a:r>
          </a:p>
          <a:p>
            <a:pPr lvl="2">
              <a:spcBef>
                <a:spcPts val="3000"/>
              </a:spcBef>
              <a:spcAft>
                <a:spcPts val="0"/>
              </a:spcAft>
            </a:pPr>
            <a:r>
              <a:rPr lang="en-GB" sz="1800" dirty="0"/>
              <a:t>Active management, equity income, and thoughtful fixed income investment can help deliver this</a:t>
            </a:r>
          </a:p>
          <a:p>
            <a:pPr lvl="2">
              <a:spcBef>
                <a:spcPts val="3000"/>
              </a:spcBef>
              <a:spcAft>
                <a:spcPts val="0"/>
              </a:spcAft>
            </a:pPr>
            <a:r>
              <a:rPr lang="en-GB" sz="1800" dirty="0"/>
              <a:t>When withdrawing income from capital, sequence of returns risk is important but is not well captured by traditional risk measures </a:t>
            </a:r>
          </a:p>
          <a:p>
            <a:pPr lvl="2">
              <a:spcBef>
                <a:spcPts val="3000"/>
              </a:spcBef>
              <a:spcAft>
                <a:spcPts val="0"/>
              </a:spcAft>
            </a:pPr>
            <a:r>
              <a:rPr lang="en-GB" sz="1800" dirty="0"/>
              <a:t>Limiting downside and focusing on “bouncebackability” can help deliver more durable retirement income</a:t>
            </a:r>
          </a:p>
          <a:p>
            <a:pPr lvl="2">
              <a:spcBef>
                <a:spcPts val="3000"/>
              </a:spcBef>
              <a:spcAft>
                <a:spcPts val="0"/>
              </a:spcAft>
            </a:pPr>
            <a:r>
              <a:rPr lang="en-GB" sz="1800" dirty="0"/>
              <a:t>Managed income strategies can help meet client goals and limit risk to income</a:t>
            </a:r>
          </a:p>
          <a:p>
            <a:pPr lvl="2">
              <a:spcBef>
                <a:spcPts val="1200"/>
              </a:spcBef>
            </a:pPr>
            <a:endParaRPr lang="en-GB" sz="1800" dirty="0"/>
          </a:p>
        </p:txBody>
      </p:sp>
      <p:sp>
        <p:nvSpPr>
          <p:cNvPr id="18" name="Content Placeholder 17">
            <a:extLst>
              <a:ext uri="{FF2B5EF4-FFF2-40B4-BE49-F238E27FC236}">
                <a16:creationId xmlns:a16="http://schemas.microsoft.com/office/drawing/2014/main" id="{7A9037FF-A9F7-0B50-F3DD-EC43A24DF769}"/>
              </a:ext>
            </a:extLst>
          </p:cNvPr>
          <p:cNvSpPr>
            <a:spLocks noGrp="1"/>
          </p:cNvSpPr>
          <p:nvPr>
            <p:ph sz="quarter" idx="12"/>
          </p:nvPr>
        </p:nvSpPr>
        <p:spPr/>
        <p:txBody>
          <a:bodyPr/>
          <a:lstStyle/>
          <a:p>
            <a:r>
              <a:rPr lang="en-GB" dirty="0"/>
              <a:t> </a:t>
            </a:r>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1"/>
          </p:nvPr>
        </p:nvSpPr>
        <p:spPr>
          <a:xfrm>
            <a:off x="576342" y="1008035"/>
            <a:ext cx="10367842" cy="431994"/>
          </a:xfrm>
        </p:spPr>
        <p:txBody>
          <a:bodyPr/>
          <a:lstStyle/>
          <a:p>
            <a:r>
              <a:rPr lang="en-GB" dirty="0"/>
              <a:t>Retirement investment requires a different approach from investing in accumulation</a:t>
            </a:r>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a:xfrm>
            <a:off x="576343" y="576304"/>
            <a:ext cx="10367803" cy="359995"/>
          </a:xfrm>
        </p:spPr>
        <p:txBody>
          <a:bodyPr/>
          <a:lstStyle/>
          <a:p>
            <a:r>
              <a:rPr lang="en-GB" dirty="0"/>
              <a:t>Where next for retirement investment?</a:t>
            </a:r>
            <a:r>
              <a:rPr lang="en-GB" dirty="0">
                <a:solidFill>
                  <a:srgbClr val="FF6120"/>
                </a:solidFill>
              </a:rPr>
              <a:t> Conclusion</a:t>
            </a:r>
          </a:p>
        </p:txBody>
      </p:sp>
      <p:sp>
        <p:nvSpPr>
          <p:cNvPr id="19" name="Text Placeholder 18">
            <a:extLst>
              <a:ext uri="{FF2B5EF4-FFF2-40B4-BE49-F238E27FC236}">
                <a16:creationId xmlns:a16="http://schemas.microsoft.com/office/drawing/2014/main" id="{D7B1BBFE-9558-DA8F-D305-3B1A5FC5AE23}"/>
              </a:ext>
            </a:extLst>
          </p:cNvPr>
          <p:cNvSpPr>
            <a:spLocks noGrp="1"/>
          </p:cNvSpPr>
          <p:nvPr>
            <p:ph type="body" sz="quarter" idx="14"/>
          </p:nvPr>
        </p:nvSpPr>
        <p:spPr/>
        <p:txBody>
          <a:bodyPr/>
          <a:lstStyle/>
          <a:p>
            <a:r>
              <a:rPr lang="en-GB" dirty="0"/>
              <a:t> </a:t>
            </a:r>
          </a:p>
        </p:txBody>
      </p:sp>
      <p:sp>
        <p:nvSpPr>
          <p:cNvPr id="22" name="Slide Number Placeholder 21">
            <a:extLst>
              <a:ext uri="{FF2B5EF4-FFF2-40B4-BE49-F238E27FC236}">
                <a16:creationId xmlns:a16="http://schemas.microsoft.com/office/drawing/2014/main" id="{D84BD810-8A56-189F-D1E2-46C99E933C47}"/>
              </a:ext>
            </a:extLst>
          </p:cNvPr>
          <p:cNvSpPr>
            <a:spLocks noGrp="1"/>
          </p:cNvSpPr>
          <p:nvPr>
            <p:ph type="sldNum" sz="quarter" idx="31"/>
          </p:nvPr>
        </p:nvSpPr>
        <p:spPr/>
        <p:txBody>
          <a:bodyPr/>
          <a:lstStyle/>
          <a:p>
            <a:fld id="{0F961903-03AF-4EAC-BF2C-945F8C5557D1}" type="slidenum">
              <a:rPr lang="en-GB" smtClean="0"/>
              <a:pPr/>
              <a:t>20</a:t>
            </a:fld>
            <a:endParaRPr lang="en-GB" dirty="0"/>
          </a:p>
        </p:txBody>
      </p:sp>
    </p:spTree>
    <p:custDataLst>
      <p:tags r:id="rId1"/>
    </p:custDataLst>
    <p:extLst>
      <p:ext uri="{BB962C8B-B14F-4D97-AF65-F5344CB8AC3E}">
        <p14:creationId xmlns:p14="http://schemas.microsoft.com/office/powerpoint/2010/main" val="12976176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1B0E1B-3B17-5113-1FB1-11350C0EFBDD}"/>
              </a:ext>
            </a:extLst>
          </p:cNvPr>
          <p:cNvSpPr>
            <a:spLocks noGrp="1"/>
          </p:cNvSpPr>
          <p:nvPr>
            <p:ph type="title"/>
          </p:nvPr>
        </p:nvSpPr>
        <p:spPr/>
        <p:txBody>
          <a:bodyPr/>
          <a:lstStyle/>
          <a:p>
            <a:r>
              <a:rPr lang="en-GB" dirty="0"/>
              <a:t>Learning outcomes</a:t>
            </a:r>
          </a:p>
        </p:txBody>
      </p:sp>
      <p:sp>
        <p:nvSpPr>
          <p:cNvPr id="6" name="Text Placeholder 5">
            <a:extLst>
              <a:ext uri="{FF2B5EF4-FFF2-40B4-BE49-F238E27FC236}">
                <a16:creationId xmlns:a16="http://schemas.microsoft.com/office/drawing/2014/main" id="{96A719DA-DDA2-C9AB-93E0-D6AB26609BC4}"/>
              </a:ext>
            </a:extLst>
          </p:cNvPr>
          <p:cNvSpPr>
            <a:spLocks noGrp="1"/>
          </p:cNvSpPr>
          <p:nvPr>
            <p:ph type="body" sz="quarter" idx="11"/>
          </p:nvPr>
        </p:nvSpPr>
        <p:spPr/>
        <p:txBody>
          <a:bodyPr/>
          <a:lstStyle/>
          <a:p>
            <a:r>
              <a:rPr lang="en-GB" dirty="0"/>
              <a:t>Hopefully, you can now…</a:t>
            </a:r>
          </a:p>
        </p:txBody>
      </p:sp>
      <p:sp>
        <p:nvSpPr>
          <p:cNvPr id="4" name="Content Placeholder 6">
            <a:extLst>
              <a:ext uri="{FF2B5EF4-FFF2-40B4-BE49-F238E27FC236}">
                <a16:creationId xmlns:a16="http://schemas.microsoft.com/office/drawing/2014/main" id="{A7AAF690-6936-4FB9-D059-2E0A30A98F81}"/>
              </a:ext>
            </a:extLst>
          </p:cNvPr>
          <p:cNvSpPr>
            <a:spLocks noGrp="1"/>
          </p:cNvSpPr>
          <p:nvPr>
            <p:ph sz="quarter" idx="17"/>
          </p:nvPr>
        </p:nvSpPr>
        <p:spPr>
          <a:xfrm>
            <a:off x="576026" y="1406549"/>
            <a:ext cx="10368438" cy="4229696"/>
          </a:xfrm>
        </p:spPr>
        <p:txBody>
          <a:bodyPr/>
          <a:lstStyle/>
          <a:p>
            <a:pPr marL="324006" indent="-324006">
              <a:lnSpc>
                <a:spcPct val="300000"/>
              </a:lnSpc>
              <a:buFont typeface="+mj-lt"/>
              <a:buAutoNum type="arabicPeriod"/>
            </a:pPr>
            <a:r>
              <a:rPr lang="en-GB" sz="1890" dirty="0"/>
              <a:t>Articulate what makes retirement income clients different </a:t>
            </a:r>
          </a:p>
          <a:p>
            <a:pPr marL="324006" indent="-324006">
              <a:lnSpc>
                <a:spcPct val="300000"/>
              </a:lnSpc>
              <a:buFont typeface="+mj-lt"/>
              <a:buAutoNum type="arabicPeriod"/>
            </a:pPr>
            <a:r>
              <a:rPr lang="en-GB" sz="1890" dirty="0"/>
              <a:t>Describe techniques for managing retirement income risks</a:t>
            </a:r>
          </a:p>
          <a:p>
            <a:pPr marL="324006" indent="-324006">
              <a:lnSpc>
                <a:spcPct val="300000"/>
              </a:lnSpc>
              <a:buFont typeface="+mj-lt"/>
              <a:buAutoNum type="arabicPeriod"/>
            </a:pPr>
            <a:r>
              <a:rPr lang="en-GB" sz="1890" dirty="0"/>
              <a:t>Understand how managed income strategies can support retirement </a:t>
            </a:r>
          </a:p>
          <a:p>
            <a:pPr marL="0" indent="0">
              <a:lnSpc>
                <a:spcPct val="300000"/>
              </a:lnSpc>
              <a:buNone/>
            </a:pPr>
            <a:endParaRPr lang="en-GB" sz="1701" dirty="0"/>
          </a:p>
        </p:txBody>
      </p:sp>
    </p:spTree>
    <p:extLst>
      <p:ext uri="{BB962C8B-B14F-4D97-AF65-F5344CB8AC3E}">
        <p14:creationId xmlns:p14="http://schemas.microsoft.com/office/powerpoint/2010/main" val="3109018817"/>
      </p:ext>
    </p:extLst>
  </p:cSld>
  <p:clrMapOvr>
    <a:masterClrMapping/>
  </p:clrMapOvr>
  <p:transition>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8D5D93C8-5A33-E4E7-88D1-D7123D3BE28E}"/>
              </a:ext>
            </a:extLst>
          </p:cNvPr>
          <p:cNvSpPr>
            <a:spLocks noGrp="1"/>
          </p:cNvSpPr>
          <p:nvPr>
            <p:ph type="body" sz="quarter" idx="13"/>
          </p:nvPr>
        </p:nvSpPr>
        <p:spPr/>
        <p:txBody>
          <a:bodyPr/>
          <a:lstStyle/>
          <a:p>
            <a:r>
              <a:rPr lang="en-GB" dirty="0"/>
              <a:t>BNY Mellon Multi-Asset Income Fund income PENCE per share</a:t>
            </a:r>
          </a:p>
        </p:txBody>
      </p:sp>
      <p:sp>
        <p:nvSpPr>
          <p:cNvPr id="3" name="Text Placeholder 2">
            <a:extLst>
              <a:ext uri="{FF2B5EF4-FFF2-40B4-BE49-F238E27FC236}">
                <a16:creationId xmlns:a16="http://schemas.microsoft.com/office/drawing/2014/main" id="{DD2B7B46-78AE-D23F-2B5A-98082084482C}"/>
              </a:ext>
            </a:extLst>
          </p:cNvPr>
          <p:cNvSpPr>
            <a:spLocks noGrp="1"/>
          </p:cNvSpPr>
          <p:nvPr>
            <p:ph type="body" sz="quarter" idx="11"/>
          </p:nvPr>
        </p:nvSpPr>
        <p:spPr>
          <a:xfrm>
            <a:off x="576263" y="1008000"/>
            <a:ext cx="10368000" cy="432000"/>
          </a:xfrm>
        </p:spPr>
        <p:txBody>
          <a:bodyPr/>
          <a:lstStyle/>
          <a:p>
            <a:r>
              <a:rPr lang="en-GB" dirty="0"/>
              <a:t>The fund has delivered a stable and growing income while providing scope for capital growth</a:t>
            </a:r>
          </a:p>
        </p:txBody>
      </p:sp>
      <p:sp>
        <p:nvSpPr>
          <p:cNvPr id="2" name="Title 1">
            <a:extLst>
              <a:ext uri="{FF2B5EF4-FFF2-40B4-BE49-F238E27FC236}">
                <a16:creationId xmlns:a16="http://schemas.microsoft.com/office/drawing/2014/main" id="{5BA5DE13-7A0F-9630-949E-8F60D224960A}"/>
              </a:ext>
            </a:extLst>
          </p:cNvPr>
          <p:cNvSpPr>
            <a:spLocks noGrp="1"/>
          </p:cNvSpPr>
          <p:nvPr>
            <p:ph type="title"/>
          </p:nvPr>
        </p:nvSpPr>
        <p:spPr>
          <a:xfrm>
            <a:off x="576263" y="576263"/>
            <a:ext cx="10367962" cy="360000"/>
          </a:xfrm>
        </p:spPr>
        <p:txBody>
          <a:bodyPr/>
          <a:lstStyle/>
          <a:p>
            <a:r>
              <a:rPr lang="en-GB" dirty="0"/>
              <a:t>BNY Mellon Multi-Asset Income Fund</a:t>
            </a:r>
          </a:p>
        </p:txBody>
      </p:sp>
      <p:sp>
        <p:nvSpPr>
          <p:cNvPr id="40" name="Text Placeholder 39">
            <a:extLst>
              <a:ext uri="{FF2B5EF4-FFF2-40B4-BE49-F238E27FC236}">
                <a16:creationId xmlns:a16="http://schemas.microsoft.com/office/drawing/2014/main" id="{0BB6B3DD-DF9F-2FC2-3FAD-087C19EE9700}"/>
              </a:ext>
            </a:extLst>
          </p:cNvPr>
          <p:cNvSpPr>
            <a:spLocks noGrp="1"/>
          </p:cNvSpPr>
          <p:nvPr>
            <p:ph type="body" sz="quarter" idx="18"/>
          </p:nvPr>
        </p:nvSpPr>
        <p:spPr/>
        <p:txBody>
          <a:bodyPr/>
          <a:lstStyle/>
          <a:p>
            <a:endParaRPr lang="en-GB"/>
          </a:p>
        </p:txBody>
      </p:sp>
      <p:sp>
        <p:nvSpPr>
          <p:cNvPr id="37" name="Content Placeholder 36">
            <a:extLst>
              <a:ext uri="{FF2B5EF4-FFF2-40B4-BE49-F238E27FC236}">
                <a16:creationId xmlns:a16="http://schemas.microsoft.com/office/drawing/2014/main" id="{98798FDF-E302-0676-1FB7-EAAB5435F5AA}"/>
              </a:ext>
            </a:extLst>
          </p:cNvPr>
          <p:cNvSpPr>
            <a:spLocks noGrp="1"/>
          </p:cNvSpPr>
          <p:nvPr>
            <p:ph sz="quarter" idx="12"/>
          </p:nvPr>
        </p:nvSpPr>
        <p:spPr/>
        <p:txBody>
          <a:bodyPr/>
          <a:lstStyle/>
          <a:p>
            <a:pPr>
              <a:buNone/>
            </a:pPr>
            <a:endParaRPr lang="en-GB" dirty="0"/>
          </a:p>
          <a:p>
            <a:pPr>
              <a:buNone/>
            </a:pPr>
            <a:endParaRPr lang="en-GB" dirty="0"/>
          </a:p>
        </p:txBody>
      </p:sp>
      <p:graphicFrame>
        <p:nvGraphicFramePr>
          <p:cNvPr id="41" name="Content Placeholder 40">
            <a:extLst>
              <a:ext uri="{FF2B5EF4-FFF2-40B4-BE49-F238E27FC236}">
                <a16:creationId xmlns:a16="http://schemas.microsoft.com/office/drawing/2014/main" id="{E446CB56-6414-4C19-A100-94C9483671EE}"/>
              </a:ext>
            </a:extLst>
          </p:cNvPr>
          <p:cNvGraphicFramePr>
            <a:graphicFrameLocks noGrp="1"/>
          </p:cNvGraphicFramePr>
          <p:nvPr>
            <p:ph sz="quarter" idx="14"/>
            <p:extLst>
              <p:ext uri="{D42A27DB-BD31-4B8C-83A1-F6EECF244321}">
                <p14:modId xmlns:p14="http://schemas.microsoft.com/office/powerpoint/2010/main" val="644014165"/>
              </p:ext>
            </p:extLst>
          </p:nvPr>
        </p:nvGraphicFramePr>
        <p:xfrm>
          <a:off x="576263" y="1751001"/>
          <a:ext cx="10367962" cy="3817938"/>
        </p:xfrm>
        <a:graphic>
          <a:graphicData uri="http://schemas.openxmlformats.org/drawingml/2006/chart">
            <c:chart xmlns:c="http://schemas.openxmlformats.org/drawingml/2006/chart" xmlns:r="http://schemas.openxmlformats.org/officeDocument/2006/relationships" r:id="rId4"/>
          </a:graphicData>
        </a:graphic>
      </p:graphicFrame>
      <p:grpSp>
        <p:nvGrpSpPr>
          <p:cNvPr id="86" name="Group 85">
            <a:extLst>
              <a:ext uri="{FF2B5EF4-FFF2-40B4-BE49-F238E27FC236}">
                <a16:creationId xmlns:a16="http://schemas.microsoft.com/office/drawing/2014/main" id="{EA7C3128-144D-BB95-06A8-3708F20240B2}"/>
              </a:ext>
            </a:extLst>
          </p:cNvPr>
          <p:cNvGrpSpPr/>
          <p:nvPr/>
        </p:nvGrpSpPr>
        <p:grpSpPr>
          <a:xfrm>
            <a:off x="1924804" y="2484448"/>
            <a:ext cx="7990460" cy="704038"/>
            <a:chOff x="1537969" y="2659313"/>
            <a:chExt cx="3983045" cy="745088"/>
          </a:xfrm>
        </p:grpSpPr>
        <p:grpSp>
          <p:nvGrpSpPr>
            <p:cNvPr id="78" name="Group 77">
              <a:extLst>
                <a:ext uri="{FF2B5EF4-FFF2-40B4-BE49-F238E27FC236}">
                  <a16:creationId xmlns:a16="http://schemas.microsoft.com/office/drawing/2014/main" id="{CDFC0F8C-B46F-0FC6-CCCC-17FCE8681E2F}"/>
                </a:ext>
              </a:extLst>
            </p:cNvPr>
            <p:cNvGrpSpPr/>
            <p:nvPr/>
          </p:nvGrpSpPr>
          <p:grpSpPr>
            <a:xfrm>
              <a:off x="2086645" y="3082718"/>
              <a:ext cx="190500" cy="248076"/>
              <a:chOff x="2132068" y="2934906"/>
              <a:chExt cx="190500" cy="248076"/>
            </a:xfrm>
          </p:grpSpPr>
          <p:cxnSp>
            <p:nvCxnSpPr>
              <p:cNvPr id="7" name="Straight Arrow Connector 6">
                <a:extLst>
                  <a:ext uri="{FF2B5EF4-FFF2-40B4-BE49-F238E27FC236}">
                    <a16:creationId xmlns:a16="http://schemas.microsoft.com/office/drawing/2014/main" id="{5909BCE3-2B55-281C-950B-4C482573E552}"/>
                  </a:ext>
                </a:extLst>
              </p:cNvPr>
              <p:cNvCxnSpPr>
                <a:cxnSpLocks/>
              </p:cNvCxnSpPr>
              <p:nvPr/>
            </p:nvCxnSpPr>
            <p:spPr>
              <a:xfrm flipV="1">
                <a:off x="2148397" y="3152775"/>
                <a:ext cx="170941" cy="30207"/>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9B0DDFD-730E-7759-4DCD-DF39A853061A}"/>
                  </a:ext>
                </a:extLst>
              </p:cNvPr>
              <p:cNvSpPr txBox="1"/>
              <p:nvPr/>
            </p:nvSpPr>
            <p:spPr>
              <a:xfrm>
                <a:off x="2132068" y="2934906"/>
                <a:ext cx="190500"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2.1%</a:t>
                </a:r>
              </a:p>
            </p:txBody>
          </p:sp>
        </p:grpSp>
        <p:grpSp>
          <p:nvGrpSpPr>
            <p:cNvPr id="79" name="Group 78">
              <a:extLst>
                <a:ext uri="{FF2B5EF4-FFF2-40B4-BE49-F238E27FC236}">
                  <a16:creationId xmlns:a16="http://schemas.microsoft.com/office/drawing/2014/main" id="{3C6D68A2-9810-3730-725C-34B810E07C1C}"/>
                </a:ext>
              </a:extLst>
            </p:cNvPr>
            <p:cNvGrpSpPr/>
            <p:nvPr/>
          </p:nvGrpSpPr>
          <p:grpSpPr>
            <a:xfrm>
              <a:off x="2620721" y="3045439"/>
              <a:ext cx="193911" cy="232271"/>
              <a:chOff x="2677877" y="2907317"/>
              <a:chExt cx="193911" cy="232271"/>
            </a:xfrm>
          </p:grpSpPr>
          <p:cxnSp>
            <p:nvCxnSpPr>
              <p:cNvPr id="8" name="Straight Arrow Connector 7">
                <a:extLst>
                  <a:ext uri="{FF2B5EF4-FFF2-40B4-BE49-F238E27FC236}">
                    <a16:creationId xmlns:a16="http://schemas.microsoft.com/office/drawing/2014/main" id="{4F07440C-CBD0-E883-233D-220F7D31B712}"/>
                  </a:ext>
                </a:extLst>
              </p:cNvPr>
              <p:cNvCxnSpPr>
                <a:cxnSpLocks/>
              </p:cNvCxnSpPr>
              <p:nvPr/>
            </p:nvCxnSpPr>
            <p:spPr>
              <a:xfrm flipV="1">
                <a:off x="2681821" y="3133725"/>
                <a:ext cx="189967" cy="5863"/>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AC7029E-3C7D-635D-DB3E-6AEAE137758F}"/>
                  </a:ext>
                </a:extLst>
              </p:cNvPr>
              <p:cNvSpPr txBox="1"/>
              <p:nvPr/>
            </p:nvSpPr>
            <p:spPr>
              <a:xfrm>
                <a:off x="2677877" y="2907317"/>
                <a:ext cx="190146"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1.0%</a:t>
                </a:r>
              </a:p>
            </p:txBody>
          </p:sp>
        </p:grpSp>
        <p:grpSp>
          <p:nvGrpSpPr>
            <p:cNvPr id="80" name="Group 79">
              <a:extLst>
                <a:ext uri="{FF2B5EF4-FFF2-40B4-BE49-F238E27FC236}">
                  <a16:creationId xmlns:a16="http://schemas.microsoft.com/office/drawing/2014/main" id="{7B14BC28-27D1-3F6A-D3A5-B668B81CD87B}"/>
                </a:ext>
              </a:extLst>
            </p:cNvPr>
            <p:cNvGrpSpPr/>
            <p:nvPr/>
          </p:nvGrpSpPr>
          <p:grpSpPr>
            <a:xfrm>
              <a:off x="3165861" y="3014602"/>
              <a:ext cx="181411" cy="246221"/>
              <a:chOff x="3192821" y="2887996"/>
              <a:chExt cx="181411" cy="246221"/>
            </a:xfrm>
          </p:grpSpPr>
          <p:cxnSp>
            <p:nvCxnSpPr>
              <p:cNvPr id="9" name="Straight Arrow Connector 8">
                <a:extLst>
                  <a:ext uri="{FF2B5EF4-FFF2-40B4-BE49-F238E27FC236}">
                    <a16:creationId xmlns:a16="http://schemas.microsoft.com/office/drawing/2014/main" id="{92AAEB8E-34D1-1B89-BE48-261AB719A957}"/>
                  </a:ext>
                </a:extLst>
              </p:cNvPr>
              <p:cNvCxnSpPr>
                <a:cxnSpLocks/>
              </p:cNvCxnSpPr>
              <p:nvPr/>
            </p:nvCxnSpPr>
            <p:spPr>
              <a:xfrm flipV="1">
                <a:off x="3205588" y="3092532"/>
                <a:ext cx="168644" cy="41685"/>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53A8310-83AC-22DE-1845-42ABC93DEE54}"/>
                  </a:ext>
                </a:extLst>
              </p:cNvPr>
              <p:cNvSpPr txBox="1"/>
              <p:nvPr/>
            </p:nvSpPr>
            <p:spPr>
              <a:xfrm>
                <a:off x="3192821" y="2887996"/>
                <a:ext cx="181411"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2.4%</a:t>
                </a:r>
              </a:p>
            </p:txBody>
          </p:sp>
        </p:grpSp>
        <p:grpSp>
          <p:nvGrpSpPr>
            <p:cNvPr id="85" name="Group 84">
              <a:extLst>
                <a:ext uri="{FF2B5EF4-FFF2-40B4-BE49-F238E27FC236}">
                  <a16:creationId xmlns:a16="http://schemas.microsoft.com/office/drawing/2014/main" id="{8ABCDE2A-1311-1FA9-1499-F77B75D4CB43}"/>
                </a:ext>
              </a:extLst>
            </p:cNvPr>
            <p:cNvGrpSpPr/>
            <p:nvPr/>
          </p:nvGrpSpPr>
          <p:grpSpPr>
            <a:xfrm>
              <a:off x="3702265" y="2983380"/>
              <a:ext cx="189298" cy="235758"/>
              <a:chOff x="3730240" y="2862724"/>
              <a:chExt cx="189298" cy="235758"/>
            </a:xfrm>
          </p:grpSpPr>
          <p:cxnSp>
            <p:nvCxnSpPr>
              <p:cNvPr id="10" name="Straight Arrow Connector 9">
                <a:extLst>
                  <a:ext uri="{FF2B5EF4-FFF2-40B4-BE49-F238E27FC236}">
                    <a16:creationId xmlns:a16="http://schemas.microsoft.com/office/drawing/2014/main" id="{5FB9653A-6560-3A90-5A6E-55EEC843AF64}"/>
                  </a:ext>
                </a:extLst>
              </p:cNvPr>
              <p:cNvCxnSpPr>
                <a:cxnSpLocks/>
              </p:cNvCxnSpPr>
              <p:nvPr/>
            </p:nvCxnSpPr>
            <p:spPr>
              <a:xfrm flipV="1">
                <a:off x="3739490" y="3086100"/>
                <a:ext cx="180048" cy="12382"/>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EAE637AD-5266-5EDC-F220-B2CBC2C63EA6}"/>
                  </a:ext>
                </a:extLst>
              </p:cNvPr>
              <p:cNvSpPr txBox="1"/>
              <p:nvPr/>
            </p:nvSpPr>
            <p:spPr>
              <a:xfrm>
                <a:off x="3730240" y="2862724"/>
                <a:ext cx="180048"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1.7%</a:t>
                </a:r>
              </a:p>
            </p:txBody>
          </p:sp>
        </p:grpSp>
        <p:grpSp>
          <p:nvGrpSpPr>
            <p:cNvPr id="82" name="Group 81">
              <a:extLst>
                <a:ext uri="{FF2B5EF4-FFF2-40B4-BE49-F238E27FC236}">
                  <a16:creationId xmlns:a16="http://schemas.microsoft.com/office/drawing/2014/main" id="{BFE69571-5256-C481-B63C-B3A799B55594}"/>
                </a:ext>
              </a:extLst>
            </p:cNvPr>
            <p:cNvGrpSpPr/>
            <p:nvPr/>
          </p:nvGrpSpPr>
          <p:grpSpPr>
            <a:xfrm>
              <a:off x="4786862" y="2745276"/>
              <a:ext cx="191887" cy="392007"/>
              <a:chOff x="4796426" y="2632129"/>
              <a:chExt cx="191887" cy="392007"/>
            </a:xfrm>
          </p:grpSpPr>
          <p:cxnSp>
            <p:nvCxnSpPr>
              <p:cNvPr id="15" name="Straight Arrow Connector 14">
                <a:extLst>
                  <a:ext uri="{FF2B5EF4-FFF2-40B4-BE49-F238E27FC236}">
                    <a16:creationId xmlns:a16="http://schemas.microsoft.com/office/drawing/2014/main" id="{5CE8D1C8-A34A-FC7C-616E-3E69A690633E}"/>
                  </a:ext>
                </a:extLst>
              </p:cNvPr>
              <p:cNvCxnSpPr>
                <a:cxnSpLocks/>
              </p:cNvCxnSpPr>
              <p:nvPr/>
            </p:nvCxnSpPr>
            <p:spPr>
              <a:xfrm flipV="1">
                <a:off x="4796426" y="2786032"/>
                <a:ext cx="191887" cy="23810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2039E1A-E1B6-5D40-6597-E7697B5FAE72}"/>
                  </a:ext>
                </a:extLst>
              </p:cNvPr>
              <p:cNvSpPr txBox="1"/>
              <p:nvPr/>
            </p:nvSpPr>
            <p:spPr>
              <a:xfrm>
                <a:off x="4796426" y="2632129"/>
                <a:ext cx="191887"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11.2%</a:t>
                </a:r>
              </a:p>
            </p:txBody>
          </p:sp>
        </p:grpSp>
        <p:grpSp>
          <p:nvGrpSpPr>
            <p:cNvPr id="77" name="Group 76">
              <a:extLst>
                <a:ext uri="{FF2B5EF4-FFF2-40B4-BE49-F238E27FC236}">
                  <a16:creationId xmlns:a16="http://schemas.microsoft.com/office/drawing/2014/main" id="{B9C2CDC2-D6FE-4C5D-D95C-4C4CF8737B9A}"/>
                </a:ext>
              </a:extLst>
            </p:cNvPr>
            <p:cNvGrpSpPr/>
            <p:nvPr/>
          </p:nvGrpSpPr>
          <p:grpSpPr>
            <a:xfrm>
              <a:off x="1537969" y="3178403"/>
              <a:ext cx="204632" cy="225998"/>
              <a:chOff x="1600884" y="3016478"/>
              <a:chExt cx="204632" cy="225998"/>
            </a:xfrm>
          </p:grpSpPr>
          <p:sp>
            <p:nvSpPr>
              <p:cNvPr id="21" name="TextBox 20">
                <a:extLst>
                  <a:ext uri="{FF2B5EF4-FFF2-40B4-BE49-F238E27FC236}">
                    <a16:creationId xmlns:a16="http://schemas.microsoft.com/office/drawing/2014/main" id="{C3EDF985-7358-F24A-5A8C-39793B730347}"/>
                  </a:ext>
                </a:extLst>
              </p:cNvPr>
              <p:cNvSpPr txBox="1"/>
              <p:nvPr/>
            </p:nvSpPr>
            <p:spPr>
              <a:xfrm>
                <a:off x="1600884" y="3016478"/>
                <a:ext cx="190500"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5.4%</a:t>
                </a:r>
              </a:p>
            </p:txBody>
          </p:sp>
          <p:cxnSp>
            <p:nvCxnSpPr>
              <p:cNvPr id="32" name="Straight Arrow Connector 31">
                <a:extLst>
                  <a:ext uri="{FF2B5EF4-FFF2-40B4-BE49-F238E27FC236}">
                    <a16:creationId xmlns:a16="http://schemas.microsoft.com/office/drawing/2014/main" id="{BB9CAC13-B488-73F0-AF30-8D1FACD5071E}"/>
                  </a:ext>
                </a:extLst>
              </p:cNvPr>
              <p:cNvCxnSpPr>
                <a:cxnSpLocks/>
              </p:cNvCxnSpPr>
              <p:nvPr/>
            </p:nvCxnSpPr>
            <p:spPr>
              <a:xfrm flipV="1">
                <a:off x="1615016" y="3166276"/>
                <a:ext cx="190500" cy="76200"/>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96684CC1-2C3D-A9CA-DE34-9804D33C7C86}"/>
                </a:ext>
              </a:extLst>
            </p:cNvPr>
            <p:cNvGrpSpPr/>
            <p:nvPr/>
          </p:nvGrpSpPr>
          <p:grpSpPr>
            <a:xfrm>
              <a:off x="5338781" y="2659313"/>
              <a:ext cx="182233" cy="254184"/>
              <a:chOff x="5331617" y="2546166"/>
              <a:chExt cx="182233" cy="254184"/>
            </a:xfrm>
          </p:grpSpPr>
          <p:cxnSp>
            <p:nvCxnSpPr>
              <p:cNvPr id="18" name="Straight Arrow Connector 17">
                <a:extLst>
                  <a:ext uri="{FF2B5EF4-FFF2-40B4-BE49-F238E27FC236}">
                    <a16:creationId xmlns:a16="http://schemas.microsoft.com/office/drawing/2014/main" id="{1973C3AA-0369-BAFE-571F-71CFE0D94087}"/>
                  </a:ext>
                </a:extLst>
              </p:cNvPr>
              <p:cNvCxnSpPr>
                <a:cxnSpLocks/>
              </p:cNvCxnSpPr>
              <p:nvPr/>
            </p:nvCxnSpPr>
            <p:spPr>
              <a:xfrm flipV="1">
                <a:off x="5331618" y="2752725"/>
                <a:ext cx="182232" cy="47625"/>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AE1089D-AC07-3917-23A5-9A072EBC5E8D}"/>
                  </a:ext>
                </a:extLst>
              </p:cNvPr>
              <p:cNvSpPr txBox="1"/>
              <p:nvPr/>
            </p:nvSpPr>
            <p:spPr>
              <a:xfrm>
                <a:off x="5331617" y="2546166"/>
                <a:ext cx="182232"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2.4%</a:t>
                </a:r>
              </a:p>
            </p:txBody>
          </p:sp>
        </p:grpSp>
        <p:grpSp>
          <p:nvGrpSpPr>
            <p:cNvPr id="81" name="Group 80">
              <a:extLst>
                <a:ext uri="{FF2B5EF4-FFF2-40B4-BE49-F238E27FC236}">
                  <a16:creationId xmlns:a16="http://schemas.microsoft.com/office/drawing/2014/main" id="{C7108405-7C8D-A643-3A6F-9858FFAF2C0B}"/>
                </a:ext>
              </a:extLst>
            </p:cNvPr>
            <p:cNvGrpSpPr/>
            <p:nvPr/>
          </p:nvGrpSpPr>
          <p:grpSpPr>
            <a:xfrm>
              <a:off x="4254186" y="2899671"/>
              <a:ext cx="180047" cy="285802"/>
              <a:chOff x="4275061" y="2772215"/>
              <a:chExt cx="180047" cy="285802"/>
            </a:xfrm>
          </p:grpSpPr>
          <p:cxnSp>
            <p:nvCxnSpPr>
              <p:cNvPr id="11" name="Straight Arrow Connector 10">
                <a:extLst>
                  <a:ext uri="{FF2B5EF4-FFF2-40B4-BE49-F238E27FC236}">
                    <a16:creationId xmlns:a16="http://schemas.microsoft.com/office/drawing/2014/main" id="{591242AA-5905-1E1F-2EA4-FD30EFC3C751}"/>
                  </a:ext>
                </a:extLst>
              </p:cNvPr>
              <p:cNvCxnSpPr>
                <a:cxnSpLocks/>
              </p:cNvCxnSpPr>
              <p:nvPr/>
            </p:nvCxnSpPr>
            <p:spPr>
              <a:xfrm flipV="1">
                <a:off x="4275061" y="3011106"/>
                <a:ext cx="180047" cy="46911"/>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8F8CC8D3-4BF5-A099-98B0-153C67956205}"/>
                  </a:ext>
                </a:extLst>
              </p:cNvPr>
              <p:cNvSpPr txBox="1"/>
              <p:nvPr/>
            </p:nvSpPr>
            <p:spPr>
              <a:xfrm>
                <a:off x="4275061" y="2772215"/>
                <a:ext cx="180047" cy="153903"/>
              </a:xfrm>
              <a:prstGeom prst="rect">
                <a:avLst/>
              </a:prstGeom>
              <a:noFill/>
            </p:spPr>
            <p:txBody>
              <a:bodyPr wrap="square" lIns="0" tIns="0" rIns="0" bIns="0" rtlCol="0">
                <a:spAutoFit/>
              </a:bodyPr>
              <a:lstStyle/>
              <a:p>
                <a:pPr marL="0" marR="0" lvl="0" indent="0" defTabSz="864017" rtl="0" eaLnBrk="1" fontAlgn="auto" latinLnBrk="0" hangingPunct="1">
                  <a:lnSpc>
                    <a:spcPct val="100000"/>
                  </a:lnSpc>
                  <a:spcBef>
                    <a:spcPts val="1134"/>
                  </a:spcBef>
                  <a:spcAft>
                    <a:spcPts val="0"/>
                  </a:spcAft>
                  <a:buClrTx/>
                  <a:buSzTx/>
                  <a:buFontTx/>
                  <a:buNone/>
                  <a:tabLst/>
                  <a:defRPr/>
                </a:pPr>
                <a:r>
                  <a:rPr kumimoji="0" lang="en-GB" sz="945" b="1" i="0" u="none" strike="noStrike" kern="1200" cap="none" spc="-10" normalizeH="0" noProof="0" dirty="0">
                    <a:ln>
                      <a:noFill/>
                    </a:ln>
                    <a:solidFill>
                      <a:schemeClr val="accent2"/>
                    </a:solidFill>
                    <a:effectLst/>
                    <a:uLnTx/>
                    <a:uFillTx/>
                    <a:latin typeface="+mn-lt"/>
                    <a:ea typeface="+mn-ea"/>
                    <a:cs typeface="Arial" charset="0"/>
                  </a:rPr>
                  <a:t>2.5%</a:t>
                </a:r>
              </a:p>
            </p:txBody>
          </p:sp>
        </p:grpSp>
      </p:grpSp>
      <p:sp>
        <p:nvSpPr>
          <p:cNvPr id="6" name="TextBox 5">
            <a:extLst>
              <a:ext uri="{FF2B5EF4-FFF2-40B4-BE49-F238E27FC236}">
                <a16:creationId xmlns:a16="http://schemas.microsoft.com/office/drawing/2014/main" id="{CF97B875-9444-122F-FFD1-BD11BCDBEEDC}"/>
              </a:ext>
            </a:extLst>
          </p:cNvPr>
          <p:cNvSpPr txBox="1"/>
          <p:nvPr/>
        </p:nvSpPr>
        <p:spPr>
          <a:xfrm>
            <a:off x="766916" y="5568939"/>
            <a:ext cx="8782767" cy="1017202"/>
          </a:xfrm>
          <a:prstGeom prst="rect">
            <a:avLst/>
          </a:prstGeom>
          <a:noFill/>
        </p:spPr>
        <p:txBody>
          <a:bodyPr wrap="square" rtlCol="0">
            <a:spAutoFit/>
          </a:bodyPr>
          <a:lstStyle/>
          <a:p>
            <a:pPr algn="l">
              <a:spcBef>
                <a:spcPts val="1200"/>
              </a:spcBef>
            </a:pPr>
            <a:r>
              <a:rPr lang="en-GB" sz="700" dirty="0">
                <a:solidFill>
                  <a:schemeClr val="tx2"/>
                </a:solidFill>
                <a:latin typeface="+mn-lt"/>
                <a:cs typeface="Arial" panose="020B0604020202020204" pitchFamily="34" charset="0"/>
              </a:rPr>
              <a:t>Source: BNY Investments. Lipper.  For illustrative purposes only.  Income paid on BNY Mellon Multi-Asset Income Fund Institutional W Income share class for 12-month periods ending on 30 June of each year shown. Income split between regular monthly payments and balancing payment paid at end of fund year. Capital return shows the cumulative change of the price of the BNY Mellon Multi-Asset Income Fund Institutional W Income share class from 1 July 2015 to 30 June 2024. BNY Mellon Multi-Asset Income Fund performance for the Institutional W Income share class calculated as total return, including reinvested income net of UK tax and charges, based on net asset value.  All figures are in GBP terms. The impact of an initial charge (currently not applied) can be material on the performance of your investment. Further information is available upon request. This is for illustrative purposes only and does not take into account effects of inflation or other factors that may have a negative impact on an investment.</a:t>
            </a:r>
          </a:p>
          <a:p>
            <a:pPr marL="166688" indent="-166688">
              <a:spcBef>
                <a:spcPts val="1200"/>
              </a:spcBef>
              <a:buFont typeface="Arial" pitchFamily="34" charset="0"/>
              <a:buChar char="•"/>
            </a:pPr>
            <a:endParaRPr lang="en-GB" dirty="0">
              <a:solidFill>
                <a:srgbClr val="000000"/>
              </a:solidFill>
            </a:endParaRPr>
          </a:p>
        </p:txBody>
      </p:sp>
    </p:spTree>
    <p:custDataLst>
      <p:tags r:id="rId1"/>
    </p:custDataLst>
    <p:extLst>
      <p:ext uri="{BB962C8B-B14F-4D97-AF65-F5344CB8AC3E}">
        <p14:creationId xmlns:p14="http://schemas.microsoft.com/office/powerpoint/2010/main" val="2329656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41">
                                            <p:graphicEl>
                                              <a:chart seriesIdx="-3" categoryIdx="-3" bldStep="gridLegend"/>
                                            </p:graphicEl>
                                          </p:spTgt>
                                        </p:tgtEl>
                                        <p:attrNameLst>
                                          <p:attrName>style.visibility</p:attrName>
                                        </p:attrNameLst>
                                      </p:cBhvr>
                                      <p:to>
                                        <p:strVal val="visible"/>
                                      </p:to>
                                    </p:set>
                                    <p:anim calcmode="lin" valueType="num">
                                      <p:cBhvr additive="base">
                                        <p:cTn id="7" dur="500"/>
                                        <p:tgtEl>
                                          <p:spTgt spid="41">
                                            <p:graphicEl>
                                              <a:chart seriesIdx="-3" categoryIdx="-3" bldStep="gridLegend"/>
                                            </p:graphicEl>
                                          </p:spTgt>
                                        </p:tgtEl>
                                        <p:attrNameLst>
                                          <p:attrName>ppt_y</p:attrName>
                                        </p:attrNameLst>
                                      </p:cBhvr>
                                      <p:tavLst>
                                        <p:tav tm="0">
                                          <p:val>
                                            <p:strVal val="#ppt_y+#ppt_h*1.125000"/>
                                          </p:val>
                                        </p:tav>
                                        <p:tav tm="100000">
                                          <p:val>
                                            <p:strVal val="#ppt_y"/>
                                          </p:val>
                                        </p:tav>
                                      </p:tavLst>
                                    </p:anim>
                                    <p:animEffect transition="in" filter="wipe(up)">
                                      <p:cBhvr>
                                        <p:cTn id="8" dur="500"/>
                                        <p:tgtEl>
                                          <p:spTgt spid="41">
                                            <p:graphicEl>
                                              <a:chart seriesIdx="-3" categoryIdx="-3" bldStep="gridLegend"/>
                                            </p:graphicEl>
                                          </p:spTgt>
                                        </p:tgtEl>
                                      </p:cBhvr>
                                    </p:animEffect>
                                  </p:childTnLst>
                                </p:cTn>
                              </p:par>
                            </p:childTnLst>
                          </p:cTn>
                        </p:par>
                        <p:par>
                          <p:cTn id="9" fill="hold">
                            <p:stCondLst>
                              <p:cond delay="500"/>
                            </p:stCondLst>
                            <p:childTnLst>
                              <p:par>
                                <p:cTn id="10" presetID="12" presetClass="entr" presetSubtype="4" fill="hold" grpId="0" nodeType="afterEffect">
                                  <p:stCondLst>
                                    <p:cond delay="0"/>
                                  </p:stCondLst>
                                  <p:childTnLst>
                                    <p:set>
                                      <p:cBhvr>
                                        <p:cTn id="11" dur="1" fill="hold">
                                          <p:stCondLst>
                                            <p:cond delay="0"/>
                                          </p:stCondLst>
                                        </p:cTn>
                                        <p:tgtEl>
                                          <p:spTgt spid="41">
                                            <p:graphicEl>
                                              <a:chart seriesIdx="0" categoryIdx="0" bldStep="ptInSeries"/>
                                            </p:graphicEl>
                                          </p:spTgt>
                                        </p:tgtEl>
                                        <p:attrNameLst>
                                          <p:attrName>style.visibility</p:attrName>
                                        </p:attrNameLst>
                                      </p:cBhvr>
                                      <p:to>
                                        <p:strVal val="visible"/>
                                      </p:to>
                                    </p:set>
                                    <p:anim calcmode="lin" valueType="num">
                                      <p:cBhvr additive="base">
                                        <p:cTn id="12" dur="500"/>
                                        <p:tgtEl>
                                          <p:spTgt spid="41">
                                            <p:graphicEl>
                                              <a:chart seriesIdx="0" categoryIdx="0" bldStep="ptInSeries"/>
                                            </p:graphicEl>
                                          </p:spTgt>
                                        </p:tgtEl>
                                        <p:attrNameLst>
                                          <p:attrName>ppt_y</p:attrName>
                                        </p:attrNameLst>
                                      </p:cBhvr>
                                      <p:tavLst>
                                        <p:tav tm="0">
                                          <p:val>
                                            <p:strVal val="#ppt_y+#ppt_h*1.125000"/>
                                          </p:val>
                                        </p:tav>
                                        <p:tav tm="100000">
                                          <p:val>
                                            <p:strVal val="#ppt_y"/>
                                          </p:val>
                                        </p:tav>
                                      </p:tavLst>
                                    </p:anim>
                                    <p:animEffect transition="in" filter="wipe(up)">
                                      <p:cBhvr>
                                        <p:cTn id="13" dur="500"/>
                                        <p:tgtEl>
                                          <p:spTgt spid="41">
                                            <p:graphicEl>
                                              <a:chart seriesIdx="0" categoryIdx="0" bldStep="ptInSeries"/>
                                            </p:graphicEl>
                                          </p:spTgt>
                                        </p:tgtEl>
                                      </p:cBhvr>
                                    </p:animEffect>
                                  </p:childTnLst>
                                </p:cTn>
                              </p:par>
                            </p:childTnLst>
                          </p:cTn>
                        </p:par>
                        <p:par>
                          <p:cTn id="14" fill="hold">
                            <p:stCondLst>
                              <p:cond delay="1000"/>
                            </p:stCondLst>
                            <p:childTnLst>
                              <p:par>
                                <p:cTn id="15" presetID="12" presetClass="entr" presetSubtype="4" fill="hold" grpId="0" nodeType="afterEffect">
                                  <p:stCondLst>
                                    <p:cond delay="0"/>
                                  </p:stCondLst>
                                  <p:childTnLst>
                                    <p:set>
                                      <p:cBhvr>
                                        <p:cTn id="16" dur="1" fill="hold">
                                          <p:stCondLst>
                                            <p:cond delay="0"/>
                                          </p:stCondLst>
                                        </p:cTn>
                                        <p:tgtEl>
                                          <p:spTgt spid="41">
                                            <p:graphicEl>
                                              <a:chart seriesIdx="0" categoryIdx="1" bldStep="ptInSeries"/>
                                            </p:graphicEl>
                                          </p:spTgt>
                                        </p:tgtEl>
                                        <p:attrNameLst>
                                          <p:attrName>style.visibility</p:attrName>
                                        </p:attrNameLst>
                                      </p:cBhvr>
                                      <p:to>
                                        <p:strVal val="visible"/>
                                      </p:to>
                                    </p:set>
                                    <p:anim calcmode="lin" valueType="num">
                                      <p:cBhvr additive="base">
                                        <p:cTn id="17" dur="500"/>
                                        <p:tgtEl>
                                          <p:spTgt spid="41">
                                            <p:graphicEl>
                                              <a:chart seriesIdx="0" categoryIdx="1" bldStep="ptInSeries"/>
                                            </p:graphicEl>
                                          </p:spTgt>
                                        </p:tgtEl>
                                        <p:attrNameLst>
                                          <p:attrName>ppt_y</p:attrName>
                                        </p:attrNameLst>
                                      </p:cBhvr>
                                      <p:tavLst>
                                        <p:tav tm="0">
                                          <p:val>
                                            <p:strVal val="#ppt_y+#ppt_h*1.125000"/>
                                          </p:val>
                                        </p:tav>
                                        <p:tav tm="100000">
                                          <p:val>
                                            <p:strVal val="#ppt_y"/>
                                          </p:val>
                                        </p:tav>
                                      </p:tavLst>
                                    </p:anim>
                                    <p:animEffect transition="in" filter="wipe(up)">
                                      <p:cBhvr>
                                        <p:cTn id="18" dur="500"/>
                                        <p:tgtEl>
                                          <p:spTgt spid="41">
                                            <p:graphicEl>
                                              <a:chart seriesIdx="0" categoryIdx="1" bldStep="ptInSeries"/>
                                            </p:graphicEl>
                                          </p:spTgt>
                                        </p:tgtEl>
                                      </p:cBhvr>
                                    </p:animEffect>
                                  </p:childTnLst>
                                </p:cTn>
                              </p:par>
                            </p:childTnLst>
                          </p:cTn>
                        </p:par>
                        <p:par>
                          <p:cTn id="19" fill="hold">
                            <p:stCondLst>
                              <p:cond delay="1500"/>
                            </p:stCondLst>
                            <p:childTnLst>
                              <p:par>
                                <p:cTn id="20" presetID="12" presetClass="entr" presetSubtype="4" fill="hold" grpId="0" nodeType="afterEffect">
                                  <p:stCondLst>
                                    <p:cond delay="0"/>
                                  </p:stCondLst>
                                  <p:childTnLst>
                                    <p:set>
                                      <p:cBhvr>
                                        <p:cTn id="21" dur="1" fill="hold">
                                          <p:stCondLst>
                                            <p:cond delay="0"/>
                                          </p:stCondLst>
                                        </p:cTn>
                                        <p:tgtEl>
                                          <p:spTgt spid="41">
                                            <p:graphicEl>
                                              <a:chart seriesIdx="0" categoryIdx="2" bldStep="ptInSeries"/>
                                            </p:graphicEl>
                                          </p:spTgt>
                                        </p:tgtEl>
                                        <p:attrNameLst>
                                          <p:attrName>style.visibility</p:attrName>
                                        </p:attrNameLst>
                                      </p:cBhvr>
                                      <p:to>
                                        <p:strVal val="visible"/>
                                      </p:to>
                                    </p:set>
                                    <p:anim calcmode="lin" valueType="num">
                                      <p:cBhvr additive="base">
                                        <p:cTn id="22" dur="500"/>
                                        <p:tgtEl>
                                          <p:spTgt spid="41">
                                            <p:graphicEl>
                                              <a:chart seriesIdx="0" categoryIdx="2" bldStep="ptInSeries"/>
                                            </p:graphicEl>
                                          </p:spTgt>
                                        </p:tgtEl>
                                        <p:attrNameLst>
                                          <p:attrName>ppt_y</p:attrName>
                                        </p:attrNameLst>
                                      </p:cBhvr>
                                      <p:tavLst>
                                        <p:tav tm="0">
                                          <p:val>
                                            <p:strVal val="#ppt_y+#ppt_h*1.125000"/>
                                          </p:val>
                                        </p:tav>
                                        <p:tav tm="100000">
                                          <p:val>
                                            <p:strVal val="#ppt_y"/>
                                          </p:val>
                                        </p:tav>
                                      </p:tavLst>
                                    </p:anim>
                                    <p:animEffect transition="in" filter="wipe(up)">
                                      <p:cBhvr>
                                        <p:cTn id="23" dur="500"/>
                                        <p:tgtEl>
                                          <p:spTgt spid="41">
                                            <p:graphicEl>
                                              <a:chart seriesIdx="0" categoryIdx="2" bldStep="ptInSeries"/>
                                            </p:graphicEl>
                                          </p:spTgt>
                                        </p:tgtEl>
                                      </p:cBhvr>
                                    </p:animEffect>
                                  </p:childTnLst>
                                </p:cTn>
                              </p:par>
                            </p:childTnLst>
                          </p:cTn>
                        </p:par>
                        <p:par>
                          <p:cTn id="24" fill="hold">
                            <p:stCondLst>
                              <p:cond delay="2000"/>
                            </p:stCondLst>
                            <p:childTnLst>
                              <p:par>
                                <p:cTn id="25" presetID="12" presetClass="entr" presetSubtype="4" fill="hold" grpId="0" nodeType="afterEffect">
                                  <p:stCondLst>
                                    <p:cond delay="0"/>
                                  </p:stCondLst>
                                  <p:childTnLst>
                                    <p:set>
                                      <p:cBhvr>
                                        <p:cTn id="26" dur="1" fill="hold">
                                          <p:stCondLst>
                                            <p:cond delay="0"/>
                                          </p:stCondLst>
                                        </p:cTn>
                                        <p:tgtEl>
                                          <p:spTgt spid="41">
                                            <p:graphicEl>
                                              <a:chart seriesIdx="0" categoryIdx="3" bldStep="ptInSeries"/>
                                            </p:graphicEl>
                                          </p:spTgt>
                                        </p:tgtEl>
                                        <p:attrNameLst>
                                          <p:attrName>style.visibility</p:attrName>
                                        </p:attrNameLst>
                                      </p:cBhvr>
                                      <p:to>
                                        <p:strVal val="visible"/>
                                      </p:to>
                                    </p:set>
                                    <p:anim calcmode="lin" valueType="num">
                                      <p:cBhvr additive="base">
                                        <p:cTn id="27" dur="500"/>
                                        <p:tgtEl>
                                          <p:spTgt spid="41">
                                            <p:graphicEl>
                                              <a:chart seriesIdx="0" categoryIdx="3" bldStep="ptInSeries"/>
                                            </p:graphicEl>
                                          </p:spTgt>
                                        </p:tgtEl>
                                        <p:attrNameLst>
                                          <p:attrName>ppt_y</p:attrName>
                                        </p:attrNameLst>
                                      </p:cBhvr>
                                      <p:tavLst>
                                        <p:tav tm="0">
                                          <p:val>
                                            <p:strVal val="#ppt_y+#ppt_h*1.125000"/>
                                          </p:val>
                                        </p:tav>
                                        <p:tav tm="100000">
                                          <p:val>
                                            <p:strVal val="#ppt_y"/>
                                          </p:val>
                                        </p:tav>
                                      </p:tavLst>
                                    </p:anim>
                                    <p:animEffect transition="in" filter="wipe(up)">
                                      <p:cBhvr>
                                        <p:cTn id="28" dur="500"/>
                                        <p:tgtEl>
                                          <p:spTgt spid="41">
                                            <p:graphicEl>
                                              <a:chart seriesIdx="0" categoryIdx="3" bldStep="ptInSeries"/>
                                            </p:graphicEl>
                                          </p:spTgt>
                                        </p:tgtEl>
                                      </p:cBhvr>
                                    </p:animEffect>
                                  </p:childTnLst>
                                </p:cTn>
                              </p:par>
                            </p:childTnLst>
                          </p:cTn>
                        </p:par>
                        <p:par>
                          <p:cTn id="29" fill="hold">
                            <p:stCondLst>
                              <p:cond delay="2500"/>
                            </p:stCondLst>
                            <p:childTnLst>
                              <p:par>
                                <p:cTn id="30" presetID="12" presetClass="entr" presetSubtype="4" fill="hold" grpId="0" nodeType="afterEffect">
                                  <p:stCondLst>
                                    <p:cond delay="0"/>
                                  </p:stCondLst>
                                  <p:childTnLst>
                                    <p:set>
                                      <p:cBhvr>
                                        <p:cTn id="31" dur="1" fill="hold">
                                          <p:stCondLst>
                                            <p:cond delay="0"/>
                                          </p:stCondLst>
                                        </p:cTn>
                                        <p:tgtEl>
                                          <p:spTgt spid="41">
                                            <p:graphicEl>
                                              <a:chart seriesIdx="0" categoryIdx="4" bldStep="ptInSeries"/>
                                            </p:graphicEl>
                                          </p:spTgt>
                                        </p:tgtEl>
                                        <p:attrNameLst>
                                          <p:attrName>style.visibility</p:attrName>
                                        </p:attrNameLst>
                                      </p:cBhvr>
                                      <p:to>
                                        <p:strVal val="visible"/>
                                      </p:to>
                                    </p:set>
                                    <p:anim calcmode="lin" valueType="num">
                                      <p:cBhvr additive="base">
                                        <p:cTn id="32" dur="500"/>
                                        <p:tgtEl>
                                          <p:spTgt spid="41">
                                            <p:graphicEl>
                                              <a:chart seriesIdx="0" categoryIdx="4" bldStep="ptInSeries"/>
                                            </p:graphicEl>
                                          </p:spTgt>
                                        </p:tgtEl>
                                        <p:attrNameLst>
                                          <p:attrName>ppt_y</p:attrName>
                                        </p:attrNameLst>
                                      </p:cBhvr>
                                      <p:tavLst>
                                        <p:tav tm="0">
                                          <p:val>
                                            <p:strVal val="#ppt_y+#ppt_h*1.125000"/>
                                          </p:val>
                                        </p:tav>
                                        <p:tav tm="100000">
                                          <p:val>
                                            <p:strVal val="#ppt_y"/>
                                          </p:val>
                                        </p:tav>
                                      </p:tavLst>
                                    </p:anim>
                                    <p:animEffect transition="in" filter="wipe(up)">
                                      <p:cBhvr>
                                        <p:cTn id="33" dur="500"/>
                                        <p:tgtEl>
                                          <p:spTgt spid="41">
                                            <p:graphicEl>
                                              <a:chart seriesIdx="0" categoryIdx="4" bldStep="ptInSeries"/>
                                            </p:graphicEl>
                                          </p:spTgt>
                                        </p:tgtEl>
                                      </p:cBhvr>
                                    </p:animEffect>
                                  </p:childTnLst>
                                </p:cTn>
                              </p:par>
                            </p:childTnLst>
                          </p:cTn>
                        </p:par>
                        <p:par>
                          <p:cTn id="34" fill="hold">
                            <p:stCondLst>
                              <p:cond delay="3000"/>
                            </p:stCondLst>
                            <p:childTnLst>
                              <p:par>
                                <p:cTn id="35" presetID="12" presetClass="entr" presetSubtype="4" fill="hold" grpId="0" nodeType="afterEffect">
                                  <p:stCondLst>
                                    <p:cond delay="0"/>
                                  </p:stCondLst>
                                  <p:childTnLst>
                                    <p:set>
                                      <p:cBhvr>
                                        <p:cTn id="36" dur="1" fill="hold">
                                          <p:stCondLst>
                                            <p:cond delay="0"/>
                                          </p:stCondLst>
                                        </p:cTn>
                                        <p:tgtEl>
                                          <p:spTgt spid="41">
                                            <p:graphicEl>
                                              <a:chart seriesIdx="0" categoryIdx="5" bldStep="ptInSeries"/>
                                            </p:graphicEl>
                                          </p:spTgt>
                                        </p:tgtEl>
                                        <p:attrNameLst>
                                          <p:attrName>style.visibility</p:attrName>
                                        </p:attrNameLst>
                                      </p:cBhvr>
                                      <p:to>
                                        <p:strVal val="visible"/>
                                      </p:to>
                                    </p:set>
                                    <p:anim calcmode="lin" valueType="num">
                                      <p:cBhvr additive="base">
                                        <p:cTn id="37" dur="500"/>
                                        <p:tgtEl>
                                          <p:spTgt spid="41">
                                            <p:graphicEl>
                                              <a:chart seriesIdx="0" categoryIdx="5" bldStep="ptInSeries"/>
                                            </p:graphicEl>
                                          </p:spTgt>
                                        </p:tgtEl>
                                        <p:attrNameLst>
                                          <p:attrName>ppt_y</p:attrName>
                                        </p:attrNameLst>
                                      </p:cBhvr>
                                      <p:tavLst>
                                        <p:tav tm="0">
                                          <p:val>
                                            <p:strVal val="#ppt_y+#ppt_h*1.125000"/>
                                          </p:val>
                                        </p:tav>
                                        <p:tav tm="100000">
                                          <p:val>
                                            <p:strVal val="#ppt_y"/>
                                          </p:val>
                                        </p:tav>
                                      </p:tavLst>
                                    </p:anim>
                                    <p:animEffect transition="in" filter="wipe(up)">
                                      <p:cBhvr>
                                        <p:cTn id="38" dur="500"/>
                                        <p:tgtEl>
                                          <p:spTgt spid="41">
                                            <p:graphicEl>
                                              <a:chart seriesIdx="0" categoryIdx="5" bldStep="ptInSeries"/>
                                            </p:graphicEl>
                                          </p:spTgt>
                                        </p:tgtEl>
                                      </p:cBhvr>
                                    </p:animEffect>
                                  </p:childTnLst>
                                </p:cTn>
                              </p:par>
                            </p:childTnLst>
                          </p:cTn>
                        </p:par>
                        <p:par>
                          <p:cTn id="39" fill="hold">
                            <p:stCondLst>
                              <p:cond delay="3500"/>
                            </p:stCondLst>
                            <p:childTnLst>
                              <p:par>
                                <p:cTn id="40" presetID="12" presetClass="entr" presetSubtype="4" fill="hold" grpId="0" nodeType="afterEffect">
                                  <p:stCondLst>
                                    <p:cond delay="0"/>
                                  </p:stCondLst>
                                  <p:childTnLst>
                                    <p:set>
                                      <p:cBhvr>
                                        <p:cTn id="41" dur="1" fill="hold">
                                          <p:stCondLst>
                                            <p:cond delay="0"/>
                                          </p:stCondLst>
                                        </p:cTn>
                                        <p:tgtEl>
                                          <p:spTgt spid="41">
                                            <p:graphicEl>
                                              <a:chart seriesIdx="0" categoryIdx="6" bldStep="ptInSeries"/>
                                            </p:graphicEl>
                                          </p:spTgt>
                                        </p:tgtEl>
                                        <p:attrNameLst>
                                          <p:attrName>style.visibility</p:attrName>
                                        </p:attrNameLst>
                                      </p:cBhvr>
                                      <p:to>
                                        <p:strVal val="visible"/>
                                      </p:to>
                                    </p:set>
                                    <p:anim calcmode="lin" valueType="num">
                                      <p:cBhvr additive="base">
                                        <p:cTn id="42" dur="500"/>
                                        <p:tgtEl>
                                          <p:spTgt spid="41">
                                            <p:graphicEl>
                                              <a:chart seriesIdx="0" categoryIdx="6" bldStep="ptInSeries"/>
                                            </p:graphicEl>
                                          </p:spTgt>
                                        </p:tgtEl>
                                        <p:attrNameLst>
                                          <p:attrName>ppt_y</p:attrName>
                                        </p:attrNameLst>
                                      </p:cBhvr>
                                      <p:tavLst>
                                        <p:tav tm="0">
                                          <p:val>
                                            <p:strVal val="#ppt_y+#ppt_h*1.125000"/>
                                          </p:val>
                                        </p:tav>
                                        <p:tav tm="100000">
                                          <p:val>
                                            <p:strVal val="#ppt_y"/>
                                          </p:val>
                                        </p:tav>
                                      </p:tavLst>
                                    </p:anim>
                                    <p:animEffect transition="in" filter="wipe(up)">
                                      <p:cBhvr>
                                        <p:cTn id="43" dur="500"/>
                                        <p:tgtEl>
                                          <p:spTgt spid="41">
                                            <p:graphicEl>
                                              <a:chart seriesIdx="0" categoryIdx="6" bldStep="ptInSeries"/>
                                            </p:graphicEl>
                                          </p:spTgt>
                                        </p:tgtEl>
                                      </p:cBhvr>
                                    </p:animEffect>
                                  </p:childTnLst>
                                </p:cTn>
                              </p:par>
                            </p:childTnLst>
                          </p:cTn>
                        </p:par>
                        <p:par>
                          <p:cTn id="44" fill="hold">
                            <p:stCondLst>
                              <p:cond delay="4000"/>
                            </p:stCondLst>
                            <p:childTnLst>
                              <p:par>
                                <p:cTn id="45" presetID="12" presetClass="entr" presetSubtype="4" fill="hold" grpId="0" nodeType="afterEffect">
                                  <p:stCondLst>
                                    <p:cond delay="0"/>
                                  </p:stCondLst>
                                  <p:childTnLst>
                                    <p:set>
                                      <p:cBhvr>
                                        <p:cTn id="46" dur="1" fill="hold">
                                          <p:stCondLst>
                                            <p:cond delay="0"/>
                                          </p:stCondLst>
                                        </p:cTn>
                                        <p:tgtEl>
                                          <p:spTgt spid="41">
                                            <p:graphicEl>
                                              <a:chart seriesIdx="0" categoryIdx="7" bldStep="ptInSeries"/>
                                            </p:graphicEl>
                                          </p:spTgt>
                                        </p:tgtEl>
                                        <p:attrNameLst>
                                          <p:attrName>style.visibility</p:attrName>
                                        </p:attrNameLst>
                                      </p:cBhvr>
                                      <p:to>
                                        <p:strVal val="visible"/>
                                      </p:to>
                                    </p:set>
                                    <p:anim calcmode="lin" valueType="num">
                                      <p:cBhvr additive="base">
                                        <p:cTn id="47" dur="500"/>
                                        <p:tgtEl>
                                          <p:spTgt spid="41">
                                            <p:graphicEl>
                                              <a:chart seriesIdx="0" categoryIdx="7" bldStep="ptInSeries"/>
                                            </p:graphicEl>
                                          </p:spTgt>
                                        </p:tgtEl>
                                        <p:attrNameLst>
                                          <p:attrName>ppt_y</p:attrName>
                                        </p:attrNameLst>
                                      </p:cBhvr>
                                      <p:tavLst>
                                        <p:tav tm="0">
                                          <p:val>
                                            <p:strVal val="#ppt_y+#ppt_h*1.125000"/>
                                          </p:val>
                                        </p:tav>
                                        <p:tav tm="100000">
                                          <p:val>
                                            <p:strVal val="#ppt_y"/>
                                          </p:val>
                                        </p:tav>
                                      </p:tavLst>
                                    </p:anim>
                                    <p:animEffect transition="in" filter="wipe(up)">
                                      <p:cBhvr>
                                        <p:cTn id="48" dur="500"/>
                                        <p:tgtEl>
                                          <p:spTgt spid="41">
                                            <p:graphicEl>
                                              <a:chart seriesIdx="0" categoryIdx="7" bldStep="ptInSeries"/>
                                            </p:graphicEl>
                                          </p:spTgt>
                                        </p:tgtEl>
                                      </p:cBhvr>
                                    </p:animEffect>
                                  </p:childTnLst>
                                </p:cTn>
                              </p:par>
                            </p:childTnLst>
                          </p:cTn>
                        </p:par>
                        <p:par>
                          <p:cTn id="49" fill="hold">
                            <p:stCondLst>
                              <p:cond delay="4500"/>
                            </p:stCondLst>
                            <p:childTnLst>
                              <p:par>
                                <p:cTn id="50" presetID="12" presetClass="entr" presetSubtype="4" fill="hold" grpId="0" nodeType="afterEffect">
                                  <p:stCondLst>
                                    <p:cond delay="0"/>
                                  </p:stCondLst>
                                  <p:childTnLst>
                                    <p:set>
                                      <p:cBhvr>
                                        <p:cTn id="51" dur="1" fill="hold">
                                          <p:stCondLst>
                                            <p:cond delay="0"/>
                                          </p:stCondLst>
                                        </p:cTn>
                                        <p:tgtEl>
                                          <p:spTgt spid="41">
                                            <p:graphicEl>
                                              <a:chart seriesIdx="0" categoryIdx="8" bldStep="ptInSeries"/>
                                            </p:graphicEl>
                                          </p:spTgt>
                                        </p:tgtEl>
                                        <p:attrNameLst>
                                          <p:attrName>style.visibility</p:attrName>
                                        </p:attrNameLst>
                                      </p:cBhvr>
                                      <p:to>
                                        <p:strVal val="visible"/>
                                      </p:to>
                                    </p:set>
                                    <p:anim calcmode="lin" valueType="num">
                                      <p:cBhvr additive="base">
                                        <p:cTn id="52" dur="500"/>
                                        <p:tgtEl>
                                          <p:spTgt spid="41">
                                            <p:graphicEl>
                                              <a:chart seriesIdx="0" categoryIdx="8" bldStep="ptInSeries"/>
                                            </p:graphicEl>
                                          </p:spTgt>
                                        </p:tgtEl>
                                        <p:attrNameLst>
                                          <p:attrName>ppt_y</p:attrName>
                                        </p:attrNameLst>
                                      </p:cBhvr>
                                      <p:tavLst>
                                        <p:tav tm="0">
                                          <p:val>
                                            <p:strVal val="#ppt_y+#ppt_h*1.125000"/>
                                          </p:val>
                                        </p:tav>
                                        <p:tav tm="100000">
                                          <p:val>
                                            <p:strVal val="#ppt_y"/>
                                          </p:val>
                                        </p:tav>
                                      </p:tavLst>
                                    </p:anim>
                                    <p:animEffect transition="in" filter="wipe(up)">
                                      <p:cBhvr>
                                        <p:cTn id="53" dur="500"/>
                                        <p:tgtEl>
                                          <p:spTgt spid="41">
                                            <p:graphicEl>
                                              <a:chart seriesIdx="0" categoryIdx="8" bldStep="ptInSeries"/>
                                            </p:graphicEl>
                                          </p:spTgt>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86"/>
                                        </p:tgtEl>
                                        <p:attrNameLst>
                                          <p:attrName>style.visibility</p:attrName>
                                        </p:attrNameLst>
                                      </p:cBhvr>
                                      <p:to>
                                        <p:strVal val="visible"/>
                                      </p:to>
                                    </p:set>
                                    <p:animEffect transition="in" filter="wipe(left)">
                                      <p:cBhvr>
                                        <p:cTn id="58" dur="500"/>
                                        <p:tgtEl>
                                          <p:spTgt spid="86"/>
                                        </p:tgtEl>
                                      </p:cBhvr>
                                    </p:animEffect>
                                  </p:childTnLst>
                                  <p:subTnLst>
                                    <p:set>
                                      <p:cBhvr override="childStyle">
                                        <p:cTn dur="1" fill="hold" display="0" masterRel="nextClick" afterEffect="1"/>
                                        <p:tgtEl>
                                          <p:spTgt spid="86"/>
                                        </p:tgtEl>
                                        <p:attrNameLst>
                                          <p:attrName>style.visibility</p:attrName>
                                        </p:attrNameLst>
                                      </p:cBhvr>
                                      <p:to>
                                        <p:strVal val="hidden"/>
                                      </p:to>
                                    </p:set>
                                  </p:subTnLst>
                                </p:cTn>
                              </p:par>
                            </p:childTnLst>
                          </p:cTn>
                        </p:par>
                      </p:childTnLst>
                    </p:cTn>
                  </p:par>
                  <p:par>
                    <p:cTn id="59" fill="hold">
                      <p:stCondLst>
                        <p:cond delay="indefinite"/>
                      </p:stCondLst>
                      <p:childTnLst>
                        <p:par>
                          <p:cTn id="60" fill="hold">
                            <p:stCondLst>
                              <p:cond delay="0"/>
                            </p:stCondLst>
                            <p:childTnLst>
                              <p:par>
                                <p:cTn id="61" presetID="12" presetClass="entr" presetSubtype="4" fill="hold" grpId="0" nodeType="clickEffect">
                                  <p:stCondLst>
                                    <p:cond delay="0"/>
                                  </p:stCondLst>
                                  <p:childTnLst>
                                    <p:set>
                                      <p:cBhvr>
                                        <p:cTn id="62" dur="1" fill="hold">
                                          <p:stCondLst>
                                            <p:cond delay="0"/>
                                          </p:stCondLst>
                                        </p:cTn>
                                        <p:tgtEl>
                                          <p:spTgt spid="41">
                                            <p:graphicEl>
                                              <a:chart seriesIdx="1" categoryIdx="0" bldStep="ptInSeries"/>
                                            </p:graphicEl>
                                          </p:spTgt>
                                        </p:tgtEl>
                                        <p:attrNameLst>
                                          <p:attrName>style.visibility</p:attrName>
                                        </p:attrNameLst>
                                      </p:cBhvr>
                                      <p:to>
                                        <p:strVal val="visible"/>
                                      </p:to>
                                    </p:set>
                                    <p:anim calcmode="lin" valueType="num">
                                      <p:cBhvr additive="base">
                                        <p:cTn id="63" dur="500"/>
                                        <p:tgtEl>
                                          <p:spTgt spid="41">
                                            <p:graphicEl>
                                              <a:chart seriesIdx="1" categoryIdx="0" bldStep="ptInSeries"/>
                                            </p:graphicEl>
                                          </p:spTgt>
                                        </p:tgtEl>
                                        <p:attrNameLst>
                                          <p:attrName>ppt_y</p:attrName>
                                        </p:attrNameLst>
                                      </p:cBhvr>
                                      <p:tavLst>
                                        <p:tav tm="0">
                                          <p:val>
                                            <p:strVal val="#ppt_y+#ppt_h*1.125000"/>
                                          </p:val>
                                        </p:tav>
                                        <p:tav tm="100000">
                                          <p:val>
                                            <p:strVal val="#ppt_y"/>
                                          </p:val>
                                        </p:tav>
                                      </p:tavLst>
                                    </p:anim>
                                    <p:animEffect transition="in" filter="wipe(up)">
                                      <p:cBhvr>
                                        <p:cTn id="64" dur="500"/>
                                        <p:tgtEl>
                                          <p:spTgt spid="41">
                                            <p:graphicEl>
                                              <a:chart seriesIdx="1" categoryIdx="0" bldStep="ptInSeries"/>
                                            </p:graphicEl>
                                          </p:spTgt>
                                        </p:tgtEl>
                                      </p:cBhvr>
                                    </p:animEffect>
                                  </p:childTnLst>
                                </p:cTn>
                              </p:par>
                            </p:childTnLst>
                          </p:cTn>
                        </p:par>
                        <p:par>
                          <p:cTn id="65" fill="hold">
                            <p:stCondLst>
                              <p:cond delay="500"/>
                            </p:stCondLst>
                            <p:childTnLst>
                              <p:par>
                                <p:cTn id="66" presetID="12" presetClass="entr" presetSubtype="4" fill="hold" grpId="0" nodeType="afterEffect">
                                  <p:stCondLst>
                                    <p:cond delay="0"/>
                                  </p:stCondLst>
                                  <p:childTnLst>
                                    <p:set>
                                      <p:cBhvr>
                                        <p:cTn id="67" dur="1" fill="hold">
                                          <p:stCondLst>
                                            <p:cond delay="0"/>
                                          </p:stCondLst>
                                        </p:cTn>
                                        <p:tgtEl>
                                          <p:spTgt spid="41">
                                            <p:graphicEl>
                                              <a:chart seriesIdx="1" categoryIdx="1" bldStep="ptInSeries"/>
                                            </p:graphicEl>
                                          </p:spTgt>
                                        </p:tgtEl>
                                        <p:attrNameLst>
                                          <p:attrName>style.visibility</p:attrName>
                                        </p:attrNameLst>
                                      </p:cBhvr>
                                      <p:to>
                                        <p:strVal val="visible"/>
                                      </p:to>
                                    </p:set>
                                    <p:anim calcmode="lin" valueType="num">
                                      <p:cBhvr additive="base">
                                        <p:cTn id="68" dur="500"/>
                                        <p:tgtEl>
                                          <p:spTgt spid="41">
                                            <p:graphicEl>
                                              <a:chart seriesIdx="1" categoryIdx="1" bldStep="ptInSeries"/>
                                            </p:graphicEl>
                                          </p:spTgt>
                                        </p:tgtEl>
                                        <p:attrNameLst>
                                          <p:attrName>ppt_y</p:attrName>
                                        </p:attrNameLst>
                                      </p:cBhvr>
                                      <p:tavLst>
                                        <p:tav tm="0">
                                          <p:val>
                                            <p:strVal val="#ppt_y+#ppt_h*1.125000"/>
                                          </p:val>
                                        </p:tav>
                                        <p:tav tm="100000">
                                          <p:val>
                                            <p:strVal val="#ppt_y"/>
                                          </p:val>
                                        </p:tav>
                                      </p:tavLst>
                                    </p:anim>
                                    <p:animEffect transition="in" filter="wipe(up)">
                                      <p:cBhvr>
                                        <p:cTn id="69" dur="500"/>
                                        <p:tgtEl>
                                          <p:spTgt spid="41">
                                            <p:graphicEl>
                                              <a:chart seriesIdx="1" categoryIdx="1" bldStep="ptInSeries"/>
                                            </p:graphicEl>
                                          </p:spTgt>
                                        </p:tgtEl>
                                      </p:cBhvr>
                                    </p:animEffect>
                                  </p:childTnLst>
                                </p:cTn>
                              </p:par>
                            </p:childTnLst>
                          </p:cTn>
                        </p:par>
                        <p:par>
                          <p:cTn id="70" fill="hold">
                            <p:stCondLst>
                              <p:cond delay="1000"/>
                            </p:stCondLst>
                            <p:childTnLst>
                              <p:par>
                                <p:cTn id="71" presetID="12" presetClass="entr" presetSubtype="4" fill="hold" grpId="0" nodeType="afterEffect">
                                  <p:stCondLst>
                                    <p:cond delay="0"/>
                                  </p:stCondLst>
                                  <p:childTnLst>
                                    <p:set>
                                      <p:cBhvr>
                                        <p:cTn id="72" dur="1" fill="hold">
                                          <p:stCondLst>
                                            <p:cond delay="0"/>
                                          </p:stCondLst>
                                        </p:cTn>
                                        <p:tgtEl>
                                          <p:spTgt spid="41">
                                            <p:graphicEl>
                                              <a:chart seriesIdx="1" categoryIdx="2" bldStep="ptInSeries"/>
                                            </p:graphicEl>
                                          </p:spTgt>
                                        </p:tgtEl>
                                        <p:attrNameLst>
                                          <p:attrName>style.visibility</p:attrName>
                                        </p:attrNameLst>
                                      </p:cBhvr>
                                      <p:to>
                                        <p:strVal val="visible"/>
                                      </p:to>
                                    </p:set>
                                    <p:anim calcmode="lin" valueType="num">
                                      <p:cBhvr additive="base">
                                        <p:cTn id="73" dur="500"/>
                                        <p:tgtEl>
                                          <p:spTgt spid="41">
                                            <p:graphicEl>
                                              <a:chart seriesIdx="1" categoryIdx="2" bldStep="ptInSeries"/>
                                            </p:graphicEl>
                                          </p:spTgt>
                                        </p:tgtEl>
                                        <p:attrNameLst>
                                          <p:attrName>ppt_y</p:attrName>
                                        </p:attrNameLst>
                                      </p:cBhvr>
                                      <p:tavLst>
                                        <p:tav tm="0">
                                          <p:val>
                                            <p:strVal val="#ppt_y+#ppt_h*1.125000"/>
                                          </p:val>
                                        </p:tav>
                                        <p:tav tm="100000">
                                          <p:val>
                                            <p:strVal val="#ppt_y"/>
                                          </p:val>
                                        </p:tav>
                                      </p:tavLst>
                                    </p:anim>
                                    <p:animEffect transition="in" filter="wipe(up)">
                                      <p:cBhvr>
                                        <p:cTn id="74" dur="500"/>
                                        <p:tgtEl>
                                          <p:spTgt spid="41">
                                            <p:graphicEl>
                                              <a:chart seriesIdx="1" categoryIdx="2" bldStep="ptInSeries"/>
                                            </p:graphicEl>
                                          </p:spTgt>
                                        </p:tgtEl>
                                      </p:cBhvr>
                                    </p:animEffect>
                                  </p:childTnLst>
                                </p:cTn>
                              </p:par>
                            </p:childTnLst>
                          </p:cTn>
                        </p:par>
                        <p:par>
                          <p:cTn id="75" fill="hold">
                            <p:stCondLst>
                              <p:cond delay="1500"/>
                            </p:stCondLst>
                            <p:childTnLst>
                              <p:par>
                                <p:cTn id="76" presetID="12" presetClass="entr" presetSubtype="4" fill="hold" grpId="0" nodeType="afterEffect">
                                  <p:stCondLst>
                                    <p:cond delay="0"/>
                                  </p:stCondLst>
                                  <p:childTnLst>
                                    <p:set>
                                      <p:cBhvr>
                                        <p:cTn id="77" dur="1" fill="hold">
                                          <p:stCondLst>
                                            <p:cond delay="0"/>
                                          </p:stCondLst>
                                        </p:cTn>
                                        <p:tgtEl>
                                          <p:spTgt spid="41">
                                            <p:graphicEl>
                                              <a:chart seriesIdx="1" categoryIdx="3" bldStep="ptInSeries"/>
                                            </p:graphicEl>
                                          </p:spTgt>
                                        </p:tgtEl>
                                        <p:attrNameLst>
                                          <p:attrName>style.visibility</p:attrName>
                                        </p:attrNameLst>
                                      </p:cBhvr>
                                      <p:to>
                                        <p:strVal val="visible"/>
                                      </p:to>
                                    </p:set>
                                    <p:anim calcmode="lin" valueType="num">
                                      <p:cBhvr additive="base">
                                        <p:cTn id="78" dur="500"/>
                                        <p:tgtEl>
                                          <p:spTgt spid="41">
                                            <p:graphicEl>
                                              <a:chart seriesIdx="1" categoryIdx="3" bldStep="ptInSeries"/>
                                            </p:graphicEl>
                                          </p:spTgt>
                                        </p:tgtEl>
                                        <p:attrNameLst>
                                          <p:attrName>ppt_y</p:attrName>
                                        </p:attrNameLst>
                                      </p:cBhvr>
                                      <p:tavLst>
                                        <p:tav tm="0">
                                          <p:val>
                                            <p:strVal val="#ppt_y+#ppt_h*1.125000"/>
                                          </p:val>
                                        </p:tav>
                                        <p:tav tm="100000">
                                          <p:val>
                                            <p:strVal val="#ppt_y"/>
                                          </p:val>
                                        </p:tav>
                                      </p:tavLst>
                                    </p:anim>
                                    <p:animEffect transition="in" filter="wipe(up)">
                                      <p:cBhvr>
                                        <p:cTn id="79" dur="500"/>
                                        <p:tgtEl>
                                          <p:spTgt spid="41">
                                            <p:graphicEl>
                                              <a:chart seriesIdx="1" categoryIdx="3" bldStep="ptInSeries"/>
                                            </p:graphicEl>
                                          </p:spTgt>
                                        </p:tgtEl>
                                      </p:cBhvr>
                                    </p:animEffect>
                                  </p:childTnLst>
                                </p:cTn>
                              </p:par>
                            </p:childTnLst>
                          </p:cTn>
                        </p:par>
                        <p:par>
                          <p:cTn id="80" fill="hold">
                            <p:stCondLst>
                              <p:cond delay="2000"/>
                            </p:stCondLst>
                            <p:childTnLst>
                              <p:par>
                                <p:cTn id="81" presetID="12" presetClass="entr" presetSubtype="4" fill="hold" grpId="0" nodeType="afterEffect">
                                  <p:stCondLst>
                                    <p:cond delay="0"/>
                                  </p:stCondLst>
                                  <p:childTnLst>
                                    <p:set>
                                      <p:cBhvr>
                                        <p:cTn id="82" dur="1" fill="hold">
                                          <p:stCondLst>
                                            <p:cond delay="0"/>
                                          </p:stCondLst>
                                        </p:cTn>
                                        <p:tgtEl>
                                          <p:spTgt spid="41">
                                            <p:graphicEl>
                                              <a:chart seriesIdx="1" categoryIdx="4" bldStep="ptInSeries"/>
                                            </p:graphicEl>
                                          </p:spTgt>
                                        </p:tgtEl>
                                        <p:attrNameLst>
                                          <p:attrName>style.visibility</p:attrName>
                                        </p:attrNameLst>
                                      </p:cBhvr>
                                      <p:to>
                                        <p:strVal val="visible"/>
                                      </p:to>
                                    </p:set>
                                    <p:anim calcmode="lin" valueType="num">
                                      <p:cBhvr additive="base">
                                        <p:cTn id="83" dur="500"/>
                                        <p:tgtEl>
                                          <p:spTgt spid="41">
                                            <p:graphicEl>
                                              <a:chart seriesIdx="1" categoryIdx="4" bldStep="ptInSeries"/>
                                            </p:graphicEl>
                                          </p:spTgt>
                                        </p:tgtEl>
                                        <p:attrNameLst>
                                          <p:attrName>ppt_y</p:attrName>
                                        </p:attrNameLst>
                                      </p:cBhvr>
                                      <p:tavLst>
                                        <p:tav tm="0">
                                          <p:val>
                                            <p:strVal val="#ppt_y+#ppt_h*1.125000"/>
                                          </p:val>
                                        </p:tav>
                                        <p:tav tm="100000">
                                          <p:val>
                                            <p:strVal val="#ppt_y"/>
                                          </p:val>
                                        </p:tav>
                                      </p:tavLst>
                                    </p:anim>
                                    <p:animEffect transition="in" filter="wipe(up)">
                                      <p:cBhvr>
                                        <p:cTn id="84" dur="500"/>
                                        <p:tgtEl>
                                          <p:spTgt spid="41">
                                            <p:graphicEl>
                                              <a:chart seriesIdx="1" categoryIdx="4" bldStep="ptInSeries"/>
                                            </p:graphicEl>
                                          </p:spTgt>
                                        </p:tgtEl>
                                      </p:cBhvr>
                                    </p:animEffect>
                                  </p:childTnLst>
                                </p:cTn>
                              </p:par>
                            </p:childTnLst>
                          </p:cTn>
                        </p:par>
                        <p:par>
                          <p:cTn id="85" fill="hold">
                            <p:stCondLst>
                              <p:cond delay="2500"/>
                            </p:stCondLst>
                            <p:childTnLst>
                              <p:par>
                                <p:cTn id="86" presetID="12" presetClass="entr" presetSubtype="4" fill="hold" grpId="0" nodeType="afterEffect">
                                  <p:stCondLst>
                                    <p:cond delay="0"/>
                                  </p:stCondLst>
                                  <p:childTnLst>
                                    <p:set>
                                      <p:cBhvr>
                                        <p:cTn id="87" dur="1" fill="hold">
                                          <p:stCondLst>
                                            <p:cond delay="0"/>
                                          </p:stCondLst>
                                        </p:cTn>
                                        <p:tgtEl>
                                          <p:spTgt spid="41">
                                            <p:graphicEl>
                                              <a:chart seriesIdx="1" categoryIdx="5" bldStep="ptInSeries"/>
                                            </p:graphicEl>
                                          </p:spTgt>
                                        </p:tgtEl>
                                        <p:attrNameLst>
                                          <p:attrName>style.visibility</p:attrName>
                                        </p:attrNameLst>
                                      </p:cBhvr>
                                      <p:to>
                                        <p:strVal val="visible"/>
                                      </p:to>
                                    </p:set>
                                    <p:anim calcmode="lin" valueType="num">
                                      <p:cBhvr additive="base">
                                        <p:cTn id="88" dur="500"/>
                                        <p:tgtEl>
                                          <p:spTgt spid="41">
                                            <p:graphicEl>
                                              <a:chart seriesIdx="1" categoryIdx="5" bldStep="ptInSeries"/>
                                            </p:graphicEl>
                                          </p:spTgt>
                                        </p:tgtEl>
                                        <p:attrNameLst>
                                          <p:attrName>ppt_y</p:attrName>
                                        </p:attrNameLst>
                                      </p:cBhvr>
                                      <p:tavLst>
                                        <p:tav tm="0">
                                          <p:val>
                                            <p:strVal val="#ppt_y+#ppt_h*1.125000"/>
                                          </p:val>
                                        </p:tav>
                                        <p:tav tm="100000">
                                          <p:val>
                                            <p:strVal val="#ppt_y"/>
                                          </p:val>
                                        </p:tav>
                                      </p:tavLst>
                                    </p:anim>
                                    <p:animEffect transition="in" filter="wipe(up)">
                                      <p:cBhvr>
                                        <p:cTn id="89" dur="500"/>
                                        <p:tgtEl>
                                          <p:spTgt spid="41">
                                            <p:graphicEl>
                                              <a:chart seriesIdx="1" categoryIdx="5" bldStep="ptInSeries"/>
                                            </p:graphicEl>
                                          </p:spTgt>
                                        </p:tgtEl>
                                      </p:cBhvr>
                                    </p:animEffect>
                                  </p:childTnLst>
                                </p:cTn>
                              </p:par>
                            </p:childTnLst>
                          </p:cTn>
                        </p:par>
                        <p:par>
                          <p:cTn id="90" fill="hold">
                            <p:stCondLst>
                              <p:cond delay="3000"/>
                            </p:stCondLst>
                            <p:childTnLst>
                              <p:par>
                                <p:cTn id="91" presetID="12" presetClass="entr" presetSubtype="4" fill="hold" grpId="0" nodeType="afterEffect">
                                  <p:stCondLst>
                                    <p:cond delay="0"/>
                                  </p:stCondLst>
                                  <p:childTnLst>
                                    <p:set>
                                      <p:cBhvr>
                                        <p:cTn id="92" dur="1" fill="hold">
                                          <p:stCondLst>
                                            <p:cond delay="0"/>
                                          </p:stCondLst>
                                        </p:cTn>
                                        <p:tgtEl>
                                          <p:spTgt spid="41">
                                            <p:graphicEl>
                                              <a:chart seriesIdx="1" categoryIdx="6" bldStep="ptInSeries"/>
                                            </p:graphicEl>
                                          </p:spTgt>
                                        </p:tgtEl>
                                        <p:attrNameLst>
                                          <p:attrName>style.visibility</p:attrName>
                                        </p:attrNameLst>
                                      </p:cBhvr>
                                      <p:to>
                                        <p:strVal val="visible"/>
                                      </p:to>
                                    </p:set>
                                    <p:anim calcmode="lin" valueType="num">
                                      <p:cBhvr additive="base">
                                        <p:cTn id="93" dur="500"/>
                                        <p:tgtEl>
                                          <p:spTgt spid="41">
                                            <p:graphicEl>
                                              <a:chart seriesIdx="1" categoryIdx="6" bldStep="ptInSeries"/>
                                            </p:graphicEl>
                                          </p:spTgt>
                                        </p:tgtEl>
                                        <p:attrNameLst>
                                          <p:attrName>ppt_y</p:attrName>
                                        </p:attrNameLst>
                                      </p:cBhvr>
                                      <p:tavLst>
                                        <p:tav tm="0">
                                          <p:val>
                                            <p:strVal val="#ppt_y+#ppt_h*1.125000"/>
                                          </p:val>
                                        </p:tav>
                                        <p:tav tm="100000">
                                          <p:val>
                                            <p:strVal val="#ppt_y"/>
                                          </p:val>
                                        </p:tav>
                                      </p:tavLst>
                                    </p:anim>
                                    <p:animEffect transition="in" filter="wipe(up)">
                                      <p:cBhvr>
                                        <p:cTn id="94" dur="500"/>
                                        <p:tgtEl>
                                          <p:spTgt spid="41">
                                            <p:graphicEl>
                                              <a:chart seriesIdx="1" categoryIdx="6" bldStep="ptInSeries"/>
                                            </p:graphicEl>
                                          </p:spTgt>
                                        </p:tgtEl>
                                      </p:cBhvr>
                                    </p:animEffect>
                                  </p:childTnLst>
                                </p:cTn>
                              </p:par>
                            </p:childTnLst>
                          </p:cTn>
                        </p:par>
                        <p:par>
                          <p:cTn id="95" fill="hold">
                            <p:stCondLst>
                              <p:cond delay="3500"/>
                            </p:stCondLst>
                            <p:childTnLst>
                              <p:par>
                                <p:cTn id="96" presetID="12" presetClass="entr" presetSubtype="4" fill="hold" grpId="0" nodeType="afterEffect">
                                  <p:stCondLst>
                                    <p:cond delay="0"/>
                                  </p:stCondLst>
                                  <p:childTnLst>
                                    <p:set>
                                      <p:cBhvr>
                                        <p:cTn id="97" dur="1" fill="hold">
                                          <p:stCondLst>
                                            <p:cond delay="0"/>
                                          </p:stCondLst>
                                        </p:cTn>
                                        <p:tgtEl>
                                          <p:spTgt spid="41">
                                            <p:graphicEl>
                                              <a:chart seriesIdx="1" categoryIdx="7" bldStep="ptInSeries"/>
                                            </p:graphicEl>
                                          </p:spTgt>
                                        </p:tgtEl>
                                        <p:attrNameLst>
                                          <p:attrName>style.visibility</p:attrName>
                                        </p:attrNameLst>
                                      </p:cBhvr>
                                      <p:to>
                                        <p:strVal val="visible"/>
                                      </p:to>
                                    </p:set>
                                    <p:anim calcmode="lin" valueType="num">
                                      <p:cBhvr additive="base">
                                        <p:cTn id="98" dur="500"/>
                                        <p:tgtEl>
                                          <p:spTgt spid="41">
                                            <p:graphicEl>
                                              <a:chart seriesIdx="1" categoryIdx="7" bldStep="ptInSeries"/>
                                            </p:graphicEl>
                                          </p:spTgt>
                                        </p:tgtEl>
                                        <p:attrNameLst>
                                          <p:attrName>ppt_y</p:attrName>
                                        </p:attrNameLst>
                                      </p:cBhvr>
                                      <p:tavLst>
                                        <p:tav tm="0">
                                          <p:val>
                                            <p:strVal val="#ppt_y+#ppt_h*1.125000"/>
                                          </p:val>
                                        </p:tav>
                                        <p:tav tm="100000">
                                          <p:val>
                                            <p:strVal val="#ppt_y"/>
                                          </p:val>
                                        </p:tav>
                                      </p:tavLst>
                                    </p:anim>
                                    <p:animEffect transition="in" filter="wipe(up)">
                                      <p:cBhvr>
                                        <p:cTn id="99" dur="500"/>
                                        <p:tgtEl>
                                          <p:spTgt spid="41">
                                            <p:graphicEl>
                                              <a:chart seriesIdx="1" categoryIdx="7" bldStep="ptInSeries"/>
                                            </p:graphicEl>
                                          </p:spTgt>
                                        </p:tgtEl>
                                      </p:cBhvr>
                                    </p:animEffect>
                                  </p:childTnLst>
                                </p:cTn>
                              </p:par>
                            </p:childTnLst>
                          </p:cTn>
                        </p:par>
                        <p:par>
                          <p:cTn id="100" fill="hold">
                            <p:stCondLst>
                              <p:cond delay="4000"/>
                            </p:stCondLst>
                            <p:childTnLst>
                              <p:par>
                                <p:cTn id="101" presetID="12" presetClass="entr" presetSubtype="4" fill="hold" grpId="0" nodeType="afterEffect">
                                  <p:stCondLst>
                                    <p:cond delay="0"/>
                                  </p:stCondLst>
                                  <p:childTnLst>
                                    <p:set>
                                      <p:cBhvr>
                                        <p:cTn id="102" dur="1" fill="hold">
                                          <p:stCondLst>
                                            <p:cond delay="0"/>
                                          </p:stCondLst>
                                        </p:cTn>
                                        <p:tgtEl>
                                          <p:spTgt spid="41">
                                            <p:graphicEl>
                                              <a:chart seriesIdx="1" categoryIdx="8" bldStep="ptInSeries"/>
                                            </p:graphicEl>
                                          </p:spTgt>
                                        </p:tgtEl>
                                        <p:attrNameLst>
                                          <p:attrName>style.visibility</p:attrName>
                                        </p:attrNameLst>
                                      </p:cBhvr>
                                      <p:to>
                                        <p:strVal val="visible"/>
                                      </p:to>
                                    </p:set>
                                    <p:anim calcmode="lin" valueType="num">
                                      <p:cBhvr additive="base">
                                        <p:cTn id="103" dur="500"/>
                                        <p:tgtEl>
                                          <p:spTgt spid="41">
                                            <p:graphicEl>
                                              <a:chart seriesIdx="1" categoryIdx="8" bldStep="ptInSeries"/>
                                            </p:graphicEl>
                                          </p:spTgt>
                                        </p:tgtEl>
                                        <p:attrNameLst>
                                          <p:attrName>ppt_y</p:attrName>
                                        </p:attrNameLst>
                                      </p:cBhvr>
                                      <p:tavLst>
                                        <p:tav tm="0">
                                          <p:val>
                                            <p:strVal val="#ppt_y+#ppt_h*1.125000"/>
                                          </p:val>
                                        </p:tav>
                                        <p:tav tm="100000">
                                          <p:val>
                                            <p:strVal val="#ppt_y"/>
                                          </p:val>
                                        </p:tav>
                                      </p:tavLst>
                                    </p:anim>
                                    <p:animEffect transition="in" filter="wipe(up)">
                                      <p:cBhvr>
                                        <p:cTn id="104" dur="500"/>
                                        <p:tgtEl>
                                          <p:spTgt spid="41">
                                            <p:graphicEl>
                                              <a:chart seriesIdx="1" categoryIdx="8" bldStep="ptIn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1" grpId="0" uiExpand="1">
        <p:bldSub>
          <a:bldChart bld="seriesEl"/>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C7C17A82-3F4E-600A-83C2-8C8C077779B7}"/>
              </a:ext>
            </a:extLst>
          </p:cNvPr>
          <p:cNvSpPr>
            <a:spLocks noGrp="1"/>
          </p:cNvSpPr>
          <p:nvPr>
            <p:ph type="body" sz="quarter" idx="13"/>
          </p:nvPr>
        </p:nvSpPr>
        <p:spPr/>
        <p:txBody>
          <a:bodyPr/>
          <a:lstStyle/>
          <a:p>
            <a:r>
              <a:rPr lang="en-GB" dirty="0"/>
              <a:t>BNY Mellon Multi-Asset Income Fund capital growth</a:t>
            </a:r>
          </a:p>
        </p:txBody>
      </p:sp>
      <p:sp>
        <p:nvSpPr>
          <p:cNvPr id="3" name="Text Placeholder 2">
            <a:extLst>
              <a:ext uri="{FF2B5EF4-FFF2-40B4-BE49-F238E27FC236}">
                <a16:creationId xmlns:a16="http://schemas.microsoft.com/office/drawing/2014/main" id="{DD2B7B46-78AE-D23F-2B5A-98082084482C}"/>
              </a:ext>
            </a:extLst>
          </p:cNvPr>
          <p:cNvSpPr>
            <a:spLocks noGrp="1"/>
          </p:cNvSpPr>
          <p:nvPr>
            <p:ph type="body" sz="quarter" idx="11"/>
          </p:nvPr>
        </p:nvSpPr>
        <p:spPr>
          <a:xfrm>
            <a:off x="576263" y="1008000"/>
            <a:ext cx="10368000" cy="432000"/>
          </a:xfrm>
        </p:spPr>
        <p:txBody>
          <a:bodyPr/>
          <a:lstStyle/>
          <a:p>
            <a:r>
              <a:rPr lang="en-GB" dirty="0"/>
              <a:t>The Fund has delivered a stable and growing income while providing scope for capital growth</a:t>
            </a:r>
          </a:p>
        </p:txBody>
      </p:sp>
      <p:sp>
        <p:nvSpPr>
          <p:cNvPr id="2" name="Title 1">
            <a:extLst>
              <a:ext uri="{FF2B5EF4-FFF2-40B4-BE49-F238E27FC236}">
                <a16:creationId xmlns:a16="http://schemas.microsoft.com/office/drawing/2014/main" id="{5BA5DE13-7A0F-9630-949E-8F60D224960A}"/>
              </a:ext>
            </a:extLst>
          </p:cNvPr>
          <p:cNvSpPr>
            <a:spLocks noGrp="1"/>
          </p:cNvSpPr>
          <p:nvPr>
            <p:ph type="title"/>
          </p:nvPr>
        </p:nvSpPr>
        <p:spPr>
          <a:xfrm>
            <a:off x="576263" y="576263"/>
            <a:ext cx="10367962" cy="360000"/>
          </a:xfrm>
        </p:spPr>
        <p:txBody>
          <a:bodyPr/>
          <a:lstStyle/>
          <a:p>
            <a:r>
              <a:rPr lang="en-GB" dirty="0"/>
              <a:t>BNY Mellon Multi-Asset Income Fund</a:t>
            </a:r>
          </a:p>
        </p:txBody>
      </p:sp>
      <p:sp>
        <p:nvSpPr>
          <p:cNvPr id="40" name="Text Placeholder 39">
            <a:extLst>
              <a:ext uri="{FF2B5EF4-FFF2-40B4-BE49-F238E27FC236}">
                <a16:creationId xmlns:a16="http://schemas.microsoft.com/office/drawing/2014/main" id="{FA9FBF9D-FD34-FC89-A305-A97505B098CB}"/>
              </a:ext>
            </a:extLst>
          </p:cNvPr>
          <p:cNvSpPr>
            <a:spLocks noGrp="1"/>
          </p:cNvSpPr>
          <p:nvPr>
            <p:ph type="body" sz="quarter" idx="18"/>
          </p:nvPr>
        </p:nvSpPr>
        <p:spPr/>
        <p:txBody>
          <a:bodyPr/>
          <a:lstStyle/>
          <a:p>
            <a:endParaRPr lang="en-GB"/>
          </a:p>
        </p:txBody>
      </p:sp>
      <p:sp>
        <p:nvSpPr>
          <p:cNvPr id="37" name="Content Placeholder 36">
            <a:extLst>
              <a:ext uri="{FF2B5EF4-FFF2-40B4-BE49-F238E27FC236}">
                <a16:creationId xmlns:a16="http://schemas.microsoft.com/office/drawing/2014/main" id="{7958A1D9-3FA2-65F2-96E8-5AB748B9FF85}"/>
              </a:ext>
            </a:extLst>
          </p:cNvPr>
          <p:cNvSpPr>
            <a:spLocks noGrp="1"/>
          </p:cNvSpPr>
          <p:nvPr>
            <p:ph sz="quarter" idx="12"/>
          </p:nvPr>
        </p:nvSpPr>
        <p:spPr/>
        <p:txBody>
          <a:bodyPr/>
          <a:lstStyle/>
          <a:p>
            <a:pPr>
              <a:buNone/>
            </a:pPr>
            <a:r>
              <a:rPr lang="en-GB" sz="700" dirty="0">
                <a:solidFill>
                  <a:schemeClr val="tx2"/>
                </a:solidFill>
                <a:latin typeface="+mn-lt"/>
                <a:cs typeface="Arial" panose="020B0604020202020204" pitchFamily="34" charset="0"/>
              </a:rPr>
              <a:t>Source: BNY Investments. Lipper. For illustrative purposes only. Income paid on BNY Mellon Multi-Asset Income Fund Institutional W Income share class for 12-month periods ending on 30 June of each year shown. Income split between regular monthly payments and balancing payment paid at end of fund year. Capital return shows the cumulative change of the price of the BNY Mellon Multi-Asset Income Fund Institutional W Income share class from 1 July 2015 to 30 June 2024. BNY Mellon Multi-Asset Income Fund performance for the Institutional W Income share class calculated as total return, including reinvested income net of UK tax and charges, based on net asset value.  All figures are in GBP terms. The impact of an initial charge (currently not applied) can be material on the performance of your investment. Further information is available upon request. This is for illustrative purposes only and does not take into account effects of inflation or other factors that may have a negative impact on an investment.</a:t>
            </a:r>
          </a:p>
        </p:txBody>
      </p:sp>
      <p:graphicFrame>
        <p:nvGraphicFramePr>
          <p:cNvPr id="4" name="Content Placeholder 11">
            <a:extLst>
              <a:ext uri="{FF2B5EF4-FFF2-40B4-BE49-F238E27FC236}">
                <a16:creationId xmlns:a16="http://schemas.microsoft.com/office/drawing/2014/main" id="{6324B0A1-B943-9F01-C88D-4217B618DB7B}"/>
              </a:ext>
            </a:extLst>
          </p:cNvPr>
          <p:cNvGraphicFramePr>
            <a:graphicFrameLocks/>
          </p:cNvGraphicFramePr>
          <p:nvPr>
            <p:extLst>
              <p:ext uri="{D42A27DB-BD31-4B8C-83A1-F6EECF244321}">
                <p14:modId xmlns:p14="http://schemas.microsoft.com/office/powerpoint/2010/main" val="142190854"/>
              </p:ext>
            </p:extLst>
          </p:nvPr>
        </p:nvGraphicFramePr>
        <p:xfrm>
          <a:off x="5761037" y="4506128"/>
          <a:ext cx="5183187" cy="777240"/>
        </p:xfrm>
        <a:graphic>
          <a:graphicData uri="http://schemas.openxmlformats.org/drawingml/2006/table">
            <a:tbl>
              <a:tblPr firstCol="1" bandRow="1">
                <a:tableStyleId>{5C22544A-7EE6-4342-B048-85BDC9FD1C3A}</a:tableStyleId>
              </a:tblPr>
              <a:tblGrid>
                <a:gridCol w="3934857">
                  <a:extLst>
                    <a:ext uri="{9D8B030D-6E8A-4147-A177-3AD203B41FA5}">
                      <a16:colId xmlns:a16="http://schemas.microsoft.com/office/drawing/2014/main" val="727263665"/>
                    </a:ext>
                  </a:extLst>
                </a:gridCol>
                <a:gridCol w="1248330">
                  <a:extLst>
                    <a:ext uri="{9D8B030D-6E8A-4147-A177-3AD203B41FA5}">
                      <a16:colId xmlns:a16="http://schemas.microsoft.com/office/drawing/2014/main" val="2382738537"/>
                    </a:ext>
                  </a:extLst>
                </a:gridCol>
              </a:tblGrid>
              <a:tr h="259068">
                <a:tc>
                  <a:txBody>
                    <a:bodyPr/>
                    <a:lstStyle/>
                    <a:p>
                      <a:r>
                        <a:rPr lang="en-GB" sz="1100" b="1" kern="1100" dirty="0">
                          <a:solidFill>
                            <a:schemeClr val="bg2"/>
                          </a:solidFill>
                        </a:rPr>
                        <a:t>Initial Investment at inception on 2 Feb 2015</a:t>
                      </a:r>
                      <a:endParaRPr lang="en-GB" sz="1100" b="1" kern="1100" dirty="0">
                        <a:solidFill>
                          <a:schemeClr val="bg2"/>
                        </a:solidFill>
                        <a:latin typeface="AvenirNext LT Pro Bold" panose="020B0504020202020204" pitchFamily="34" charset="0"/>
                        <a:ea typeface="+mn-ea"/>
                        <a:cs typeface="+mn-cs"/>
                      </a:endParaRPr>
                    </a:p>
                  </a:txBody>
                  <a:tcPr/>
                </a:tc>
                <a:tc>
                  <a:txBody>
                    <a:bodyPr/>
                    <a:lstStyle/>
                    <a:p>
                      <a:r>
                        <a:rPr lang="en-GB" sz="1100" b="0" kern="1100" dirty="0">
                          <a:solidFill>
                            <a:schemeClr val="tx2"/>
                          </a:solidFill>
                        </a:rPr>
                        <a:t>£100,000</a:t>
                      </a:r>
                      <a:endParaRPr lang="en-GB" sz="1100" b="0" kern="1100" dirty="0">
                        <a:solidFill>
                          <a:schemeClr val="tx2"/>
                        </a:solidFill>
                        <a:latin typeface="AvenirNext LT Pro Bold" panose="020B0504020202020204" pitchFamily="34" charset="0"/>
                        <a:ea typeface="+mn-ea"/>
                        <a:cs typeface="+mn-cs"/>
                      </a:endParaRPr>
                    </a:p>
                  </a:txBody>
                  <a:tcPr/>
                </a:tc>
                <a:extLst>
                  <a:ext uri="{0D108BD9-81ED-4DB2-BD59-A6C34878D82A}">
                    <a16:rowId xmlns:a16="http://schemas.microsoft.com/office/drawing/2014/main" val="1833849265"/>
                  </a:ext>
                </a:extLst>
              </a:tr>
              <a:tr h="259068">
                <a:tc>
                  <a:txBody>
                    <a:bodyPr/>
                    <a:lstStyle/>
                    <a:p>
                      <a:r>
                        <a:rPr lang="en-GB" sz="1100" dirty="0"/>
                        <a:t>Income received to 30 Jun 2024</a:t>
                      </a:r>
                      <a:endParaRPr lang="en-GB" sz="1100" dirty="0">
                        <a:latin typeface="AvenirNext LT Pro Bold" panose="020B0504020202020204" pitchFamily="34" charset="0"/>
                      </a:endParaRPr>
                    </a:p>
                  </a:txBody>
                  <a:tcPr/>
                </a:tc>
                <a:tc>
                  <a:txBody>
                    <a:bodyPr/>
                    <a:lstStyle/>
                    <a:p>
                      <a:r>
                        <a:rPr lang="en-GB" sz="1100" dirty="0">
                          <a:solidFill>
                            <a:schemeClr val="tx2"/>
                          </a:solidFill>
                        </a:rPr>
                        <a:t>£44,836</a:t>
                      </a:r>
                      <a:endParaRPr lang="en-GB" sz="1100" dirty="0">
                        <a:solidFill>
                          <a:schemeClr val="tx2"/>
                        </a:solidFill>
                        <a:latin typeface="AvenirNext LT Pro Bold" panose="020B0504020202020204" pitchFamily="34" charset="0"/>
                      </a:endParaRPr>
                    </a:p>
                  </a:txBody>
                  <a:tcPr/>
                </a:tc>
                <a:extLst>
                  <a:ext uri="{0D108BD9-81ED-4DB2-BD59-A6C34878D82A}">
                    <a16:rowId xmlns:a16="http://schemas.microsoft.com/office/drawing/2014/main" val="3744284602"/>
                  </a:ext>
                </a:extLst>
              </a:tr>
              <a:tr h="259068">
                <a:tc>
                  <a:txBody>
                    <a:bodyPr/>
                    <a:lstStyle/>
                    <a:p>
                      <a:r>
                        <a:rPr lang="en-GB" sz="1100" dirty="0"/>
                        <a:t>Capital gain at 30 Jun 2024</a:t>
                      </a:r>
                      <a:endParaRPr lang="en-GB" sz="1100" dirty="0">
                        <a:latin typeface="AvenirNext LT Pro Bold" panose="020B0504020202020204" pitchFamily="34" charset="0"/>
                      </a:endParaRPr>
                    </a:p>
                  </a:txBody>
                  <a:tcPr/>
                </a:tc>
                <a:tc>
                  <a:txBody>
                    <a:bodyPr/>
                    <a:lstStyle/>
                    <a:p>
                      <a:r>
                        <a:rPr lang="en-GB" sz="1100" dirty="0">
                          <a:solidFill>
                            <a:schemeClr val="tx2"/>
                          </a:solidFill>
                        </a:rPr>
                        <a:t>£23,692</a:t>
                      </a:r>
                      <a:endParaRPr lang="en-GB" sz="1100" dirty="0">
                        <a:solidFill>
                          <a:schemeClr val="tx2"/>
                        </a:solidFill>
                        <a:latin typeface="AvenirNext LT Pro Bold" panose="020B0504020202020204" pitchFamily="34" charset="0"/>
                      </a:endParaRPr>
                    </a:p>
                  </a:txBody>
                  <a:tcPr/>
                </a:tc>
                <a:extLst>
                  <a:ext uri="{0D108BD9-81ED-4DB2-BD59-A6C34878D82A}">
                    <a16:rowId xmlns:a16="http://schemas.microsoft.com/office/drawing/2014/main" val="1241406199"/>
                  </a:ext>
                </a:extLst>
              </a:tr>
            </a:tbl>
          </a:graphicData>
        </a:graphic>
      </p:graphicFrame>
      <p:graphicFrame>
        <p:nvGraphicFramePr>
          <p:cNvPr id="41" name="Content Placeholder 40">
            <a:extLst>
              <a:ext uri="{FF2B5EF4-FFF2-40B4-BE49-F238E27FC236}">
                <a16:creationId xmlns:a16="http://schemas.microsoft.com/office/drawing/2014/main" id="{E7A4485A-C0D0-BA9E-67C5-D5AB9E174428}"/>
              </a:ext>
            </a:extLst>
          </p:cNvPr>
          <p:cNvGraphicFramePr>
            <a:graphicFrameLocks noGrp="1"/>
          </p:cNvGraphicFramePr>
          <p:nvPr>
            <p:ph sz="quarter" idx="14"/>
            <p:extLst>
              <p:ext uri="{D42A27DB-BD31-4B8C-83A1-F6EECF244321}">
                <p14:modId xmlns:p14="http://schemas.microsoft.com/office/powerpoint/2010/main" val="844653368"/>
              </p:ext>
            </p:extLst>
          </p:nvPr>
        </p:nvGraphicFramePr>
        <p:xfrm>
          <a:off x="576262" y="1637349"/>
          <a:ext cx="10367962" cy="3205475"/>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2557316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1">
                                            <p:graphicEl>
                                              <a:chart seriesIdx="-3" categoryIdx="-3" bldStep="gridLegend"/>
                                            </p:graphicEl>
                                          </p:spTgt>
                                        </p:tgtEl>
                                        <p:attrNameLst>
                                          <p:attrName>style.visibility</p:attrName>
                                        </p:attrNameLst>
                                      </p:cBhvr>
                                      <p:to>
                                        <p:strVal val="visible"/>
                                      </p:to>
                                    </p:set>
                                    <p:animEffect transition="in" filter="wipe(left)">
                                      <p:cBhvr>
                                        <p:cTn id="7" dur="10"/>
                                        <p:tgtEl>
                                          <p:spTgt spid="41">
                                            <p:graphicEl>
                                              <a:chart seriesIdx="-3" categoryIdx="-3" bldStep="gridLegend"/>
                                            </p:graphicEl>
                                          </p:spTgt>
                                        </p:tgtEl>
                                      </p:cBhvr>
                                    </p:animEffect>
                                  </p:childTnLst>
                                </p:cTn>
                              </p:par>
                            </p:childTnLst>
                          </p:cTn>
                        </p:par>
                        <p:par>
                          <p:cTn id="8" fill="hold">
                            <p:stCondLst>
                              <p:cond delay="10"/>
                            </p:stCondLst>
                            <p:childTnLst>
                              <p:par>
                                <p:cTn id="9" presetID="22" presetClass="entr" presetSubtype="8" fill="hold" grpId="0" nodeType="afterEffect">
                                  <p:stCondLst>
                                    <p:cond delay="0"/>
                                  </p:stCondLst>
                                  <p:childTnLst>
                                    <p:set>
                                      <p:cBhvr>
                                        <p:cTn id="10" dur="1" fill="hold">
                                          <p:stCondLst>
                                            <p:cond delay="0"/>
                                          </p:stCondLst>
                                        </p:cTn>
                                        <p:tgtEl>
                                          <p:spTgt spid="41">
                                            <p:graphicEl>
                                              <a:chart seriesIdx="0" categoryIdx="-4" bldStep="series"/>
                                            </p:graphicEl>
                                          </p:spTgt>
                                        </p:tgtEl>
                                        <p:attrNameLst>
                                          <p:attrName>style.visibility</p:attrName>
                                        </p:attrNameLst>
                                      </p:cBhvr>
                                      <p:to>
                                        <p:strVal val="visible"/>
                                      </p:to>
                                    </p:set>
                                    <p:animEffect transition="in" filter="wipe(left)">
                                      <p:cBhvr>
                                        <p:cTn id="11" dur="10"/>
                                        <p:tgtEl>
                                          <p:spTgt spid="41">
                                            <p:graphicEl>
                                              <a:chart seriesIdx="0" categoryIdx="-4" bldStep="series"/>
                                            </p:graphicEl>
                                          </p:spTgt>
                                        </p:tgtEl>
                                      </p:cBhvr>
                                    </p:animEffect>
                                  </p:childTnLst>
                                </p:cTn>
                              </p:par>
                            </p:childTnLst>
                          </p:cTn>
                        </p:par>
                        <p:par>
                          <p:cTn id="12" fill="hold">
                            <p:stCondLst>
                              <p:cond delay="20"/>
                            </p:stCondLst>
                            <p:childTnLst>
                              <p:par>
                                <p:cTn id="13" presetID="22" presetClass="entr" presetSubtype="8" fill="hold" grpId="0" nodeType="afterEffect">
                                  <p:stCondLst>
                                    <p:cond delay="0"/>
                                  </p:stCondLst>
                                  <p:childTnLst>
                                    <p:set>
                                      <p:cBhvr>
                                        <p:cTn id="14" dur="1" fill="hold">
                                          <p:stCondLst>
                                            <p:cond delay="0"/>
                                          </p:stCondLst>
                                        </p:cTn>
                                        <p:tgtEl>
                                          <p:spTgt spid="41">
                                            <p:graphicEl>
                                              <a:chart seriesIdx="1" categoryIdx="-4" bldStep="series"/>
                                            </p:graphicEl>
                                          </p:spTgt>
                                        </p:tgtEl>
                                        <p:attrNameLst>
                                          <p:attrName>style.visibility</p:attrName>
                                        </p:attrNameLst>
                                      </p:cBhvr>
                                      <p:to>
                                        <p:strVal val="visible"/>
                                      </p:to>
                                    </p:set>
                                    <p:animEffect transition="in" filter="wipe(left)">
                                      <p:cBhvr>
                                        <p:cTn id="15" dur="10"/>
                                        <p:tgtEl>
                                          <p:spTgt spid="41">
                                            <p:graphicEl>
                                              <a:chart seriesIdx="1" categoryIdx="-4" bldStep="series"/>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1" grpId="0" uiExpand="1">
        <p:bldSub>
          <a:bldChart bld="series"/>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ysTag_Watermark_Expiry" hidden="1"/>
          <p:cNvSpPr txBox="1">
            <a:spLocks noGrp="1" noSelect="1" noRot="1" noChangeAspect="1" noMove="1" noResize="1" noEditPoints="1" noAdjustHandles="1" noChangeArrowheads="1" noChangeShapeType="1" noTextEdit="1"/>
          </p:cNvSpPr>
          <p:nvPr/>
        </p:nvSpPr>
        <p:spPr>
          <a:xfrm rot="16200000">
            <a:off x="6681472" y="2818876"/>
            <a:ext cx="6480175" cy="842423"/>
          </a:xfrm>
          <a:prstGeom prst="rect">
            <a:avLst/>
          </a:prstGeom>
          <a:noFill/>
        </p:spPr>
        <p:txBody>
          <a:bodyPr wrap="square" lIns="0" tIns="0" rIns="0" bIns="0" rtlCol="0" anchor="ctr" anchorCtr="0"/>
          <a:lstStyle/>
          <a:p>
            <a:pPr algn="ctr"/>
            <a:r>
              <a:rPr lang="en-GB" sz="9073" b="1" spc="1685" baseline="9000" dirty="0">
                <a:solidFill>
                  <a:schemeClr val="bg2">
                    <a:lumMod val="40000"/>
                    <a:lumOff val="60000"/>
                  </a:schemeClr>
                </a:solidFill>
                <a:latin typeface="Arial" panose="020B0604020202020204" pitchFamily="34" charset="0"/>
                <a:cs typeface="Arial" panose="020B0604020202020204" pitchFamily="34" charset="0"/>
              </a:rPr>
              <a:t>EXPIRED</a:t>
            </a:r>
          </a:p>
        </p:txBody>
      </p:sp>
      <p:sp>
        <p:nvSpPr>
          <p:cNvPr id="4" name="SysTag_Watermark_Expiry_Overlay" hidden="1"/>
          <p:cNvSpPr txBox="1">
            <a:spLocks noGrp="1" noSelect="1" noRot="1" noChangeAspect="1" noMove="1" noResize="1" noEditPoints="1" noAdjustHandles="1" noChangeArrowheads="1" noChangeShapeType="1" noTextEdit="1"/>
          </p:cNvSpPr>
          <p:nvPr/>
        </p:nvSpPr>
        <p:spPr>
          <a:xfrm rot="16200000">
            <a:off x="6681472" y="2818876"/>
            <a:ext cx="6480175" cy="842423"/>
          </a:xfrm>
          <a:prstGeom prst="rect">
            <a:avLst/>
          </a:prstGeom>
          <a:noFill/>
        </p:spPr>
        <p:txBody>
          <a:bodyPr wrap="square" lIns="0" tIns="0" rIns="0" bIns="0" rtlCol="0" anchor="ctr" anchorCtr="0"/>
          <a:lstStyle/>
          <a:p>
            <a:pPr algn="ctr"/>
            <a:endParaRPr lang="en-GB" sz="9073" b="1" spc="1685" baseline="9000" dirty="0">
              <a:solidFill>
                <a:schemeClr val="bg2">
                  <a:lumMod val="40000"/>
                  <a:lumOff val="60000"/>
                </a:schemeClr>
              </a:solidFill>
              <a:latin typeface="Arial" panose="020B0604020202020204" pitchFamily="34" charset="0"/>
              <a:cs typeface="Arial" panose="020B0604020202020204" pitchFamily="34" charset="0"/>
            </a:endParaRPr>
          </a:p>
        </p:txBody>
      </p:sp>
      <p:cxnSp>
        <p:nvCxnSpPr>
          <p:cNvPr id="6" name="SysTag_Watermark_Expiry_Line" hidden="1"/>
          <p:cNvCxnSpPr>
            <a:cxnSpLocks noGrp="1" noSelect="1" noRot="1" noChangeAspect="1" noMove="1" noResize="1" noEditPoints="1" noAdjustHandles="1" noChangeArrowheads="1" noChangeShapeType="1"/>
          </p:cNvCxnSpPr>
          <p:nvPr/>
        </p:nvCxnSpPr>
        <p:spPr>
          <a:xfrm flipV="1">
            <a:off x="1177718" y="0"/>
            <a:ext cx="9165053" cy="6480175"/>
          </a:xfrm>
          <a:prstGeom prst="line">
            <a:avLst/>
          </a:prstGeom>
          <a:ln w="3175" cap="sq">
            <a:solidFill>
              <a:srgbClr val="EE2F4F"/>
            </a:solidFill>
            <a:miter lim="800000"/>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7" name="SysTag_Watermark" hidden="1"/>
          <p:cNvSpPr txBox="1">
            <a:spLocks noGrp="1" noSelect="1" noRot="1" noChangeAspect="1" noMove="1" noResize="1" noEditPoints="1" noAdjustHandles="1" noChangeArrowheads="1" noChangeShapeType="1" noTextEdit="1"/>
          </p:cNvSpPr>
          <p:nvPr/>
        </p:nvSpPr>
        <p:spPr>
          <a:xfrm rot="16200000">
            <a:off x="-1414351" y="2592070"/>
            <a:ext cx="6480175" cy="1296035"/>
          </a:xfrm>
          <a:prstGeom prst="rect">
            <a:avLst/>
          </a:prstGeom>
          <a:noFill/>
        </p:spPr>
        <p:txBody>
          <a:bodyPr wrap="square" lIns="0" tIns="0" rIns="0" bIns="0" rtlCol="0" anchor="ctr" anchorCtr="0"/>
          <a:lstStyle/>
          <a:p>
            <a:pPr algn="ctr"/>
            <a:r>
              <a:rPr lang="en-GB" sz="12960" b="1" spc="1685" baseline="9000" dirty="0">
                <a:solidFill>
                  <a:schemeClr val="bg2">
                    <a:lumMod val="40000"/>
                    <a:lumOff val="60000"/>
                  </a:schemeClr>
                </a:solidFill>
                <a:latin typeface="Arial" panose="020B0604020202020204" pitchFamily="34" charset="0"/>
                <a:cs typeface="Arial" panose="020B0604020202020204" pitchFamily="34" charset="0"/>
              </a:rPr>
              <a:t>DRAFT</a:t>
            </a:r>
          </a:p>
        </p:txBody>
      </p:sp>
      <p:sp>
        <p:nvSpPr>
          <p:cNvPr id="8" name="SysTag_Watermark_Overlay" hidden="1"/>
          <p:cNvSpPr txBox="1">
            <a:spLocks noGrp="1" noSelect="1" noRot="1" noChangeAspect="1" noMove="1" noResize="1" noEditPoints="1" noAdjustHandles="1" noChangeArrowheads="1" noChangeShapeType="1" noTextEdit="1"/>
          </p:cNvSpPr>
          <p:nvPr/>
        </p:nvSpPr>
        <p:spPr>
          <a:xfrm rot="16200000">
            <a:off x="-1414351" y="2592070"/>
            <a:ext cx="6480175" cy="1296035"/>
          </a:xfrm>
          <a:prstGeom prst="rect">
            <a:avLst/>
          </a:prstGeom>
          <a:noFill/>
        </p:spPr>
        <p:txBody>
          <a:bodyPr wrap="square" lIns="0" tIns="0" rIns="0" bIns="0" rtlCol="0" anchor="ctr" anchorCtr="0"/>
          <a:lstStyle/>
          <a:p>
            <a:pPr algn="ctr"/>
            <a:endParaRPr lang="en-GB" sz="12960" b="1" spc="1685" baseline="9000" dirty="0">
              <a:solidFill>
                <a:schemeClr val="bg2">
                  <a:lumMod val="40000"/>
                  <a:lumOff val="60000"/>
                </a:schemeClr>
              </a:solidFill>
              <a:latin typeface="Arial" panose="020B0604020202020204" pitchFamily="34" charset="0"/>
              <a:cs typeface="Arial" panose="020B0604020202020204" pitchFamily="34" charset="0"/>
            </a:endParaRPr>
          </a:p>
        </p:txBody>
      </p:sp>
      <p:cxnSp>
        <p:nvCxnSpPr>
          <p:cNvPr id="15" name="SysTag_Watermark_Line" hidden="1"/>
          <p:cNvCxnSpPr>
            <a:cxnSpLocks noGrp="1" noSelect="1" noRot="1" noChangeAspect="1" noMove="1" noResize="1" noEditPoints="1" noAdjustHandles="1" noChangeArrowheads="1" noChangeShapeType="1"/>
          </p:cNvCxnSpPr>
          <p:nvPr/>
        </p:nvCxnSpPr>
        <p:spPr>
          <a:xfrm flipV="1">
            <a:off x="1177718" y="0"/>
            <a:ext cx="9165053" cy="6480175"/>
          </a:xfrm>
          <a:prstGeom prst="line">
            <a:avLst/>
          </a:prstGeom>
          <a:ln w="3175" cap="sq">
            <a:solidFill>
              <a:srgbClr val="EE2F4F"/>
            </a:solidFill>
            <a:miter lim="800000"/>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E71EA962-BDF8-4EBC-84D9-3CA7E1BBF513}"/>
              </a:ext>
            </a:extLst>
          </p:cNvPr>
          <p:cNvSpPr>
            <a:spLocks noGrp="1"/>
          </p:cNvSpPr>
          <p:nvPr>
            <p:ph type="title"/>
          </p:nvPr>
        </p:nvSpPr>
        <p:spPr>
          <a:xfrm>
            <a:off x="576262" y="576263"/>
            <a:ext cx="11558587" cy="360000"/>
          </a:xfrm>
        </p:spPr>
        <p:txBody>
          <a:bodyPr/>
          <a:lstStyle/>
          <a:p>
            <a:r>
              <a:rPr lang="en-GB" dirty="0">
                <a:solidFill>
                  <a:srgbClr val="FF6120"/>
                </a:solidFill>
              </a:rPr>
              <a:t>BNY Mellon </a:t>
            </a:r>
            <a:r>
              <a:rPr lang="en-GB" dirty="0" err="1">
                <a:solidFill>
                  <a:srgbClr val="FF6120"/>
                </a:solidFill>
              </a:rPr>
              <a:t>FutureLegacy</a:t>
            </a:r>
            <a:r>
              <a:rPr lang="en-GB" dirty="0">
                <a:solidFill>
                  <a:srgbClr val="FF6120"/>
                </a:solidFill>
              </a:rPr>
              <a:t> Fund range: </a:t>
            </a:r>
            <a:r>
              <a:rPr lang="en-GB" dirty="0"/>
              <a:t>supporting retirement </a:t>
            </a:r>
            <a:br>
              <a:rPr lang="en-GB" dirty="0"/>
            </a:br>
            <a:r>
              <a:rPr lang="en-GB" dirty="0"/>
              <a:t>withdrawals</a:t>
            </a:r>
          </a:p>
        </p:txBody>
      </p:sp>
      <p:sp>
        <p:nvSpPr>
          <p:cNvPr id="3" name="Text Placeholder 2">
            <a:extLst>
              <a:ext uri="{FF2B5EF4-FFF2-40B4-BE49-F238E27FC236}">
                <a16:creationId xmlns:a16="http://schemas.microsoft.com/office/drawing/2014/main" id="{2C8105BB-1871-4945-A483-89CC305E5740}"/>
              </a:ext>
            </a:extLst>
          </p:cNvPr>
          <p:cNvSpPr>
            <a:spLocks noGrp="1"/>
          </p:cNvSpPr>
          <p:nvPr>
            <p:ph sz="quarter" idx="12"/>
          </p:nvPr>
        </p:nvSpPr>
        <p:spPr>
          <a:xfrm>
            <a:off x="714867" y="5163588"/>
            <a:ext cx="10579875" cy="1132980"/>
          </a:xfrm>
        </p:spPr>
        <p:txBody>
          <a:bodyPr/>
          <a:lstStyle/>
          <a:p>
            <a:pPr marL="0" lvl="0" indent="0">
              <a:buNone/>
            </a:pPr>
            <a:r>
              <a:rPr lang="en-GB" dirty="0">
                <a:latin typeface="Avenir Next"/>
              </a:rPr>
              <a:t>Source: Newton, 30 September. The BNY Mellon </a:t>
            </a:r>
            <a:r>
              <a:rPr lang="en-GB" dirty="0" err="1">
                <a:latin typeface="Avenir Next"/>
              </a:rPr>
              <a:t>FutureLegacy</a:t>
            </a:r>
            <a:r>
              <a:rPr lang="en-GB" dirty="0">
                <a:latin typeface="Avenir Next"/>
              </a:rPr>
              <a:t> funds are actively managed typically by using forward-looking expectations of volatility. In doing so, the Investment Manager uses its own internal risk model, whilst also considering external independent risk profiling methodologies. Based on a risk profile scale of 1 (lowest) to 10 (highest), the funds target risk profiles of 3, 4, 5, 6 and 7 but this is not guaranteed. The risk profile targeted by each of the BNY Mellon </a:t>
            </a:r>
            <a:r>
              <a:rPr lang="en-GB" dirty="0" err="1">
                <a:latin typeface="Avenir Next"/>
              </a:rPr>
              <a:t>FutureLegacy</a:t>
            </a:r>
            <a:r>
              <a:rPr lang="en-GB" dirty="0">
                <a:latin typeface="Avenir Next"/>
              </a:rPr>
              <a:t> funds can be identified through the number included in the respective fund’s name. This risk profile is not the same as the risk and reward category shown in the funds’ Key Investor Information Documents. The risk profiles of the funds are currently assessed against the risk ratings scale provided by Dynamic Planner,  but is subject to change at the ACD’s discretion. Dynamic Planner Risk Ratings should not be used for making an investment decision and it does not constitute a recommendation or advice in the selection of a specific investment or class of investments. </a:t>
            </a:r>
          </a:p>
        </p:txBody>
      </p:sp>
      <p:sp>
        <p:nvSpPr>
          <p:cNvPr id="27" name="Rectangle 26">
            <a:extLst>
              <a:ext uri="{FF2B5EF4-FFF2-40B4-BE49-F238E27FC236}">
                <a16:creationId xmlns:a16="http://schemas.microsoft.com/office/drawing/2014/main" id="{6112857A-5170-4C7B-8AB8-BAB18C5F0F4E}"/>
              </a:ext>
            </a:extLst>
          </p:cNvPr>
          <p:cNvSpPr>
            <a:spLocks/>
          </p:cNvSpPr>
          <p:nvPr/>
        </p:nvSpPr>
        <p:spPr bwMode="auto">
          <a:xfrm>
            <a:off x="1146336" y="3201276"/>
            <a:ext cx="971500" cy="444437"/>
          </a:xfrm>
          <a:prstGeom prst="rect">
            <a:avLst/>
          </a:prstGeom>
          <a:noFill/>
          <a:ln>
            <a:noFill/>
          </a:ln>
        </p:spPr>
        <p:txBody>
          <a:bodyPr rot="0" vert="horz" wrap="square" lIns="78383" tIns="92578" rIns="78383" bIns="39191" anchor="ctr" anchorCtr="0" upright="1">
            <a:noAutofit/>
          </a:bodyPr>
          <a:lstStyle/>
          <a:p>
            <a:pPr algn="ctr">
              <a:lnSpc>
                <a:spcPct val="75000"/>
              </a:lnSpc>
            </a:pPr>
            <a:r>
              <a:rPr lang="en-US" sz="1200" b="1" dirty="0">
                <a:solidFill>
                  <a:schemeClr val="accent2"/>
                </a:solidFill>
                <a:latin typeface="+mn-lt"/>
                <a:ea typeface="Calibri" panose="020F0502020204030204" pitchFamily="34" charset="0"/>
                <a:cs typeface="Impact" panose="020B0806030902050204" pitchFamily="34" charset="0"/>
              </a:rPr>
              <a:t>FUTURE LEGACY 3</a:t>
            </a:r>
            <a:endParaRPr lang="en-GB" sz="500" b="1" dirty="0">
              <a:solidFill>
                <a:schemeClr val="accent2"/>
              </a:solidFill>
              <a:latin typeface="+mn-lt"/>
            </a:endParaRPr>
          </a:p>
        </p:txBody>
      </p:sp>
      <p:sp>
        <p:nvSpPr>
          <p:cNvPr id="29" name="Rectangle 28">
            <a:extLst>
              <a:ext uri="{FF2B5EF4-FFF2-40B4-BE49-F238E27FC236}">
                <a16:creationId xmlns:a16="http://schemas.microsoft.com/office/drawing/2014/main" id="{08998178-C2EB-4111-B4E4-888E28D2856C}"/>
              </a:ext>
            </a:extLst>
          </p:cNvPr>
          <p:cNvSpPr>
            <a:spLocks/>
          </p:cNvSpPr>
          <p:nvPr/>
        </p:nvSpPr>
        <p:spPr bwMode="auto">
          <a:xfrm>
            <a:off x="3201263" y="2873953"/>
            <a:ext cx="971500" cy="444437"/>
          </a:xfrm>
          <a:prstGeom prst="rect">
            <a:avLst/>
          </a:prstGeom>
          <a:noFill/>
          <a:ln>
            <a:noFill/>
          </a:ln>
        </p:spPr>
        <p:txBody>
          <a:bodyPr rot="0" vert="horz" wrap="square" lIns="78383" tIns="92578" rIns="78383" bIns="39191" anchor="ctr" anchorCtr="0" upright="1">
            <a:noAutofit/>
          </a:bodyPr>
          <a:lstStyle/>
          <a:p>
            <a:pPr algn="ctr">
              <a:lnSpc>
                <a:spcPct val="75000"/>
              </a:lnSpc>
            </a:pPr>
            <a:r>
              <a:rPr lang="en-US" sz="1200" b="1" dirty="0">
                <a:solidFill>
                  <a:schemeClr val="accent2"/>
                </a:solidFill>
                <a:latin typeface="+mn-lt"/>
                <a:ea typeface="Calibri" panose="020F0502020204030204" pitchFamily="34" charset="0"/>
                <a:cs typeface="Impact" panose="020B0806030902050204" pitchFamily="34" charset="0"/>
              </a:rPr>
              <a:t>FUTURE LEGACY 4</a:t>
            </a:r>
            <a:endParaRPr lang="en-GB" sz="500" b="1" dirty="0">
              <a:solidFill>
                <a:schemeClr val="accent2"/>
              </a:solidFill>
              <a:latin typeface="+mn-lt"/>
            </a:endParaRPr>
          </a:p>
        </p:txBody>
      </p:sp>
      <p:sp>
        <p:nvSpPr>
          <p:cNvPr id="30" name="Rectangle 29">
            <a:extLst>
              <a:ext uri="{FF2B5EF4-FFF2-40B4-BE49-F238E27FC236}">
                <a16:creationId xmlns:a16="http://schemas.microsoft.com/office/drawing/2014/main" id="{D71BDB98-1694-46F8-A6AF-21DAD48F8247}"/>
              </a:ext>
            </a:extLst>
          </p:cNvPr>
          <p:cNvSpPr>
            <a:spLocks/>
          </p:cNvSpPr>
          <p:nvPr/>
        </p:nvSpPr>
        <p:spPr bwMode="auto">
          <a:xfrm>
            <a:off x="5259153" y="2552885"/>
            <a:ext cx="971500" cy="444437"/>
          </a:xfrm>
          <a:prstGeom prst="rect">
            <a:avLst/>
          </a:prstGeom>
          <a:noFill/>
          <a:ln>
            <a:noFill/>
          </a:ln>
        </p:spPr>
        <p:txBody>
          <a:bodyPr rot="0" vert="horz" wrap="square" lIns="78383" tIns="92578" rIns="78383" bIns="39191" anchor="ctr" anchorCtr="0" upright="1">
            <a:noAutofit/>
          </a:bodyPr>
          <a:lstStyle/>
          <a:p>
            <a:pPr algn="ctr">
              <a:lnSpc>
                <a:spcPct val="75000"/>
              </a:lnSpc>
            </a:pPr>
            <a:r>
              <a:rPr lang="en-US" sz="1200" b="1" dirty="0">
                <a:solidFill>
                  <a:schemeClr val="accent2"/>
                </a:solidFill>
                <a:latin typeface="+mn-lt"/>
                <a:ea typeface="Calibri" panose="020F0502020204030204" pitchFamily="34" charset="0"/>
                <a:cs typeface="Impact" panose="020B0806030902050204" pitchFamily="34" charset="0"/>
              </a:rPr>
              <a:t>FUTURE LEGACY 5</a:t>
            </a:r>
            <a:endParaRPr lang="en-GB" sz="500" b="1" dirty="0">
              <a:solidFill>
                <a:schemeClr val="accent2"/>
              </a:solidFill>
              <a:latin typeface="+mn-lt"/>
            </a:endParaRPr>
          </a:p>
        </p:txBody>
      </p:sp>
      <p:sp>
        <p:nvSpPr>
          <p:cNvPr id="31" name="Rectangle 30">
            <a:extLst>
              <a:ext uri="{FF2B5EF4-FFF2-40B4-BE49-F238E27FC236}">
                <a16:creationId xmlns:a16="http://schemas.microsoft.com/office/drawing/2014/main" id="{8E62B877-2D52-4A11-A6F7-6AB625CD9568}"/>
              </a:ext>
            </a:extLst>
          </p:cNvPr>
          <p:cNvSpPr>
            <a:spLocks/>
          </p:cNvSpPr>
          <p:nvPr/>
        </p:nvSpPr>
        <p:spPr bwMode="auto">
          <a:xfrm>
            <a:off x="7347727" y="2224184"/>
            <a:ext cx="971500" cy="444437"/>
          </a:xfrm>
          <a:prstGeom prst="rect">
            <a:avLst/>
          </a:prstGeom>
          <a:noFill/>
          <a:ln>
            <a:noFill/>
          </a:ln>
        </p:spPr>
        <p:txBody>
          <a:bodyPr rot="0" vert="horz" wrap="square" lIns="78383" tIns="92578" rIns="78383" bIns="39191" anchor="ctr" anchorCtr="0" upright="1">
            <a:noAutofit/>
          </a:bodyPr>
          <a:lstStyle/>
          <a:p>
            <a:pPr algn="ctr">
              <a:lnSpc>
                <a:spcPct val="75000"/>
              </a:lnSpc>
            </a:pPr>
            <a:r>
              <a:rPr lang="en-US" sz="1200" b="1" dirty="0">
                <a:solidFill>
                  <a:schemeClr val="accent2"/>
                </a:solidFill>
                <a:latin typeface="+mn-lt"/>
                <a:ea typeface="Calibri" panose="020F0502020204030204" pitchFamily="34" charset="0"/>
                <a:cs typeface="Impact" panose="020B0806030902050204" pitchFamily="34" charset="0"/>
              </a:rPr>
              <a:t>FUTURE LEGACY 6</a:t>
            </a:r>
            <a:endParaRPr lang="en-GB" sz="500" b="1" dirty="0">
              <a:solidFill>
                <a:schemeClr val="accent2"/>
              </a:solidFill>
              <a:latin typeface="+mn-lt"/>
            </a:endParaRPr>
          </a:p>
        </p:txBody>
      </p:sp>
      <p:sp>
        <p:nvSpPr>
          <p:cNvPr id="32" name="Rectangle 31">
            <a:extLst>
              <a:ext uri="{FF2B5EF4-FFF2-40B4-BE49-F238E27FC236}">
                <a16:creationId xmlns:a16="http://schemas.microsoft.com/office/drawing/2014/main" id="{A0D07525-1879-4B5F-A306-CF625448768C}"/>
              </a:ext>
            </a:extLst>
          </p:cNvPr>
          <p:cNvSpPr>
            <a:spLocks/>
          </p:cNvSpPr>
          <p:nvPr/>
        </p:nvSpPr>
        <p:spPr bwMode="auto">
          <a:xfrm>
            <a:off x="9352405" y="1866814"/>
            <a:ext cx="971500" cy="444437"/>
          </a:xfrm>
          <a:prstGeom prst="rect">
            <a:avLst/>
          </a:prstGeom>
          <a:noFill/>
          <a:ln>
            <a:noFill/>
          </a:ln>
        </p:spPr>
        <p:txBody>
          <a:bodyPr rot="0" vert="horz" wrap="square" lIns="78383" tIns="92578" rIns="78383" bIns="39191" anchor="ctr" anchorCtr="0" upright="1">
            <a:noAutofit/>
          </a:bodyPr>
          <a:lstStyle/>
          <a:p>
            <a:pPr algn="ctr">
              <a:lnSpc>
                <a:spcPct val="75000"/>
              </a:lnSpc>
            </a:pPr>
            <a:r>
              <a:rPr lang="en-US" sz="1200" b="1" dirty="0">
                <a:solidFill>
                  <a:schemeClr val="accent2"/>
                </a:solidFill>
                <a:latin typeface="+mn-lt"/>
                <a:ea typeface="Calibri" panose="020F0502020204030204" pitchFamily="34" charset="0"/>
                <a:cs typeface="Impact" panose="020B0806030902050204" pitchFamily="34" charset="0"/>
              </a:rPr>
              <a:t>FUTURE LEGACY 7</a:t>
            </a:r>
            <a:endParaRPr lang="en-GB" sz="500" b="1" dirty="0">
              <a:solidFill>
                <a:schemeClr val="accent2"/>
              </a:solidFill>
              <a:latin typeface="+mn-lt"/>
            </a:endParaRPr>
          </a:p>
        </p:txBody>
      </p:sp>
      <p:graphicFrame>
        <p:nvGraphicFramePr>
          <p:cNvPr id="9" name="Chart 8">
            <a:extLst>
              <a:ext uri="{FF2B5EF4-FFF2-40B4-BE49-F238E27FC236}">
                <a16:creationId xmlns:a16="http://schemas.microsoft.com/office/drawing/2014/main" id="{9C5BBF57-61AF-4DAB-AD08-5B7ADF741A84}"/>
              </a:ext>
            </a:extLst>
          </p:cNvPr>
          <p:cNvGraphicFramePr>
            <a:graphicFrameLocks/>
          </p:cNvGraphicFramePr>
          <p:nvPr>
            <p:extLst>
              <p:ext uri="{D42A27DB-BD31-4B8C-83A1-F6EECF244321}">
                <p14:modId xmlns:p14="http://schemas.microsoft.com/office/powerpoint/2010/main" val="434828250"/>
              </p:ext>
            </p:extLst>
          </p:nvPr>
        </p:nvGraphicFramePr>
        <p:xfrm>
          <a:off x="714867" y="3526775"/>
          <a:ext cx="1848472" cy="1232316"/>
        </p:xfrm>
        <a:graphic>
          <a:graphicData uri="http://schemas.openxmlformats.org/drawingml/2006/chart">
            <c:chart xmlns:c="http://schemas.openxmlformats.org/drawingml/2006/chart" xmlns:r="http://schemas.openxmlformats.org/officeDocument/2006/relationships" r:id="rId4"/>
          </a:graphicData>
        </a:graphic>
      </p:graphicFrame>
      <p:grpSp>
        <p:nvGrpSpPr>
          <p:cNvPr id="13" name="Group 12">
            <a:extLst>
              <a:ext uri="{FF2B5EF4-FFF2-40B4-BE49-F238E27FC236}">
                <a16:creationId xmlns:a16="http://schemas.microsoft.com/office/drawing/2014/main" id="{DEC0C3D3-23C4-41A0-3B89-CC2CCF7EEC63}"/>
              </a:ext>
            </a:extLst>
          </p:cNvPr>
          <p:cNvGrpSpPr>
            <a:grpSpLocks/>
          </p:cNvGrpSpPr>
          <p:nvPr/>
        </p:nvGrpSpPr>
        <p:grpSpPr>
          <a:xfrm>
            <a:off x="613010" y="2075925"/>
            <a:ext cx="10331215" cy="3610609"/>
            <a:chOff x="982317" y="1181056"/>
            <a:chExt cx="9320082" cy="5378123"/>
          </a:xfrm>
        </p:grpSpPr>
        <p:cxnSp>
          <p:nvCxnSpPr>
            <p:cNvPr id="23" name="Straight Arrow Connector 22">
              <a:extLst>
                <a:ext uri="{FF2B5EF4-FFF2-40B4-BE49-F238E27FC236}">
                  <a16:creationId xmlns:a16="http://schemas.microsoft.com/office/drawing/2014/main" id="{A12103FE-C8C3-E972-ACAA-9C36257743B9}"/>
                </a:ext>
              </a:extLst>
            </p:cNvPr>
            <p:cNvCxnSpPr>
              <a:cxnSpLocks/>
            </p:cNvCxnSpPr>
            <p:nvPr/>
          </p:nvCxnSpPr>
          <p:spPr>
            <a:xfrm flipV="1">
              <a:off x="1279215" y="1246293"/>
              <a:ext cx="0" cy="4918907"/>
            </a:xfrm>
            <a:prstGeom prst="straightConnector1">
              <a:avLst/>
            </a:prstGeom>
            <a:ln w="12700" cap="sq">
              <a:solidFill>
                <a:srgbClr val="606162"/>
              </a:solidFill>
              <a:miter lim="800000"/>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51FBDCC0-007B-7456-763B-E55CF47F9CFB}"/>
                </a:ext>
              </a:extLst>
            </p:cNvPr>
            <p:cNvCxnSpPr>
              <a:cxnSpLocks/>
            </p:cNvCxnSpPr>
            <p:nvPr/>
          </p:nvCxnSpPr>
          <p:spPr>
            <a:xfrm>
              <a:off x="1279215" y="6165198"/>
              <a:ext cx="9023184" cy="0"/>
            </a:xfrm>
            <a:prstGeom prst="straightConnector1">
              <a:avLst/>
            </a:prstGeom>
            <a:ln w="12700" cap="sq">
              <a:solidFill>
                <a:srgbClr val="606162"/>
              </a:solidFill>
              <a:miter lim="800000"/>
              <a:tailEnd type="triangl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BA56870-1EA2-45E9-323C-E23740CBE1C1}"/>
                </a:ext>
              </a:extLst>
            </p:cNvPr>
            <p:cNvSpPr txBox="1">
              <a:spLocks/>
            </p:cNvSpPr>
            <p:nvPr/>
          </p:nvSpPr>
          <p:spPr>
            <a:xfrm rot="16200000">
              <a:off x="162806" y="2000567"/>
              <a:ext cx="1865195" cy="226173"/>
            </a:xfrm>
            <a:prstGeom prst="rect">
              <a:avLst/>
            </a:prstGeom>
            <a:noFill/>
          </p:spPr>
          <p:txBody>
            <a:bodyPr wrap="square" rtlCol="0">
              <a:spAutoFit/>
            </a:bodyPr>
            <a:lstStyle/>
            <a:p>
              <a:pPr algn="r"/>
              <a:r>
                <a:rPr lang="en-GB" sz="1029" dirty="0">
                  <a:solidFill>
                    <a:schemeClr val="tx2"/>
                  </a:solidFill>
                  <a:latin typeface="+mn-lt"/>
                </a:rPr>
                <a:t>Potential return</a:t>
              </a:r>
            </a:p>
          </p:txBody>
        </p:sp>
        <p:sp>
          <p:nvSpPr>
            <p:cNvPr id="26" name="TextBox 25">
              <a:extLst>
                <a:ext uri="{FF2B5EF4-FFF2-40B4-BE49-F238E27FC236}">
                  <a16:creationId xmlns:a16="http://schemas.microsoft.com/office/drawing/2014/main" id="{2EDF115B-7EA1-8606-3D19-A8B706A6F8D9}"/>
                </a:ext>
              </a:extLst>
            </p:cNvPr>
            <p:cNvSpPr txBox="1">
              <a:spLocks/>
            </p:cNvSpPr>
            <p:nvPr/>
          </p:nvSpPr>
          <p:spPr>
            <a:xfrm>
              <a:off x="9174514" y="6185738"/>
              <a:ext cx="1127885" cy="373441"/>
            </a:xfrm>
            <a:prstGeom prst="rect">
              <a:avLst/>
            </a:prstGeom>
            <a:noFill/>
          </p:spPr>
          <p:txBody>
            <a:bodyPr wrap="square" rtlCol="0">
              <a:spAutoFit/>
            </a:bodyPr>
            <a:lstStyle/>
            <a:p>
              <a:pPr algn="r"/>
              <a:r>
                <a:rPr lang="en-GB" sz="1029" dirty="0">
                  <a:solidFill>
                    <a:schemeClr val="tx2"/>
                  </a:solidFill>
                  <a:latin typeface="+mn-lt"/>
                </a:rPr>
                <a:t>Risk</a:t>
              </a:r>
            </a:p>
          </p:txBody>
        </p:sp>
      </p:grpSp>
      <p:grpSp>
        <p:nvGrpSpPr>
          <p:cNvPr id="106" name="Group 105">
            <a:extLst>
              <a:ext uri="{FF2B5EF4-FFF2-40B4-BE49-F238E27FC236}">
                <a16:creationId xmlns:a16="http://schemas.microsoft.com/office/drawing/2014/main" id="{C065A475-1451-14B5-CBEF-5C70941AD643}"/>
              </a:ext>
            </a:extLst>
          </p:cNvPr>
          <p:cNvGrpSpPr/>
          <p:nvPr/>
        </p:nvGrpSpPr>
        <p:grpSpPr>
          <a:xfrm>
            <a:off x="8718075" y="4241454"/>
            <a:ext cx="2276993" cy="1104797"/>
            <a:chOff x="8718075" y="3613668"/>
            <a:chExt cx="2276993" cy="1104797"/>
          </a:xfrm>
        </p:grpSpPr>
        <p:sp>
          <p:nvSpPr>
            <p:cNvPr id="40" name="Rectangle 39">
              <a:extLst>
                <a:ext uri="{FF2B5EF4-FFF2-40B4-BE49-F238E27FC236}">
                  <a16:creationId xmlns:a16="http://schemas.microsoft.com/office/drawing/2014/main" id="{6DE1F553-5FB5-15EF-5D77-C81968E702B8}"/>
                </a:ext>
              </a:extLst>
            </p:cNvPr>
            <p:cNvSpPr>
              <a:spLocks/>
            </p:cNvSpPr>
            <p:nvPr/>
          </p:nvSpPr>
          <p:spPr>
            <a:xfrm>
              <a:off x="8719943" y="3756182"/>
              <a:ext cx="75880" cy="75880"/>
            </a:xfrm>
            <a:prstGeom prst="rect">
              <a:avLst/>
            </a:prstGeom>
            <a:solidFill>
              <a:schemeClr val="accent1"/>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41" name="TextBox 40">
              <a:extLst>
                <a:ext uri="{FF2B5EF4-FFF2-40B4-BE49-F238E27FC236}">
                  <a16:creationId xmlns:a16="http://schemas.microsoft.com/office/drawing/2014/main" id="{60A4D52C-4D2C-328D-39F9-39C4431917FB}"/>
                </a:ext>
              </a:extLst>
            </p:cNvPr>
            <p:cNvSpPr txBox="1">
              <a:spLocks/>
            </p:cNvSpPr>
            <p:nvPr/>
          </p:nvSpPr>
          <p:spPr>
            <a:xfrm>
              <a:off x="8843886" y="3741357"/>
              <a:ext cx="912109" cy="105542"/>
            </a:xfrm>
            <a:prstGeom prst="rect">
              <a:avLst/>
            </a:prstGeom>
            <a:noFill/>
          </p:spPr>
          <p:txBody>
            <a:bodyPr wrap="none" lIns="0" tIns="0" rIns="0" bIns="0" rtlCol="0">
              <a:spAutoFit/>
            </a:bodyPr>
            <a:lstStyle/>
            <a:p>
              <a:pPr algn="l" defTabSz="848941" fontAlgn="b">
                <a:spcBef>
                  <a:spcPts val="0"/>
                </a:spcBef>
                <a:spcAft>
                  <a:spcPts val="0"/>
                </a:spcAft>
                <a:defRPr/>
              </a:pPr>
              <a:r>
                <a:rPr lang="en-GB" sz="686" dirty="0">
                  <a:solidFill>
                    <a:schemeClr val="tx2"/>
                  </a:solidFill>
                  <a:latin typeface="+mn-lt"/>
                  <a:cs typeface="+mn-cs"/>
                </a:rPr>
                <a:t>North American Equity</a:t>
              </a:r>
            </a:p>
          </p:txBody>
        </p:sp>
        <p:sp>
          <p:nvSpPr>
            <p:cNvPr id="42" name="Rectangle 41">
              <a:extLst>
                <a:ext uri="{FF2B5EF4-FFF2-40B4-BE49-F238E27FC236}">
                  <a16:creationId xmlns:a16="http://schemas.microsoft.com/office/drawing/2014/main" id="{738BEB74-49B5-8D3F-F4AB-E9905AE74764}"/>
                </a:ext>
              </a:extLst>
            </p:cNvPr>
            <p:cNvSpPr>
              <a:spLocks/>
            </p:cNvSpPr>
            <p:nvPr/>
          </p:nvSpPr>
          <p:spPr>
            <a:xfrm>
              <a:off x="9861233" y="3756182"/>
              <a:ext cx="75880" cy="75880"/>
            </a:xfrm>
            <a:prstGeom prst="rect">
              <a:avLst/>
            </a:prstGeom>
            <a:solidFill>
              <a:schemeClr val="accent4"/>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43" name="TextBox 42">
              <a:extLst>
                <a:ext uri="{FF2B5EF4-FFF2-40B4-BE49-F238E27FC236}">
                  <a16:creationId xmlns:a16="http://schemas.microsoft.com/office/drawing/2014/main" id="{4EC935F9-C58E-856D-986E-ED7069474BEE}"/>
                </a:ext>
              </a:extLst>
            </p:cNvPr>
            <p:cNvSpPr txBox="1">
              <a:spLocks/>
            </p:cNvSpPr>
            <p:nvPr/>
          </p:nvSpPr>
          <p:spPr>
            <a:xfrm>
              <a:off x="9985176" y="3741357"/>
              <a:ext cx="1009892"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Emerging Markets Equity</a:t>
              </a:r>
            </a:p>
          </p:txBody>
        </p:sp>
        <p:sp>
          <p:nvSpPr>
            <p:cNvPr id="44" name="Rectangle 43">
              <a:extLst>
                <a:ext uri="{FF2B5EF4-FFF2-40B4-BE49-F238E27FC236}">
                  <a16:creationId xmlns:a16="http://schemas.microsoft.com/office/drawing/2014/main" id="{50D5DACA-A029-F830-A1D9-ABF49498F98B}"/>
                </a:ext>
              </a:extLst>
            </p:cNvPr>
            <p:cNvSpPr>
              <a:spLocks/>
            </p:cNvSpPr>
            <p:nvPr/>
          </p:nvSpPr>
          <p:spPr>
            <a:xfrm>
              <a:off x="8719943" y="3878648"/>
              <a:ext cx="75880" cy="75880"/>
            </a:xfrm>
            <a:prstGeom prst="rect">
              <a:avLst/>
            </a:prstGeom>
            <a:solidFill>
              <a:schemeClr val="accent2"/>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45" name="TextBox 44">
              <a:extLst>
                <a:ext uri="{FF2B5EF4-FFF2-40B4-BE49-F238E27FC236}">
                  <a16:creationId xmlns:a16="http://schemas.microsoft.com/office/drawing/2014/main" id="{367FDAB3-58CB-5191-7429-3B06D90B8994}"/>
                </a:ext>
              </a:extLst>
            </p:cNvPr>
            <p:cNvSpPr txBox="1">
              <a:spLocks/>
            </p:cNvSpPr>
            <p:nvPr/>
          </p:nvSpPr>
          <p:spPr>
            <a:xfrm>
              <a:off x="8843886" y="3863823"/>
              <a:ext cx="823944"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Europe ex UK Equity</a:t>
              </a:r>
            </a:p>
          </p:txBody>
        </p:sp>
        <p:sp>
          <p:nvSpPr>
            <p:cNvPr id="46" name="Rectangle 45">
              <a:extLst>
                <a:ext uri="{FF2B5EF4-FFF2-40B4-BE49-F238E27FC236}">
                  <a16:creationId xmlns:a16="http://schemas.microsoft.com/office/drawing/2014/main" id="{1B8CBEA8-1DFE-6807-C98E-5DB3DF0F19A0}"/>
                </a:ext>
              </a:extLst>
            </p:cNvPr>
            <p:cNvSpPr>
              <a:spLocks/>
            </p:cNvSpPr>
            <p:nvPr/>
          </p:nvSpPr>
          <p:spPr>
            <a:xfrm>
              <a:off x="8719943" y="3987050"/>
              <a:ext cx="75880" cy="75880"/>
            </a:xfrm>
            <a:prstGeom prst="rect">
              <a:avLst/>
            </a:prstGeom>
            <a:solidFill>
              <a:schemeClr val="accent3"/>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47" name="TextBox 46">
              <a:extLst>
                <a:ext uri="{FF2B5EF4-FFF2-40B4-BE49-F238E27FC236}">
                  <a16:creationId xmlns:a16="http://schemas.microsoft.com/office/drawing/2014/main" id="{D3BAEEAD-7727-B371-FF39-C69F9E44933A}"/>
                </a:ext>
              </a:extLst>
            </p:cNvPr>
            <p:cNvSpPr txBox="1">
              <a:spLocks/>
            </p:cNvSpPr>
            <p:nvPr/>
          </p:nvSpPr>
          <p:spPr>
            <a:xfrm>
              <a:off x="8843886" y="3972225"/>
              <a:ext cx="391133"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UK Equity</a:t>
              </a:r>
            </a:p>
          </p:txBody>
        </p:sp>
        <p:sp>
          <p:nvSpPr>
            <p:cNvPr id="48" name="Rectangle 47">
              <a:extLst>
                <a:ext uri="{FF2B5EF4-FFF2-40B4-BE49-F238E27FC236}">
                  <a16:creationId xmlns:a16="http://schemas.microsoft.com/office/drawing/2014/main" id="{209A1B08-B06E-FC60-AAB9-B890766188E3}"/>
                </a:ext>
              </a:extLst>
            </p:cNvPr>
            <p:cNvSpPr>
              <a:spLocks/>
            </p:cNvSpPr>
            <p:nvPr/>
          </p:nvSpPr>
          <p:spPr>
            <a:xfrm>
              <a:off x="9861233" y="3878648"/>
              <a:ext cx="75880" cy="75880"/>
            </a:xfrm>
            <a:prstGeom prst="rect">
              <a:avLst/>
            </a:prstGeom>
            <a:solidFill>
              <a:schemeClr val="accent5"/>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49" name="TextBox 48">
              <a:extLst>
                <a:ext uri="{FF2B5EF4-FFF2-40B4-BE49-F238E27FC236}">
                  <a16:creationId xmlns:a16="http://schemas.microsoft.com/office/drawing/2014/main" id="{86C2D660-40B4-0325-0527-0733AABAE067}"/>
                </a:ext>
              </a:extLst>
            </p:cNvPr>
            <p:cNvSpPr txBox="1">
              <a:spLocks/>
            </p:cNvSpPr>
            <p:nvPr/>
          </p:nvSpPr>
          <p:spPr>
            <a:xfrm>
              <a:off x="9985176" y="3863823"/>
              <a:ext cx="910506"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Pacific ex Japan Equity</a:t>
              </a:r>
            </a:p>
          </p:txBody>
        </p:sp>
        <p:sp>
          <p:nvSpPr>
            <p:cNvPr id="50" name="Rectangle 49">
              <a:extLst>
                <a:ext uri="{FF2B5EF4-FFF2-40B4-BE49-F238E27FC236}">
                  <a16:creationId xmlns:a16="http://schemas.microsoft.com/office/drawing/2014/main" id="{05D68F5A-0153-FBD1-4C4A-746CAA34C65A}"/>
                </a:ext>
              </a:extLst>
            </p:cNvPr>
            <p:cNvSpPr>
              <a:spLocks/>
            </p:cNvSpPr>
            <p:nvPr/>
          </p:nvSpPr>
          <p:spPr>
            <a:xfrm>
              <a:off x="9861233" y="3987050"/>
              <a:ext cx="75880" cy="75880"/>
            </a:xfrm>
            <a:prstGeom prst="rect">
              <a:avLst/>
            </a:prstGeom>
            <a:solidFill>
              <a:schemeClr val="accent6"/>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51" name="TextBox 50">
              <a:extLst>
                <a:ext uri="{FF2B5EF4-FFF2-40B4-BE49-F238E27FC236}">
                  <a16:creationId xmlns:a16="http://schemas.microsoft.com/office/drawing/2014/main" id="{04F26D84-00CB-DF3D-EF81-0D26469BF4A1}"/>
                </a:ext>
              </a:extLst>
            </p:cNvPr>
            <p:cNvSpPr txBox="1">
              <a:spLocks/>
            </p:cNvSpPr>
            <p:nvPr/>
          </p:nvSpPr>
          <p:spPr>
            <a:xfrm>
              <a:off x="9985176" y="3972225"/>
              <a:ext cx="517770"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Japan Equity</a:t>
              </a:r>
            </a:p>
          </p:txBody>
        </p:sp>
        <p:sp>
          <p:nvSpPr>
            <p:cNvPr id="52" name="TextBox 51">
              <a:extLst>
                <a:ext uri="{FF2B5EF4-FFF2-40B4-BE49-F238E27FC236}">
                  <a16:creationId xmlns:a16="http://schemas.microsoft.com/office/drawing/2014/main" id="{DD9ED8D2-4CEB-C148-7C45-D2343D2385A1}"/>
                </a:ext>
              </a:extLst>
            </p:cNvPr>
            <p:cNvSpPr txBox="1">
              <a:spLocks/>
            </p:cNvSpPr>
            <p:nvPr/>
          </p:nvSpPr>
          <p:spPr>
            <a:xfrm>
              <a:off x="8718078" y="3613668"/>
              <a:ext cx="270908" cy="105542"/>
            </a:xfrm>
            <a:prstGeom prst="rect">
              <a:avLst/>
            </a:prstGeom>
            <a:noFill/>
          </p:spPr>
          <p:txBody>
            <a:bodyPr wrap="none" lIns="0" tIns="0" rIns="0" bIns="0" rtlCol="0">
              <a:spAutoFit/>
            </a:bodyPr>
            <a:lstStyle/>
            <a:p>
              <a:pPr algn="l" defTabSz="848941" fontAlgn="b">
                <a:spcBef>
                  <a:spcPts val="0"/>
                </a:spcBef>
                <a:spcAft>
                  <a:spcPts val="0"/>
                </a:spcAft>
                <a:defRPr/>
              </a:pPr>
              <a:r>
                <a:rPr lang="en-GB" sz="686" b="1" dirty="0">
                  <a:solidFill>
                    <a:schemeClr val="tx2"/>
                  </a:solidFill>
                  <a:latin typeface="+mn-lt"/>
                  <a:cs typeface="+mn-cs"/>
                </a:rPr>
                <a:t>Equity</a:t>
              </a:r>
            </a:p>
          </p:txBody>
        </p:sp>
        <p:sp>
          <p:nvSpPr>
            <p:cNvPr id="53" name="Rectangle 52">
              <a:extLst>
                <a:ext uri="{FF2B5EF4-FFF2-40B4-BE49-F238E27FC236}">
                  <a16:creationId xmlns:a16="http://schemas.microsoft.com/office/drawing/2014/main" id="{F8DAC389-A28F-58A6-5D63-473E07917756}"/>
                </a:ext>
              </a:extLst>
            </p:cNvPr>
            <p:cNvSpPr>
              <a:spLocks/>
            </p:cNvSpPr>
            <p:nvPr/>
          </p:nvSpPr>
          <p:spPr>
            <a:xfrm>
              <a:off x="8719943" y="4247126"/>
              <a:ext cx="75880" cy="75880"/>
            </a:xfrm>
            <a:prstGeom prst="rect">
              <a:avLst/>
            </a:prstGeom>
            <a:solidFill>
              <a:srgbClr val="2DB4B4"/>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54" name="TextBox 53">
              <a:extLst>
                <a:ext uri="{FF2B5EF4-FFF2-40B4-BE49-F238E27FC236}">
                  <a16:creationId xmlns:a16="http://schemas.microsoft.com/office/drawing/2014/main" id="{543ABC6A-F192-E41A-1CC3-53BA5C18962D}"/>
                </a:ext>
              </a:extLst>
            </p:cNvPr>
            <p:cNvSpPr txBox="1">
              <a:spLocks/>
            </p:cNvSpPr>
            <p:nvPr/>
          </p:nvSpPr>
          <p:spPr>
            <a:xfrm>
              <a:off x="8843886" y="4232301"/>
              <a:ext cx="745397"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Government Bond</a:t>
              </a:r>
            </a:p>
          </p:txBody>
        </p:sp>
        <p:sp>
          <p:nvSpPr>
            <p:cNvPr id="55" name="Rectangle 54">
              <a:extLst>
                <a:ext uri="{FF2B5EF4-FFF2-40B4-BE49-F238E27FC236}">
                  <a16:creationId xmlns:a16="http://schemas.microsoft.com/office/drawing/2014/main" id="{C0A52102-5E99-ABE9-BEBD-AA34E24BD98D}"/>
                </a:ext>
              </a:extLst>
            </p:cNvPr>
            <p:cNvSpPr>
              <a:spLocks/>
            </p:cNvSpPr>
            <p:nvPr/>
          </p:nvSpPr>
          <p:spPr>
            <a:xfrm>
              <a:off x="8719943" y="4364469"/>
              <a:ext cx="75880" cy="75880"/>
            </a:xfrm>
            <a:prstGeom prst="rect">
              <a:avLst/>
            </a:prstGeom>
            <a:solidFill>
              <a:srgbClr val="75DDDD"/>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56" name="TextBox 55">
              <a:extLst>
                <a:ext uri="{FF2B5EF4-FFF2-40B4-BE49-F238E27FC236}">
                  <a16:creationId xmlns:a16="http://schemas.microsoft.com/office/drawing/2014/main" id="{D98F7959-0717-57B5-C50C-8F1C89FD7896}"/>
                </a:ext>
              </a:extLst>
            </p:cNvPr>
            <p:cNvSpPr txBox="1">
              <a:spLocks/>
            </p:cNvSpPr>
            <p:nvPr/>
          </p:nvSpPr>
          <p:spPr>
            <a:xfrm>
              <a:off x="8843886" y="4349644"/>
              <a:ext cx="987450"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Investment Grade Credit</a:t>
              </a:r>
            </a:p>
          </p:txBody>
        </p:sp>
        <p:sp>
          <p:nvSpPr>
            <p:cNvPr id="57" name="Rectangle 56">
              <a:extLst>
                <a:ext uri="{FF2B5EF4-FFF2-40B4-BE49-F238E27FC236}">
                  <a16:creationId xmlns:a16="http://schemas.microsoft.com/office/drawing/2014/main" id="{7F1C1BED-C8F6-3665-F68A-B5B72AB80C07}"/>
                </a:ext>
              </a:extLst>
            </p:cNvPr>
            <p:cNvSpPr>
              <a:spLocks/>
            </p:cNvSpPr>
            <p:nvPr/>
          </p:nvSpPr>
          <p:spPr>
            <a:xfrm>
              <a:off x="9861233" y="4247126"/>
              <a:ext cx="75880" cy="75880"/>
            </a:xfrm>
            <a:prstGeom prst="rect">
              <a:avLst/>
            </a:prstGeom>
            <a:solidFill>
              <a:srgbClr val="ABEAEA"/>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58" name="TextBox 57">
              <a:extLst>
                <a:ext uri="{FF2B5EF4-FFF2-40B4-BE49-F238E27FC236}">
                  <a16:creationId xmlns:a16="http://schemas.microsoft.com/office/drawing/2014/main" id="{288FFDE2-C948-B475-68A1-84CCF2D47E30}"/>
                </a:ext>
              </a:extLst>
            </p:cNvPr>
            <p:cNvSpPr txBox="1">
              <a:spLocks/>
            </p:cNvSpPr>
            <p:nvPr/>
          </p:nvSpPr>
          <p:spPr>
            <a:xfrm>
              <a:off x="9985176" y="4232301"/>
              <a:ext cx="692497"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High Yield Credit</a:t>
              </a:r>
            </a:p>
          </p:txBody>
        </p:sp>
        <p:sp>
          <p:nvSpPr>
            <p:cNvPr id="59" name="Rectangle 58">
              <a:extLst>
                <a:ext uri="{FF2B5EF4-FFF2-40B4-BE49-F238E27FC236}">
                  <a16:creationId xmlns:a16="http://schemas.microsoft.com/office/drawing/2014/main" id="{D0A7A649-AC0F-EC0F-6BCE-12AD4A894007}"/>
                </a:ext>
              </a:extLst>
            </p:cNvPr>
            <p:cNvSpPr>
              <a:spLocks/>
            </p:cNvSpPr>
            <p:nvPr/>
          </p:nvSpPr>
          <p:spPr>
            <a:xfrm>
              <a:off x="9861233" y="4364469"/>
              <a:ext cx="75880" cy="75880"/>
            </a:xfrm>
            <a:prstGeom prst="rect">
              <a:avLst/>
            </a:prstGeom>
            <a:solidFill>
              <a:srgbClr val="CFF3F3"/>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60" name="TextBox 59">
              <a:extLst>
                <a:ext uri="{FF2B5EF4-FFF2-40B4-BE49-F238E27FC236}">
                  <a16:creationId xmlns:a16="http://schemas.microsoft.com/office/drawing/2014/main" id="{F811F4BD-C618-D8F2-BF95-A5936994588C}"/>
                </a:ext>
              </a:extLst>
            </p:cNvPr>
            <p:cNvSpPr txBox="1">
              <a:spLocks/>
            </p:cNvSpPr>
            <p:nvPr/>
          </p:nvSpPr>
          <p:spPr>
            <a:xfrm>
              <a:off x="9985176" y="4349644"/>
              <a:ext cx="920124" cy="105542"/>
            </a:xfrm>
            <a:prstGeom prst="rect">
              <a:avLst/>
            </a:prstGeom>
            <a:noFill/>
          </p:spPr>
          <p:txBody>
            <a:bodyPr wrap="none" lIns="0" tIns="0" rIns="0" bIns="0" rtlCol="0">
              <a:spAutoFit/>
            </a:bodyPr>
            <a:lstStyle/>
            <a:p>
              <a:pPr algn="l" fontAlgn="b"/>
              <a:r>
                <a:rPr lang="en-GB" sz="686" dirty="0">
                  <a:solidFill>
                    <a:schemeClr val="tx2"/>
                  </a:solidFill>
                  <a:latin typeface="+mn-lt"/>
                  <a:cs typeface="+mn-cs"/>
                </a:rPr>
                <a:t>Emerging Market Debt</a:t>
              </a:r>
            </a:p>
          </p:txBody>
        </p:sp>
        <p:sp>
          <p:nvSpPr>
            <p:cNvPr id="65" name="TextBox 64">
              <a:extLst>
                <a:ext uri="{FF2B5EF4-FFF2-40B4-BE49-F238E27FC236}">
                  <a16:creationId xmlns:a16="http://schemas.microsoft.com/office/drawing/2014/main" id="{DCEB7C26-A97B-3F96-4E48-257671CC6013}"/>
                </a:ext>
              </a:extLst>
            </p:cNvPr>
            <p:cNvSpPr txBox="1">
              <a:spLocks/>
            </p:cNvSpPr>
            <p:nvPr/>
          </p:nvSpPr>
          <p:spPr>
            <a:xfrm>
              <a:off x="8718078" y="4104612"/>
              <a:ext cx="580287" cy="105542"/>
            </a:xfrm>
            <a:prstGeom prst="rect">
              <a:avLst/>
            </a:prstGeom>
            <a:noFill/>
          </p:spPr>
          <p:txBody>
            <a:bodyPr wrap="none" lIns="0" tIns="0" rIns="0" bIns="0" rtlCol="0">
              <a:spAutoFit/>
            </a:bodyPr>
            <a:lstStyle/>
            <a:p>
              <a:pPr algn="l" defTabSz="848941" fontAlgn="b">
                <a:spcBef>
                  <a:spcPts val="0"/>
                </a:spcBef>
                <a:spcAft>
                  <a:spcPts val="0"/>
                </a:spcAft>
                <a:defRPr/>
              </a:pPr>
              <a:r>
                <a:rPr lang="en-GB" sz="686" b="1" dirty="0">
                  <a:solidFill>
                    <a:schemeClr val="tx2"/>
                  </a:solidFill>
                  <a:latin typeface="+mn-lt"/>
                  <a:cs typeface="+mn-cs"/>
                </a:rPr>
                <a:t>Fixed Income</a:t>
              </a:r>
            </a:p>
          </p:txBody>
        </p:sp>
        <p:grpSp>
          <p:nvGrpSpPr>
            <p:cNvPr id="21" name="Group 20">
              <a:extLst>
                <a:ext uri="{FF2B5EF4-FFF2-40B4-BE49-F238E27FC236}">
                  <a16:creationId xmlns:a16="http://schemas.microsoft.com/office/drawing/2014/main" id="{DC5CDE41-2039-9F44-28CD-D5AA3F92C8A6}"/>
                </a:ext>
              </a:extLst>
            </p:cNvPr>
            <p:cNvGrpSpPr>
              <a:grpSpLocks/>
            </p:cNvGrpSpPr>
            <p:nvPr/>
          </p:nvGrpSpPr>
          <p:grpSpPr>
            <a:xfrm>
              <a:off x="8718075" y="4485234"/>
              <a:ext cx="1385766" cy="233231"/>
              <a:chOff x="9991733" y="5465669"/>
              <a:chExt cx="1616613" cy="272084"/>
            </a:xfrm>
          </p:grpSpPr>
          <p:sp>
            <p:nvSpPr>
              <p:cNvPr id="66" name="Rectangle 65">
                <a:extLst>
                  <a:ext uri="{FF2B5EF4-FFF2-40B4-BE49-F238E27FC236}">
                    <a16:creationId xmlns:a16="http://schemas.microsoft.com/office/drawing/2014/main" id="{870C3F37-7EA3-4CED-248E-DBDA970E29EC}"/>
                  </a:ext>
                </a:extLst>
              </p:cNvPr>
              <p:cNvSpPr>
                <a:spLocks/>
              </p:cNvSpPr>
              <p:nvPr/>
            </p:nvSpPr>
            <p:spPr>
              <a:xfrm>
                <a:off x="9993909" y="5631924"/>
                <a:ext cx="88520" cy="88520"/>
              </a:xfrm>
              <a:prstGeom prst="rect">
                <a:avLst/>
              </a:prstGeom>
              <a:solidFill>
                <a:srgbClr val="FF6120"/>
              </a:solidFill>
              <a:ln w="3175" cap="sq">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lIns="30859" tIns="30859" rIns="30859" bIns="30859" rtlCol="0" anchor="ctr"/>
              <a:lstStyle/>
              <a:p>
                <a:pPr algn="ctr"/>
                <a:endParaRPr lang="en-GB" sz="1114">
                  <a:solidFill>
                    <a:schemeClr val="tx2"/>
                  </a:solidFill>
                </a:endParaRPr>
              </a:p>
            </p:txBody>
          </p:sp>
          <p:sp>
            <p:nvSpPr>
              <p:cNvPr id="67" name="TextBox 66">
                <a:extLst>
                  <a:ext uri="{FF2B5EF4-FFF2-40B4-BE49-F238E27FC236}">
                    <a16:creationId xmlns:a16="http://schemas.microsoft.com/office/drawing/2014/main" id="{35E1E186-E118-BA90-F5A5-DD2A5A5B8AFA}"/>
                  </a:ext>
                </a:extLst>
              </p:cNvPr>
              <p:cNvSpPr txBox="1">
                <a:spLocks/>
              </p:cNvSpPr>
              <p:nvPr/>
            </p:nvSpPr>
            <p:spPr>
              <a:xfrm>
                <a:off x="10138497" y="5614629"/>
                <a:ext cx="1469849" cy="123124"/>
              </a:xfrm>
              <a:prstGeom prst="rect">
                <a:avLst/>
              </a:prstGeom>
              <a:noFill/>
            </p:spPr>
            <p:txBody>
              <a:bodyPr wrap="none" lIns="0" tIns="0" rIns="0" bIns="0" rtlCol="0">
                <a:spAutoFit/>
              </a:bodyPr>
              <a:lstStyle/>
              <a:p>
                <a:pPr algn="l" defTabSz="848941" fontAlgn="b">
                  <a:spcBef>
                    <a:spcPts val="0"/>
                  </a:spcBef>
                  <a:spcAft>
                    <a:spcPts val="0"/>
                  </a:spcAft>
                  <a:defRPr/>
                </a:pPr>
                <a:r>
                  <a:rPr lang="en-GB" sz="686" dirty="0">
                    <a:solidFill>
                      <a:srgbClr val="000000"/>
                    </a:solidFill>
                    <a:latin typeface="Arial"/>
                    <a:cs typeface="+mn-cs"/>
                  </a:rPr>
                  <a:t>Cash and derivative instruments</a:t>
                </a:r>
              </a:p>
            </p:txBody>
          </p:sp>
          <p:sp>
            <p:nvSpPr>
              <p:cNvPr id="85" name="TextBox 84">
                <a:extLst>
                  <a:ext uri="{FF2B5EF4-FFF2-40B4-BE49-F238E27FC236}">
                    <a16:creationId xmlns:a16="http://schemas.microsoft.com/office/drawing/2014/main" id="{A1B3AD26-27F4-CAF9-A868-C1394CD1B638}"/>
                  </a:ext>
                </a:extLst>
              </p:cNvPr>
              <p:cNvSpPr txBox="1">
                <a:spLocks/>
              </p:cNvSpPr>
              <p:nvPr/>
            </p:nvSpPr>
            <p:spPr>
              <a:xfrm>
                <a:off x="9991733" y="5465669"/>
                <a:ext cx="241236" cy="123124"/>
              </a:xfrm>
              <a:prstGeom prst="rect">
                <a:avLst/>
              </a:prstGeom>
              <a:noFill/>
            </p:spPr>
            <p:txBody>
              <a:bodyPr wrap="none" lIns="0" tIns="0" rIns="0" bIns="0" rtlCol="0">
                <a:spAutoFit/>
              </a:bodyPr>
              <a:lstStyle/>
              <a:p>
                <a:pPr algn="l" defTabSz="848941" fontAlgn="b">
                  <a:spcBef>
                    <a:spcPts val="0"/>
                  </a:spcBef>
                  <a:spcAft>
                    <a:spcPts val="0"/>
                  </a:spcAft>
                  <a:defRPr/>
                </a:pPr>
                <a:r>
                  <a:rPr lang="en-GB" sz="686" b="1" dirty="0">
                    <a:solidFill>
                      <a:schemeClr val="tx2"/>
                    </a:solidFill>
                    <a:latin typeface="+mn-lt"/>
                    <a:cs typeface="+mn-cs"/>
                  </a:rPr>
                  <a:t>Cash</a:t>
                </a:r>
              </a:p>
            </p:txBody>
          </p:sp>
        </p:grpSp>
      </p:grpSp>
      <p:graphicFrame>
        <p:nvGraphicFramePr>
          <p:cNvPr id="33" name="Chart 32">
            <a:extLst>
              <a:ext uri="{FF2B5EF4-FFF2-40B4-BE49-F238E27FC236}">
                <a16:creationId xmlns:a16="http://schemas.microsoft.com/office/drawing/2014/main" id="{FF933C4C-14CA-4413-6B36-3E42816CF52F}"/>
              </a:ext>
            </a:extLst>
          </p:cNvPr>
          <p:cNvGraphicFramePr>
            <a:graphicFrameLocks/>
          </p:cNvGraphicFramePr>
          <p:nvPr>
            <p:extLst>
              <p:ext uri="{D42A27DB-BD31-4B8C-83A1-F6EECF244321}">
                <p14:modId xmlns:p14="http://schemas.microsoft.com/office/powerpoint/2010/main" val="3023797883"/>
              </p:ext>
            </p:extLst>
          </p:nvPr>
        </p:nvGraphicFramePr>
        <p:xfrm>
          <a:off x="2780095" y="3198649"/>
          <a:ext cx="1848472" cy="123231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1" name="Chart 60">
            <a:extLst>
              <a:ext uri="{FF2B5EF4-FFF2-40B4-BE49-F238E27FC236}">
                <a16:creationId xmlns:a16="http://schemas.microsoft.com/office/drawing/2014/main" id="{AAB3D29A-66A7-2607-3CF9-419DF30B96DA}"/>
              </a:ext>
            </a:extLst>
          </p:cNvPr>
          <p:cNvGraphicFramePr>
            <a:graphicFrameLocks/>
          </p:cNvGraphicFramePr>
          <p:nvPr>
            <p:extLst>
              <p:ext uri="{D42A27DB-BD31-4B8C-83A1-F6EECF244321}">
                <p14:modId xmlns:p14="http://schemas.microsoft.com/office/powerpoint/2010/main" val="3374193015"/>
              </p:ext>
            </p:extLst>
          </p:nvPr>
        </p:nvGraphicFramePr>
        <p:xfrm>
          <a:off x="4830591" y="2888116"/>
          <a:ext cx="1848472" cy="12323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2" name="Chart 61">
            <a:extLst>
              <a:ext uri="{FF2B5EF4-FFF2-40B4-BE49-F238E27FC236}">
                <a16:creationId xmlns:a16="http://schemas.microsoft.com/office/drawing/2014/main" id="{E34FEBCE-E904-DE03-39E3-DC194D743B6D}"/>
              </a:ext>
            </a:extLst>
          </p:cNvPr>
          <p:cNvGraphicFramePr>
            <a:graphicFrameLocks/>
          </p:cNvGraphicFramePr>
          <p:nvPr>
            <p:extLst>
              <p:ext uri="{D42A27DB-BD31-4B8C-83A1-F6EECF244321}">
                <p14:modId xmlns:p14="http://schemas.microsoft.com/office/powerpoint/2010/main" val="571405552"/>
              </p:ext>
            </p:extLst>
          </p:nvPr>
        </p:nvGraphicFramePr>
        <p:xfrm>
          <a:off x="6922306" y="2546570"/>
          <a:ext cx="1848472" cy="123231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3" name="Chart 62">
            <a:extLst>
              <a:ext uri="{FF2B5EF4-FFF2-40B4-BE49-F238E27FC236}">
                <a16:creationId xmlns:a16="http://schemas.microsoft.com/office/drawing/2014/main" id="{5B58E00A-1D8C-0FF0-57AF-2F1D9849A28D}"/>
              </a:ext>
            </a:extLst>
          </p:cNvPr>
          <p:cNvGraphicFramePr>
            <a:graphicFrameLocks/>
          </p:cNvGraphicFramePr>
          <p:nvPr>
            <p:extLst>
              <p:ext uri="{D42A27DB-BD31-4B8C-83A1-F6EECF244321}">
                <p14:modId xmlns:p14="http://schemas.microsoft.com/office/powerpoint/2010/main" val="3975268007"/>
              </p:ext>
            </p:extLst>
          </p:nvPr>
        </p:nvGraphicFramePr>
        <p:xfrm>
          <a:off x="8950140" y="2209941"/>
          <a:ext cx="1848472" cy="1232316"/>
        </p:xfrm>
        <a:graphic>
          <a:graphicData uri="http://schemas.openxmlformats.org/drawingml/2006/chart">
            <c:chart xmlns:c="http://schemas.openxmlformats.org/drawingml/2006/chart" xmlns:r="http://schemas.openxmlformats.org/officeDocument/2006/relationships" r:id="rId8"/>
          </a:graphicData>
        </a:graphic>
      </p:graphicFrame>
      <p:pic>
        <p:nvPicPr>
          <p:cNvPr id="107" name="Picture 106">
            <a:extLst>
              <a:ext uri="{FF2B5EF4-FFF2-40B4-BE49-F238E27FC236}">
                <a16:creationId xmlns:a16="http://schemas.microsoft.com/office/drawing/2014/main" id="{545B35D1-8AA4-4F2E-48D3-F19AB2DC6299}"/>
              </a:ext>
            </a:extLst>
          </p:cNvPr>
          <p:cNvPicPr>
            <a:picLocks/>
          </p:cNvPicPr>
          <p:nvPr/>
        </p:nvPicPr>
        <p:blipFill>
          <a:blip r:embed="rId9" cstate="print">
            <a:extLst>
              <a:ext uri="{28A0092B-C50C-407E-A947-70E740481C1C}">
                <a14:useLocalDpi xmlns:a14="http://schemas.microsoft.com/office/drawing/2010/main" val="0"/>
              </a:ext>
            </a:extLst>
          </a:blip>
          <a:srcRect/>
          <a:stretch/>
        </p:blipFill>
        <p:spPr>
          <a:xfrm>
            <a:off x="1129507" y="4735486"/>
            <a:ext cx="946950" cy="243010"/>
          </a:xfrm>
          <a:prstGeom prst="rect">
            <a:avLst/>
          </a:prstGeom>
        </p:spPr>
      </p:pic>
      <p:pic>
        <p:nvPicPr>
          <p:cNvPr id="108" name="Picture 107">
            <a:extLst>
              <a:ext uri="{FF2B5EF4-FFF2-40B4-BE49-F238E27FC236}">
                <a16:creationId xmlns:a16="http://schemas.microsoft.com/office/drawing/2014/main" id="{24A60109-2DCD-B2FB-E680-01E3F2ED9702}"/>
              </a:ext>
            </a:extLst>
          </p:cNvPr>
          <p:cNvPicPr>
            <a:picLocks/>
          </p:cNvPicPr>
          <p:nvPr/>
        </p:nvPicPr>
        <p:blipFill>
          <a:blip r:embed="rId10" cstate="print">
            <a:extLst>
              <a:ext uri="{28A0092B-C50C-407E-A947-70E740481C1C}">
                <a14:useLocalDpi xmlns:a14="http://schemas.microsoft.com/office/drawing/2010/main" val="0"/>
              </a:ext>
            </a:extLst>
          </a:blip>
          <a:srcRect/>
          <a:stretch/>
        </p:blipFill>
        <p:spPr>
          <a:xfrm>
            <a:off x="3225598" y="4408261"/>
            <a:ext cx="946949" cy="242350"/>
          </a:xfrm>
          <a:prstGeom prst="rect">
            <a:avLst/>
          </a:prstGeom>
        </p:spPr>
      </p:pic>
      <p:pic>
        <p:nvPicPr>
          <p:cNvPr id="109" name="Picture 11">
            <a:extLst>
              <a:ext uri="{FF2B5EF4-FFF2-40B4-BE49-F238E27FC236}">
                <a16:creationId xmlns:a16="http://schemas.microsoft.com/office/drawing/2014/main" id="{D416CE60-E020-6C80-7114-FBA948B31E7F}"/>
              </a:ext>
            </a:extLst>
          </p:cNvPr>
          <p:cNvPicPr>
            <a:picLocks/>
          </p:cNvPicPr>
          <p:nvPr/>
        </p:nvPicPr>
        <p:blipFill>
          <a:blip r:embed="rId11" cstate="print">
            <a:extLst>
              <a:ext uri="{28A0092B-C50C-407E-A947-70E740481C1C}">
                <a14:useLocalDpi xmlns:a14="http://schemas.microsoft.com/office/drawing/2010/main" val="0"/>
              </a:ext>
            </a:extLst>
          </a:blip>
          <a:srcRect/>
          <a:stretch/>
        </p:blipFill>
        <p:spPr>
          <a:xfrm>
            <a:off x="5278847" y="4084784"/>
            <a:ext cx="946950" cy="243010"/>
          </a:xfrm>
          <a:prstGeom prst="rect">
            <a:avLst/>
          </a:prstGeom>
        </p:spPr>
      </p:pic>
      <p:pic>
        <p:nvPicPr>
          <p:cNvPr id="110" name="Picture 109">
            <a:extLst>
              <a:ext uri="{FF2B5EF4-FFF2-40B4-BE49-F238E27FC236}">
                <a16:creationId xmlns:a16="http://schemas.microsoft.com/office/drawing/2014/main" id="{0C7DA9F7-EAA1-2EA7-FFE3-41E1E91F85A2}"/>
              </a:ext>
            </a:extLst>
          </p:cNvPr>
          <p:cNvPicPr>
            <a:picLocks/>
          </p:cNvPicPr>
          <p:nvPr/>
        </p:nvPicPr>
        <p:blipFill>
          <a:blip r:embed="rId12" cstate="print">
            <a:extLst>
              <a:ext uri="{28A0092B-C50C-407E-A947-70E740481C1C}">
                <a14:useLocalDpi xmlns:a14="http://schemas.microsoft.com/office/drawing/2010/main" val="0"/>
              </a:ext>
            </a:extLst>
          </a:blip>
          <a:srcRect/>
          <a:stretch/>
        </p:blipFill>
        <p:spPr>
          <a:xfrm>
            <a:off x="9413489" y="3403670"/>
            <a:ext cx="946288" cy="242350"/>
          </a:xfrm>
          <a:prstGeom prst="rect">
            <a:avLst/>
          </a:prstGeom>
        </p:spPr>
      </p:pic>
      <p:pic>
        <p:nvPicPr>
          <p:cNvPr id="111" name="Picture 110">
            <a:extLst>
              <a:ext uri="{FF2B5EF4-FFF2-40B4-BE49-F238E27FC236}">
                <a16:creationId xmlns:a16="http://schemas.microsoft.com/office/drawing/2014/main" id="{16FF1DB1-B955-18E7-AAFF-A29BFAD8DC60}"/>
              </a:ext>
            </a:extLst>
          </p:cNvPr>
          <p:cNvPicPr>
            <a:picLocks/>
          </p:cNvPicPr>
          <p:nvPr/>
        </p:nvPicPr>
        <p:blipFill>
          <a:blip r:embed="rId13" cstate="print">
            <a:extLst>
              <a:ext uri="{28A0092B-C50C-407E-A947-70E740481C1C}">
                <a14:useLocalDpi xmlns:a14="http://schemas.microsoft.com/office/drawing/2010/main" val="0"/>
              </a:ext>
            </a:extLst>
          </a:blip>
          <a:srcRect/>
          <a:stretch/>
        </p:blipFill>
        <p:spPr>
          <a:xfrm>
            <a:off x="7370716" y="3749304"/>
            <a:ext cx="939345" cy="240404"/>
          </a:xfrm>
          <a:prstGeom prst="rect">
            <a:avLst/>
          </a:prstGeom>
        </p:spPr>
      </p:pic>
      <p:pic>
        <p:nvPicPr>
          <p:cNvPr id="112" name="Picture 111" descr="Logo&#10;&#10;Description automatically generated">
            <a:extLst>
              <a:ext uri="{FF2B5EF4-FFF2-40B4-BE49-F238E27FC236}">
                <a16:creationId xmlns:a16="http://schemas.microsoft.com/office/drawing/2014/main" id="{A95E9293-E005-D784-8C0E-50BE0479AAAD}"/>
              </a:ext>
            </a:extLst>
          </p:cNvPr>
          <p:cNvPicPr>
            <a:picLocks/>
          </p:cNvPicPr>
          <p:nvPr/>
        </p:nvPicPr>
        <p:blipFill>
          <a:blip r:embed="rId14" cstate="print">
            <a:extLst>
              <a:ext uri="{28A0092B-C50C-407E-A947-70E740481C1C}">
                <a14:useLocalDpi xmlns:a14="http://schemas.microsoft.com/office/drawing/2010/main" val="0"/>
              </a:ext>
            </a:extLst>
          </a:blip>
          <a:stretch>
            <a:fillRect/>
          </a:stretch>
        </p:blipFill>
        <p:spPr>
          <a:xfrm>
            <a:off x="5266254" y="4376632"/>
            <a:ext cx="339452" cy="339452"/>
          </a:xfrm>
          <a:prstGeom prst="rect">
            <a:avLst/>
          </a:prstGeom>
        </p:spPr>
      </p:pic>
      <p:pic>
        <p:nvPicPr>
          <p:cNvPr id="113" name="Picture 112">
            <a:extLst>
              <a:ext uri="{FF2B5EF4-FFF2-40B4-BE49-F238E27FC236}">
                <a16:creationId xmlns:a16="http://schemas.microsoft.com/office/drawing/2014/main" id="{06D527FE-74C2-6CB3-D451-5A56E84694BF}"/>
              </a:ext>
            </a:extLst>
          </p:cNvPr>
          <p:cNvPicPr>
            <a:picLocks/>
          </p:cNvPicPr>
          <p:nvPr/>
        </p:nvPicPr>
        <p:blipFill>
          <a:blip r:embed="rId15" cstate="print">
            <a:extLst>
              <a:ext uri="{28A0092B-C50C-407E-A947-70E740481C1C}">
                <a14:useLocalDpi xmlns:a14="http://schemas.microsoft.com/office/drawing/2010/main" val="0"/>
              </a:ext>
            </a:extLst>
          </a:blip>
          <a:srcRect/>
          <a:stretch/>
        </p:blipFill>
        <p:spPr>
          <a:xfrm>
            <a:off x="7368906" y="4027934"/>
            <a:ext cx="339452" cy="339452"/>
          </a:xfrm>
          <a:prstGeom prst="rect">
            <a:avLst/>
          </a:prstGeom>
        </p:spPr>
      </p:pic>
      <p:pic>
        <p:nvPicPr>
          <p:cNvPr id="114" name="Picture 2" descr="Risk Rating">
            <a:extLst>
              <a:ext uri="{FF2B5EF4-FFF2-40B4-BE49-F238E27FC236}">
                <a16:creationId xmlns:a16="http://schemas.microsoft.com/office/drawing/2014/main" id="{3EE6D3EF-342B-9DA1-D05C-770F7AA3E0F4}"/>
              </a:ext>
            </a:extLst>
          </p:cNvPr>
          <p:cNvPicPr>
            <a:picLocks/>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92827" y="5019611"/>
            <a:ext cx="339452" cy="339452"/>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4" descr="Risk Rating">
            <a:extLst>
              <a:ext uri="{FF2B5EF4-FFF2-40B4-BE49-F238E27FC236}">
                <a16:creationId xmlns:a16="http://schemas.microsoft.com/office/drawing/2014/main" id="{F7B18797-EA2C-C579-1F3A-5580B9641A4B}"/>
              </a:ext>
            </a:extLst>
          </p:cNvPr>
          <p:cNvPicPr>
            <a:picLocks/>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235639" y="4669602"/>
            <a:ext cx="339452" cy="339452"/>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15" descr="A black and orange circle with a number in it&#10;&#10;Description automatically generated">
            <a:extLst>
              <a:ext uri="{FF2B5EF4-FFF2-40B4-BE49-F238E27FC236}">
                <a16:creationId xmlns:a16="http://schemas.microsoft.com/office/drawing/2014/main" id="{9FDDD793-1B2C-ECD2-1500-703A8217016D}"/>
              </a:ext>
            </a:extLst>
          </p:cNvPr>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9408329" y="3696045"/>
            <a:ext cx="339452" cy="339452"/>
          </a:xfrm>
          <a:prstGeom prst="rect">
            <a:avLst/>
          </a:prstGeom>
        </p:spPr>
      </p:pic>
      <p:pic>
        <p:nvPicPr>
          <p:cNvPr id="117" name="Picture 116">
            <a:extLst>
              <a:ext uri="{FF2B5EF4-FFF2-40B4-BE49-F238E27FC236}">
                <a16:creationId xmlns:a16="http://schemas.microsoft.com/office/drawing/2014/main" id="{142C2B2E-D5BD-1CD8-CF11-5AD476AED389}"/>
              </a:ext>
            </a:extLst>
          </p:cNvPr>
          <p:cNvPicPr>
            <a:picLocks/>
          </p:cNvPicPr>
          <p:nvPr/>
        </p:nvPicPr>
        <p:blipFill>
          <a:blip r:embed="rId19" cstate="print">
            <a:extLst>
              <a:ext uri="{28A0092B-C50C-407E-A947-70E740481C1C}">
                <a14:useLocalDpi xmlns:a14="http://schemas.microsoft.com/office/drawing/2010/main" val="0"/>
              </a:ext>
            </a:extLst>
          </a:blip>
          <a:srcRect/>
          <a:stretch/>
        </p:blipFill>
        <p:spPr>
          <a:xfrm>
            <a:off x="3869146" y="4672187"/>
            <a:ext cx="303401" cy="303401"/>
          </a:xfrm>
          <a:prstGeom prst="rect">
            <a:avLst/>
          </a:prstGeom>
        </p:spPr>
      </p:pic>
      <p:pic>
        <p:nvPicPr>
          <p:cNvPr id="118" name="Picture 117">
            <a:extLst>
              <a:ext uri="{FF2B5EF4-FFF2-40B4-BE49-F238E27FC236}">
                <a16:creationId xmlns:a16="http://schemas.microsoft.com/office/drawing/2014/main" id="{E4C990C2-4DB5-EEE8-2DAD-AF58E0528B7C}"/>
              </a:ext>
            </a:extLst>
          </p:cNvPr>
          <p:cNvPicPr>
            <a:picLocks/>
          </p:cNvPicPr>
          <p:nvPr/>
        </p:nvPicPr>
        <p:blipFill>
          <a:blip r:embed="rId20" cstate="print">
            <a:extLst>
              <a:ext uri="{28A0092B-C50C-407E-A947-70E740481C1C}">
                <a14:useLocalDpi xmlns:a14="http://schemas.microsoft.com/office/drawing/2010/main" val="0"/>
              </a:ext>
            </a:extLst>
          </a:blip>
          <a:srcRect/>
          <a:stretch/>
        </p:blipFill>
        <p:spPr>
          <a:xfrm>
            <a:off x="8006661" y="4042228"/>
            <a:ext cx="303401" cy="303401"/>
          </a:xfrm>
          <a:prstGeom prst="rect">
            <a:avLst/>
          </a:prstGeom>
        </p:spPr>
      </p:pic>
      <p:pic>
        <p:nvPicPr>
          <p:cNvPr id="119" name="Picture 118">
            <a:extLst>
              <a:ext uri="{FF2B5EF4-FFF2-40B4-BE49-F238E27FC236}">
                <a16:creationId xmlns:a16="http://schemas.microsoft.com/office/drawing/2014/main" id="{0972620C-CEB6-E8EE-3FAD-F0902DF80FAB}"/>
              </a:ext>
            </a:extLst>
          </p:cNvPr>
          <p:cNvPicPr>
            <a:picLocks/>
          </p:cNvPicPr>
          <p:nvPr/>
        </p:nvPicPr>
        <p:blipFill>
          <a:blip r:embed="rId21" cstate="print">
            <a:extLst>
              <a:ext uri="{28A0092B-C50C-407E-A947-70E740481C1C}">
                <a14:useLocalDpi xmlns:a14="http://schemas.microsoft.com/office/drawing/2010/main" val="0"/>
              </a:ext>
            </a:extLst>
          </a:blip>
          <a:srcRect/>
          <a:stretch/>
        </p:blipFill>
        <p:spPr>
          <a:xfrm>
            <a:off x="10067042" y="3719425"/>
            <a:ext cx="303401" cy="303401"/>
          </a:xfrm>
          <a:prstGeom prst="rect">
            <a:avLst/>
          </a:prstGeom>
        </p:spPr>
      </p:pic>
      <p:pic>
        <p:nvPicPr>
          <p:cNvPr id="120" name="Picture 119">
            <a:extLst>
              <a:ext uri="{FF2B5EF4-FFF2-40B4-BE49-F238E27FC236}">
                <a16:creationId xmlns:a16="http://schemas.microsoft.com/office/drawing/2014/main" id="{4939F6A1-CA21-2372-186A-8237E2A307CA}"/>
              </a:ext>
            </a:extLst>
          </p:cNvPr>
          <p:cNvPicPr>
            <a:picLocks/>
          </p:cNvPicPr>
          <p:nvPr/>
        </p:nvPicPr>
        <p:blipFill>
          <a:blip r:embed="rId19" cstate="print">
            <a:extLst>
              <a:ext uri="{28A0092B-C50C-407E-A947-70E740481C1C}">
                <a14:useLocalDpi xmlns:a14="http://schemas.microsoft.com/office/drawing/2010/main" val="0"/>
              </a:ext>
            </a:extLst>
          </a:blip>
          <a:srcRect/>
          <a:stretch/>
        </p:blipFill>
        <p:spPr>
          <a:xfrm>
            <a:off x="5926974" y="4381021"/>
            <a:ext cx="303401" cy="303401"/>
          </a:xfrm>
          <a:prstGeom prst="rect">
            <a:avLst/>
          </a:prstGeom>
        </p:spPr>
      </p:pic>
      <p:pic>
        <p:nvPicPr>
          <p:cNvPr id="121" name="Picture 120" descr="A blue and white square with black text and numbers&#10;&#10;Description automatically generated">
            <a:extLst>
              <a:ext uri="{FF2B5EF4-FFF2-40B4-BE49-F238E27FC236}">
                <a16:creationId xmlns:a16="http://schemas.microsoft.com/office/drawing/2014/main" id="{73657ED8-0868-AD81-09FB-BEAAB9BF1C07}"/>
              </a:ext>
            </a:extLst>
          </p:cNvPr>
          <p:cNvPicPr>
            <a:picLocks/>
          </p:cNvPicPr>
          <p:nvPr/>
        </p:nvPicPr>
        <p:blipFill>
          <a:blip r:embed="rId22" cstate="print">
            <a:extLst>
              <a:ext uri="{28A0092B-C50C-407E-A947-70E740481C1C}">
                <a14:useLocalDpi xmlns:a14="http://schemas.microsoft.com/office/drawing/2010/main" val="0"/>
              </a:ext>
            </a:extLst>
          </a:blip>
          <a:stretch>
            <a:fillRect/>
          </a:stretch>
        </p:blipFill>
        <p:spPr>
          <a:xfrm>
            <a:off x="1779733" y="5027705"/>
            <a:ext cx="303401" cy="303401"/>
          </a:xfrm>
          <a:prstGeom prst="rect">
            <a:avLst/>
          </a:prstGeom>
        </p:spPr>
      </p:pic>
      <p:pic>
        <p:nvPicPr>
          <p:cNvPr id="127" name="Picture 126" descr="A purple text on a black background&#10;&#10;Description automatically generated">
            <a:extLst>
              <a:ext uri="{FF2B5EF4-FFF2-40B4-BE49-F238E27FC236}">
                <a16:creationId xmlns:a16="http://schemas.microsoft.com/office/drawing/2014/main" id="{6B4CDA90-7178-4EEA-361B-6A0220AB93B3}"/>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3686986" y="2143437"/>
            <a:ext cx="1521785" cy="518327"/>
          </a:xfrm>
          <a:prstGeom prst="rect">
            <a:avLst/>
          </a:prstGeom>
        </p:spPr>
      </p:pic>
      <p:pic>
        <p:nvPicPr>
          <p:cNvPr id="1024" name="Picture 1023" descr="A logo for a company&#10;&#10;Description automatically generated">
            <a:extLst>
              <a:ext uri="{FF2B5EF4-FFF2-40B4-BE49-F238E27FC236}">
                <a16:creationId xmlns:a16="http://schemas.microsoft.com/office/drawing/2014/main" id="{DF50917F-E6A5-C488-056F-3A139F945291}"/>
              </a:ext>
            </a:extLst>
          </p:cNvPr>
          <p:cNvPicPr>
            <a:picLocks/>
          </p:cNvPicPr>
          <p:nvPr/>
        </p:nvPicPr>
        <p:blipFill>
          <a:blip r:embed="rId24" cstate="print">
            <a:extLst>
              <a:ext uri="{28A0092B-C50C-407E-A947-70E740481C1C}">
                <a14:useLocalDpi xmlns:a14="http://schemas.microsoft.com/office/drawing/2010/main" val="0"/>
              </a:ext>
            </a:extLst>
          </a:blip>
          <a:stretch>
            <a:fillRect/>
          </a:stretch>
        </p:blipFill>
        <p:spPr>
          <a:xfrm>
            <a:off x="3225598" y="2143437"/>
            <a:ext cx="426973" cy="829266"/>
          </a:xfrm>
          <a:prstGeom prst="rect">
            <a:avLst/>
          </a:prstGeom>
        </p:spPr>
      </p:pic>
      <p:pic>
        <p:nvPicPr>
          <p:cNvPr id="1025" name="Picture 1024" descr="A logo of a company&#10;&#10;Description automatically generated">
            <a:extLst>
              <a:ext uri="{FF2B5EF4-FFF2-40B4-BE49-F238E27FC236}">
                <a16:creationId xmlns:a16="http://schemas.microsoft.com/office/drawing/2014/main" id="{EE6E27CD-F654-54C8-A616-668B5C108B2E}"/>
              </a:ext>
            </a:extLst>
          </p:cNvPr>
          <p:cNvPicPr>
            <a:picLocks/>
          </p:cNvPicPr>
          <p:nvPr/>
        </p:nvPicPr>
        <p:blipFill>
          <a:blip r:embed="rId25" cstate="print">
            <a:extLst>
              <a:ext uri="{28A0092B-C50C-407E-A947-70E740481C1C}">
                <a14:useLocalDpi xmlns:a14="http://schemas.microsoft.com/office/drawing/2010/main" val="0"/>
              </a:ext>
            </a:extLst>
          </a:blip>
          <a:stretch>
            <a:fillRect/>
          </a:stretch>
        </p:blipFill>
        <p:spPr>
          <a:xfrm>
            <a:off x="2492471" y="2143437"/>
            <a:ext cx="510206" cy="510206"/>
          </a:xfrm>
          <a:prstGeom prst="rect">
            <a:avLst/>
          </a:prstGeom>
        </p:spPr>
      </p:pic>
      <p:pic>
        <p:nvPicPr>
          <p:cNvPr id="1027" name="Picture 1026" descr="A close-up of a logo&#10;&#10;Description automatically generated">
            <a:extLst>
              <a:ext uri="{FF2B5EF4-FFF2-40B4-BE49-F238E27FC236}">
                <a16:creationId xmlns:a16="http://schemas.microsoft.com/office/drawing/2014/main" id="{6F9405E5-E357-38FF-51B0-BCFF9BA4707A}"/>
              </a:ext>
            </a:extLst>
          </p:cNvPr>
          <p:cNvPicPr>
            <a:picLocks/>
          </p:cNvPicPr>
          <p:nvPr/>
        </p:nvPicPr>
        <p:blipFill>
          <a:blip r:embed="rId26" cstate="print">
            <a:extLst>
              <a:ext uri="{28A0092B-C50C-407E-A947-70E740481C1C}">
                <a14:useLocalDpi xmlns:a14="http://schemas.microsoft.com/office/drawing/2010/main" val="0"/>
              </a:ext>
            </a:extLst>
          </a:blip>
          <a:stretch>
            <a:fillRect/>
          </a:stretch>
        </p:blipFill>
        <p:spPr>
          <a:xfrm>
            <a:off x="1100532" y="2143437"/>
            <a:ext cx="1070343" cy="479250"/>
          </a:xfrm>
          <a:prstGeom prst="rect">
            <a:avLst/>
          </a:prstGeom>
        </p:spPr>
      </p:pic>
      <p:sp>
        <p:nvSpPr>
          <p:cNvPr id="10" name="Content Placeholder 49">
            <a:extLst>
              <a:ext uri="{FF2B5EF4-FFF2-40B4-BE49-F238E27FC236}">
                <a16:creationId xmlns:a16="http://schemas.microsoft.com/office/drawing/2014/main" id="{B9D04BE8-B4BF-7C97-875F-4208E4062A7C}"/>
              </a:ext>
            </a:extLst>
          </p:cNvPr>
          <p:cNvSpPr>
            <a:spLocks noGrp="1"/>
          </p:cNvSpPr>
          <p:nvPr>
            <p:ph type="body" sz="quarter" idx="11"/>
          </p:nvPr>
        </p:nvSpPr>
        <p:spPr>
          <a:xfrm>
            <a:off x="528637" y="1313516"/>
            <a:ext cx="7581703" cy="431800"/>
          </a:xfrm>
        </p:spPr>
        <p:txBody>
          <a:bodyPr/>
          <a:lstStyle/>
          <a:p>
            <a:pPr marL="0" indent="0">
              <a:buNone/>
            </a:pPr>
            <a:r>
              <a:rPr lang="en-GB" sz="1200" b="1" dirty="0">
                <a:solidFill>
                  <a:schemeClr val="accent2"/>
                </a:solidFill>
                <a:cs typeface="+mn-cs"/>
              </a:rPr>
              <a:t>Actively managed </a:t>
            </a:r>
            <a:r>
              <a:rPr lang="en-GB" sz="1200" b="1" dirty="0">
                <a:solidFill>
                  <a:schemeClr val="tx1"/>
                </a:solidFill>
                <a:cs typeface="+mn-cs"/>
              </a:rPr>
              <a:t>asset allocation with directly invested active stock selection</a:t>
            </a:r>
            <a:br>
              <a:rPr lang="en-GB" sz="1200" b="1" dirty="0">
                <a:solidFill>
                  <a:schemeClr val="accent2"/>
                </a:solidFill>
                <a:cs typeface="+mn-cs"/>
              </a:rPr>
            </a:br>
            <a:r>
              <a:rPr lang="en-GB" sz="1200" b="1" dirty="0">
                <a:solidFill>
                  <a:schemeClr val="tx1"/>
                </a:solidFill>
                <a:cs typeface="+mn-cs"/>
              </a:rPr>
              <a:t>Developed equity exposure has </a:t>
            </a:r>
            <a:r>
              <a:rPr lang="en-GB" sz="1200" b="1" dirty="0">
                <a:solidFill>
                  <a:schemeClr val="accent2"/>
                </a:solidFill>
                <a:cs typeface="+mn-cs"/>
              </a:rPr>
              <a:t>income and quality bias </a:t>
            </a:r>
            <a:r>
              <a:rPr lang="en-GB" sz="1200" b="1" dirty="0">
                <a:solidFill>
                  <a:schemeClr val="tx1"/>
                </a:solidFill>
                <a:cs typeface="+mn-cs"/>
              </a:rPr>
              <a:t>to help with bouncebackability</a:t>
            </a:r>
            <a:br>
              <a:rPr lang="en-GB" sz="1200" b="1" dirty="0">
                <a:solidFill>
                  <a:schemeClr val="accent2"/>
                </a:solidFill>
                <a:cs typeface="+mn-cs"/>
              </a:rPr>
            </a:br>
            <a:r>
              <a:rPr lang="en-GB" sz="1200" b="1" dirty="0">
                <a:solidFill>
                  <a:schemeClr val="accent2"/>
                </a:solidFill>
                <a:cs typeface="+mn-cs"/>
              </a:rPr>
              <a:t>Dynamically managed bond exposure to mitigate downside risk</a:t>
            </a:r>
            <a:br>
              <a:rPr lang="en-GB" sz="1200" b="1" dirty="0">
                <a:solidFill>
                  <a:schemeClr val="accent2"/>
                </a:solidFill>
                <a:cs typeface="+mn-cs"/>
              </a:rPr>
            </a:br>
            <a:r>
              <a:rPr lang="en-GB" sz="1200" b="1" dirty="0">
                <a:solidFill>
                  <a:schemeClr val="accent2"/>
                </a:solidFill>
                <a:cs typeface="+mn-cs"/>
              </a:rPr>
              <a:t>Rigorously risk managed and sustainably invested</a:t>
            </a:r>
          </a:p>
          <a:p>
            <a:endParaRPr lang="en-GB" dirty="0"/>
          </a:p>
        </p:txBody>
      </p:sp>
    </p:spTree>
    <p:custDataLst>
      <p:tags r:id="rId1"/>
    </p:custDataLst>
    <p:extLst>
      <p:ext uri="{BB962C8B-B14F-4D97-AF65-F5344CB8AC3E}">
        <p14:creationId xmlns:p14="http://schemas.microsoft.com/office/powerpoint/2010/main" val="26109939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5204F051-24DC-9BF2-6DEA-647E992EB698}"/>
              </a:ext>
            </a:extLst>
          </p:cNvPr>
          <p:cNvSpPr>
            <a:spLocks noGrp="1"/>
          </p:cNvSpPr>
          <p:nvPr>
            <p:ph type="sldNum" sz="quarter" idx="13"/>
          </p:nvPr>
        </p:nvSpPr>
        <p:spPr/>
        <p:txBody>
          <a:bodyPr/>
          <a:lstStyle/>
          <a:p>
            <a:pPr defTabSz="783814">
              <a:defRPr/>
            </a:pPr>
            <a:fld id="{0F961903-03AF-4EAC-BF2C-945F8C5557D1}" type="slidenum">
              <a:rPr lang="en-GB" sz="795">
                <a:solidFill>
                  <a:srgbClr val="000000"/>
                </a:solidFill>
              </a:rPr>
              <a:pPr defTabSz="783814">
                <a:defRPr/>
              </a:pPr>
              <a:t>25</a:t>
            </a:fld>
            <a:endParaRPr lang="en-GB" sz="795" dirty="0">
              <a:solidFill>
                <a:srgbClr val="000000"/>
              </a:solidFill>
            </a:endParaRPr>
          </a:p>
        </p:txBody>
      </p:sp>
      <p:sp>
        <p:nvSpPr>
          <p:cNvPr id="14" name="Text Placeholder 13">
            <a:extLst>
              <a:ext uri="{FF2B5EF4-FFF2-40B4-BE49-F238E27FC236}">
                <a16:creationId xmlns:a16="http://schemas.microsoft.com/office/drawing/2014/main" id="{0CFD67ED-BD7C-CB3E-F14E-2383F6A67687}"/>
              </a:ext>
            </a:extLst>
          </p:cNvPr>
          <p:cNvSpPr>
            <a:spLocks noGrp="1"/>
          </p:cNvSpPr>
          <p:nvPr>
            <p:ph type="body" sz="quarter" idx="11"/>
          </p:nvPr>
        </p:nvSpPr>
        <p:spPr/>
        <p:txBody>
          <a:bodyPr/>
          <a:lstStyle/>
          <a:p>
            <a:r>
              <a:rPr lang="en-GB" dirty="0"/>
              <a:t>BNY Mellon Multi-Asset Income Fund</a:t>
            </a:r>
          </a:p>
        </p:txBody>
      </p:sp>
      <p:sp>
        <p:nvSpPr>
          <p:cNvPr id="7" name="Title 2">
            <a:extLst>
              <a:ext uri="{FF2B5EF4-FFF2-40B4-BE49-F238E27FC236}">
                <a16:creationId xmlns:a16="http://schemas.microsoft.com/office/drawing/2014/main" id="{2365A088-47AA-269C-04B7-B4D403CF5324}"/>
              </a:ext>
            </a:extLst>
          </p:cNvPr>
          <p:cNvSpPr>
            <a:spLocks noGrp="1"/>
          </p:cNvSpPr>
          <p:nvPr>
            <p:ph type="title"/>
          </p:nvPr>
        </p:nvSpPr>
        <p:spPr/>
        <p:txBody>
          <a:bodyPr/>
          <a:lstStyle/>
          <a:p>
            <a:r>
              <a:rPr lang="en-GB" dirty="0"/>
              <a:t>Objective, benchmark, annual performance and key risks</a:t>
            </a:r>
            <a:endParaRPr lang="en-US" dirty="0"/>
          </a:p>
        </p:txBody>
      </p:sp>
      <p:sp>
        <p:nvSpPr>
          <p:cNvPr id="9" name="Rectangle 8">
            <a:extLst>
              <a:ext uri="{FF2B5EF4-FFF2-40B4-BE49-F238E27FC236}">
                <a16:creationId xmlns:a16="http://schemas.microsoft.com/office/drawing/2014/main" id="{95F672DB-4F90-43BF-AEF0-5A6FACCFBD69}"/>
              </a:ext>
            </a:extLst>
          </p:cNvPr>
          <p:cNvSpPr>
            <a:spLocks/>
          </p:cNvSpPr>
          <p:nvPr/>
        </p:nvSpPr>
        <p:spPr bwMode="auto">
          <a:xfrm>
            <a:off x="11702561" y="849182"/>
            <a:ext cx="502948" cy="254740"/>
          </a:xfrm>
          <a:prstGeom prst="rect">
            <a:avLst/>
          </a:prstGeom>
          <a:solidFill>
            <a:schemeClr val="accent2"/>
          </a:solidFill>
          <a:ln w="12700" algn="ctr">
            <a:solidFill>
              <a:schemeClr val="tx2"/>
            </a:solidFill>
            <a:miter lim="800000"/>
            <a:headEnd/>
            <a:tailEnd/>
          </a:ln>
          <a:effectLst/>
        </p:spPr>
        <p:txBody>
          <a:bodyPr wrap="none" lIns="30859" tIns="30859" rIns="30859" bIns="30859" rtlCol="0" anchor="ctr"/>
          <a:lstStyle/>
          <a:p>
            <a:pPr defTabSz="740269">
              <a:defRPr/>
            </a:pPr>
            <a:r>
              <a:rPr lang="en-GB" sz="943" dirty="0">
                <a:solidFill>
                  <a:srgbClr val="FFFFFF"/>
                </a:solidFill>
              </a:rPr>
              <a:t>350037</a:t>
            </a:r>
          </a:p>
        </p:txBody>
      </p:sp>
      <p:sp>
        <p:nvSpPr>
          <p:cNvPr id="3" name="TextBox 2">
            <a:extLst>
              <a:ext uri="{FF2B5EF4-FFF2-40B4-BE49-F238E27FC236}">
                <a16:creationId xmlns:a16="http://schemas.microsoft.com/office/drawing/2014/main" id="{8267E977-24D8-8202-2FDF-E557DA3C4B5F}"/>
              </a:ext>
            </a:extLst>
          </p:cNvPr>
          <p:cNvSpPr txBox="1"/>
          <p:nvPr/>
        </p:nvSpPr>
        <p:spPr>
          <a:xfrm>
            <a:off x="536075" y="5734635"/>
            <a:ext cx="7625542" cy="338554"/>
          </a:xfrm>
          <a:prstGeom prst="rect">
            <a:avLst/>
          </a:prstGeom>
          <a:noFill/>
        </p:spPr>
        <p:txBody>
          <a:bodyPr wrap="square" rtlCol="0">
            <a:spAutoFit/>
          </a:bodyPr>
          <a:lstStyle/>
          <a:p>
            <a:pPr algn="l"/>
            <a:r>
              <a:rPr lang="en-GB" sz="800" b="1" dirty="0"/>
              <a:t>The fund can invest more than 35% of net assets in different Transferable Securities and Money Market Instruments issued or guaranteed by any EEA State, its local authorities, a third country or public international bodies of which one or more EEA States are members. </a:t>
            </a:r>
          </a:p>
        </p:txBody>
      </p:sp>
      <p:pic>
        <p:nvPicPr>
          <p:cNvPr id="5" name="Picture 4">
            <a:extLst>
              <a:ext uri="{FF2B5EF4-FFF2-40B4-BE49-F238E27FC236}">
                <a16:creationId xmlns:a16="http://schemas.microsoft.com/office/drawing/2014/main" id="{7FD8A944-47D7-B271-D226-29BD7EE62F53}"/>
              </a:ext>
            </a:extLst>
          </p:cNvPr>
          <p:cNvPicPr>
            <a:picLocks noChangeAspect="1"/>
          </p:cNvPicPr>
          <p:nvPr/>
        </p:nvPicPr>
        <p:blipFill>
          <a:blip r:embed="rId4"/>
          <a:stretch>
            <a:fillRect/>
          </a:stretch>
        </p:blipFill>
        <p:spPr>
          <a:xfrm>
            <a:off x="536075" y="1224000"/>
            <a:ext cx="7288501" cy="4404510"/>
          </a:xfrm>
          <a:prstGeom prst="rect">
            <a:avLst/>
          </a:prstGeom>
        </p:spPr>
      </p:pic>
    </p:spTree>
    <p:custDataLst>
      <p:tags r:id="rId1"/>
    </p:custDataLst>
    <p:extLst>
      <p:ext uri="{BB962C8B-B14F-4D97-AF65-F5344CB8AC3E}">
        <p14:creationId xmlns:p14="http://schemas.microsoft.com/office/powerpoint/2010/main" val="12043824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73330495-50E2-C5ED-3765-8636C585E793}"/>
              </a:ext>
            </a:extLst>
          </p:cNvPr>
          <p:cNvSpPr>
            <a:spLocks noGrp="1"/>
          </p:cNvSpPr>
          <p:nvPr>
            <p:ph type="sldNum" sz="quarter" idx="13"/>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783814" rtl="0" eaLnBrk="1" fontAlgn="base" latinLnBrk="0" hangingPunct="1">
                <a:lnSpc>
                  <a:spcPct val="90000"/>
                </a:lnSpc>
                <a:spcBef>
                  <a:spcPct val="0"/>
                </a:spcBef>
                <a:spcAft>
                  <a:spcPts val="0"/>
                </a:spcAft>
                <a:buClrTx/>
                <a:buSzTx/>
                <a:buFontTx/>
                <a:buNone/>
                <a:tabLst/>
                <a:defRPr/>
              </a:pPr>
              <a:t>26</a:t>
            </a:fld>
            <a:endParaRPr kumimoji="0" lang="en-GB" sz="795"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3" name="Text Placeholder 12">
            <a:extLst>
              <a:ext uri="{FF2B5EF4-FFF2-40B4-BE49-F238E27FC236}">
                <a16:creationId xmlns:a16="http://schemas.microsoft.com/office/drawing/2014/main" id="{2D94C70D-7F27-8FF2-9D96-EBD9FAFEFA4F}"/>
              </a:ext>
            </a:extLst>
          </p:cNvPr>
          <p:cNvSpPr>
            <a:spLocks noGrp="1"/>
          </p:cNvSpPr>
          <p:nvPr>
            <p:ph type="body" sz="quarter" idx="11"/>
          </p:nvPr>
        </p:nvSpPr>
        <p:spPr/>
        <p:txBody>
          <a:bodyPr/>
          <a:lstStyle/>
          <a:p>
            <a:r>
              <a:rPr lang="en-GB" dirty="0"/>
              <a:t>BNY Mellon </a:t>
            </a:r>
            <a:r>
              <a:rPr lang="en-GB" dirty="0" err="1"/>
              <a:t>FutureLegacy</a:t>
            </a:r>
            <a:r>
              <a:rPr lang="en-GB" dirty="0"/>
              <a:t> 3 Fund</a:t>
            </a:r>
          </a:p>
        </p:txBody>
      </p:sp>
      <p:sp>
        <p:nvSpPr>
          <p:cNvPr id="7" name="Title 2">
            <a:extLst>
              <a:ext uri="{FF2B5EF4-FFF2-40B4-BE49-F238E27FC236}">
                <a16:creationId xmlns:a16="http://schemas.microsoft.com/office/drawing/2014/main" id="{2172252D-6776-58C8-CC12-6AE1546E5A7E}"/>
              </a:ext>
            </a:extLst>
          </p:cNvPr>
          <p:cNvSpPr>
            <a:spLocks noGrp="1"/>
          </p:cNvSpPr>
          <p:nvPr>
            <p:ph type="title"/>
          </p:nvPr>
        </p:nvSpPr>
        <p:spPr/>
        <p:txBody>
          <a:bodyPr/>
          <a:lstStyle/>
          <a:p>
            <a:r>
              <a:rPr lang="en-GB" dirty="0"/>
              <a:t>Objective, benchmark, annual performance and key risks</a:t>
            </a:r>
            <a:endParaRPr lang="en-US" dirty="0"/>
          </a:p>
        </p:txBody>
      </p:sp>
      <p:pic>
        <p:nvPicPr>
          <p:cNvPr id="3" name="Picture 2">
            <a:extLst>
              <a:ext uri="{FF2B5EF4-FFF2-40B4-BE49-F238E27FC236}">
                <a16:creationId xmlns:a16="http://schemas.microsoft.com/office/drawing/2014/main" id="{85B09E8A-6F9B-280A-364F-65071B0BC1C4}"/>
              </a:ext>
            </a:extLst>
          </p:cNvPr>
          <p:cNvPicPr>
            <a:picLocks noChangeAspect="1"/>
          </p:cNvPicPr>
          <p:nvPr/>
        </p:nvPicPr>
        <p:blipFill>
          <a:blip r:embed="rId4"/>
          <a:stretch>
            <a:fillRect/>
          </a:stretch>
        </p:blipFill>
        <p:spPr>
          <a:xfrm>
            <a:off x="495500" y="1315834"/>
            <a:ext cx="7750212" cy="4686706"/>
          </a:xfrm>
          <a:prstGeom prst="rect">
            <a:avLst/>
          </a:prstGeom>
        </p:spPr>
      </p:pic>
    </p:spTree>
    <p:custDataLst>
      <p:tags r:id="rId1"/>
    </p:custDataLst>
    <p:extLst>
      <p:ext uri="{BB962C8B-B14F-4D97-AF65-F5344CB8AC3E}">
        <p14:creationId xmlns:p14="http://schemas.microsoft.com/office/powerpoint/2010/main" val="6162709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36FBF1D7-7949-2D74-92B0-7C92B205AC3E}"/>
              </a:ext>
            </a:extLst>
          </p:cNvPr>
          <p:cNvSpPr>
            <a:spLocks noGrp="1"/>
          </p:cNvSpPr>
          <p:nvPr>
            <p:ph type="sldNum" sz="quarter" idx="13"/>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783814" rtl="0" eaLnBrk="1" fontAlgn="base" latinLnBrk="0" hangingPunct="1">
                <a:lnSpc>
                  <a:spcPct val="90000"/>
                </a:lnSpc>
                <a:spcBef>
                  <a:spcPct val="0"/>
                </a:spcBef>
                <a:spcAft>
                  <a:spcPts val="0"/>
                </a:spcAft>
                <a:buClrTx/>
                <a:buSzTx/>
                <a:buFontTx/>
                <a:buNone/>
                <a:tabLst/>
                <a:defRPr/>
              </a:pPr>
              <a:t>27</a:t>
            </a:fld>
            <a:endParaRPr kumimoji="0" lang="en-GB" sz="795"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 name="Text Placeholder 13">
            <a:extLst>
              <a:ext uri="{FF2B5EF4-FFF2-40B4-BE49-F238E27FC236}">
                <a16:creationId xmlns:a16="http://schemas.microsoft.com/office/drawing/2014/main" id="{8D47A988-A8FA-B420-277B-846BCDA02626}"/>
              </a:ext>
            </a:extLst>
          </p:cNvPr>
          <p:cNvSpPr>
            <a:spLocks noGrp="1"/>
          </p:cNvSpPr>
          <p:nvPr>
            <p:ph type="body" sz="quarter" idx="11"/>
          </p:nvPr>
        </p:nvSpPr>
        <p:spPr/>
        <p:txBody>
          <a:bodyPr/>
          <a:lstStyle/>
          <a:p>
            <a:r>
              <a:rPr lang="en-GB" dirty="0"/>
              <a:t>BNY Mellon </a:t>
            </a:r>
            <a:r>
              <a:rPr lang="en-GB" dirty="0" err="1"/>
              <a:t>FutureLegacy</a:t>
            </a:r>
            <a:r>
              <a:rPr lang="en-GB" dirty="0"/>
              <a:t> 4 Fund</a:t>
            </a:r>
          </a:p>
        </p:txBody>
      </p:sp>
      <p:sp>
        <p:nvSpPr>
          <p:cNvPr id="7" name="Title 2">
            <a:extLst>
              <a:ext uri="{FF2B5EF4-FFF2-40B4-BE49-F238E27FC236}">
                <a16:creationId xmlns:a16="http://schemas.microsoft.com/office/drawing/2014/main" id="{C21D26EF-CC1D-BC4C-C4C6-E760BE81F7D1}"/>
              </a:ext>
            </a:extLst>
          </p:cNvPr>
          <p:cNvSpPr>
            <a:spLocks noGrp="1"/>
          </p:cNvSpPr>
          <p:nvPr>
            <p:ph type="title"/>
          </p:nvPr>
        </p:nvSpPr>
        <p:spPr/>
        <p:txBody>
          <a:bodyPr/>
          <a:lstStyle/>
          <a:p>
            <a:r>
              <a:rPr lang="en-GB" dirty="0"/>
              <a:t>Objective, benchmark, annual performance and key risks</a:t>
            </a:r>
            <a:endParaRPr lang="en-US" dirty="0"/>
          </a:p>
        </p:txBody>
      </p:sp>
      <p:sp>
        <p:nvSpPr>
          <p:cNvPr id="9" name="Rectangle 5">
            <a:extLst>
              <a:ext uri="{FF2B5EF4-FFF2-40B4-BE49-F238E27FC236}">
                <a16:creationId xmlns:a16="http://schemas.microsoft.com/office/drawing/2014/main" id="{D3F6C45D-73C9-38DE-6AD3-A06DE4F34770}"/>
              </a:ext>
            </a:extLst>
          </p:cNvPr>
          <p:cNvSpPr>
            <a:spLocks/>
          </p:cNvSpPr>
          <p:nvPr/>
        </p:nvSpPr>
        <p:spPr bwMode="auto">
          <a:xfrm>
            <a:off x="11702561" y="849182"/>
            <a:ext cx="502948" cy="254740"/>
          </a:xfrm>
          <a:prstGeom prst="rect">
            <a:avLst/>
          </a:prstGeom>
          <a:solidFill>
            <a:schemeClr val="accent2"/>
          </a:solidFill>
          <a:ln w="12700" algn="ctr">
            <a:solidFill>
              <a:schemeClr val="tx2"/>
            </a:solidFill>
            <a:miter lim="800000"/>
            <a:headEnd/>
            <a:tailEnd/>
          </a:ln>
          <a:effectLst/>
        </p:spPr>
        <p:txBody>
          <a:bodyPr wrap="none" lIns="30859" tIns="30859" rIns="30859" bIns="30859" rtlCol="0" anchor="ctr"/>
          <a:lstStyle/>
          <a:p>
            <a:pPr marL="0" marR="0" lvl="0" indent="0" algn="ctr" defTabSz="740269" rtl="0" eaLnBrk="1" fontAlgn="base" latinLnBrk="0" hangingPunct="1">
              <a:lnSpc>
                <a:spcPct val="100000"/>
              </a:lnSpc>
              <a:spcBef>
                <a:spcPct val="0"/>
              </a:spcBef>
              <a:spcAft>
                <a:spcPct val="30000"/>
              </a:spcAft>
              <a:buClrTx/>
              <a:buSzTx/>
              <a:buFontTx/>
              <a:buNone/>
              <a:tabLst/>
              <a:defRPr/>
            </a:pPr>
            <a:r>
              <a:rPr kumimoji="0" lang="en-GB" sz="943" b="0" i="0" u="none" strike="noStrike" kern="1200" cap="none" spc="0" normalizeH="0" baseline="0" noProof="0" dirty="0">
                <a:ln>
                  <a:noFill/>
                </a:ln>
                <a:solidFill>
                  <a:srgbClr val="FFFFFF"/>
                </a:solidFill>
                <a:effectLst/>
                <a:uLnTx/>
                <a:uFillTx/>
                <a:latin typeface="Arial" charset="0"/>
                <a:ea typeface="+mn-ea"/>
                <a:cs typeface="Arial" charset="0"/>
              </a:rPr>
              <a:t>350093</a:t>
            </a:r>
          </a:p>
        </p:txBody>
      </p:sp>
      <p:pic>
        <p:nvPicPr>
          <p:cNvPr id="3" name="Picture 2">
            <a:extLst>
              <a:ext uri="{FF2B5EF4-FFF2-40B4-BE49-F238E27FC236}">
                <a16:creationId xmlns:a16="http://schemas.microsoft.com/office/drawing/2014/main" id="{077EC286-14D3-4E83-C8AD-05DED6132C1E}"/>
              </a:ext>
            </a:extLst>
          </p:cNvPr>
          <p:cNvPicPr>
            <a:picLocks noChangeAspect="1"/>
          </p:cNvPicPr>
          <p:nvPr/>
        </p:nvPicPr>
        <p:blipFill>
          <a:blip r:embed="rId4"/>
          <a:stretch>
            <a:fillRect/>
          </a:stretch>
        </p:blipFill>
        <p:spPr>
          <a:xfrm>
            <a:off x="576000" y="1440000"/>
            <a:ext cx="7757832" cy="4656223"/>
          </a:xfrm>
          <a:prstGeom prst="rect">
            <a:avLst/>
          </a:prstGeom>
        </p:spPr>
      </p:pic>
    </p:spTree>
    <p:custDataLst>
      <p:tags r:id="rId1"/>
    </p:custDataLst>
    <p:extLst>
      <p:ext uri="{BB962C8B-B14F-4D97-AF65-F5344CB8AC3E}">
        <p14:creationId xmlns:p14="http://schemas.microsoft.com/office/powerpoint/2010/main" val="28406641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8E7A34F3-2457-C4BD-1A3A-90759F890F6D}"/>
              </a:ext>
            </a:extLst>
          </p:cNvPr>
          <p:cNvSpPr>
            <a:spLocks noGrp="1"/>
          </p:cNvSpPr>
          <p:nvPr>
            <p:ph type="sldNum" sz="quarter" idx="13"/>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783814" rtl="0" eaLnBrk="1" fontAlgn="base" latinLnBrk="0" hangingPunct="1">
                <a:lnSpc>
                  <a:spcPct val="90000"/>
                </a:lnSpc>
                <a:spcBef>
                  <a:spcPct val="0"/>
                </a:spcBef>
                <a:spcAft>
                  <a:spcPts val="0"/>
                </a:spcAft>
                <a:buClrTx/>
                <a:buSzTx/>
                <a:buFontTx/>
                <a:buNone/>
                <a:tabLst/>
                <a:defRPr/>
              </a:pPr>
              <a:t>28</a:t>
            </a:fld>
            <a:endParaRPr kumimoji="0" lang="en-GB" sz="795"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 name="Text Placeholder 13">
            <a:extLst>
              <a:ext uri="{FF2B5EF4-FFF2-40B4-BE49-F238E27FC236}">
                <a16:creationId xmlns:a16="http://schemas.microsoft.com/office/drawing/2014/main" id="{8106409A-8E48-6F23-6F45-763741619A05}"/>
              </a:ext>
            </a:extLst>
          </p:cNvPr>
          <p:cNvSpPr>
            <a:spLocks noGrp="1"/>
          </p:cNvSpPr>
          <p:nvPr>
            <p:ph type="body" sz="quarter" idx="11"/>
          </p:nvPr>
        </p:nvSpPr>
        <p:spPr/>
        <p:txBody>
          <a:bodyPr/>
          <a:lstStyle/>
          <a:p>
            <a:r>
              <a:rPr lang="en-GB" dirty="0"/>
              <a:t>BNY Mellon </a:t>
            </a:r>
            <a:r>
              <a:rPr lang="en-GB" dirty="0" err="1"/>
              <a:t>FutureLegacy</a:t>
            </a:r>
            <a:r>
              <a:rPr lang="en-GB" dirty="0"/>
              <a:t> 5 Fund</a:t>
            </a:r>
          </a:p>
        </p:txBody>
      </p:sp>
      <p:sp>
        <p:nvSpPr>
          <p:cNvPr id="7" name="Title 2">
            <a:extLst>
              <a:ext uri="{FF2B5EF4-FFF2-40B4-BE49-F238E27FC236}">
                <a16:creationId xmlns:a16="http://schemas.microsoft.com/office/drawing/2014/main" id="{218556D3-C6D5-135F-9497-2D36C2360FF3}"/>
              </a:ext>
            </a:extLst>
          </p:cNvPr>
          <p:cNvSpPr>
            <a:spLocks noGrp="1"/>
          </p:cNvSpPr>
          <p:nvPr>
            <p:ph type="title"/>
          </p:nvPr>
        </p:nvSpPr>
        <p:spPr/>
        <p:txBody>
          <a:bodyPr/>
          <a:lstStyle/>
          <a:p>
            <a:r>
              <a:rPr lang="en-GB" dirty="0"/>
              <a:t>Objective, benchmark, annual performance and key risks</a:t>
            </a:r>
            <a:endParaRPr lang="en-US" dirty="0"/>
          </a:p>
        </p:txBody>
      </p:sp>
      <p:sp>
        <p:nvSpPr>
          <p:cNvPr id="9" name="Rectangle 5">
            <a:extLst>
              <a:ext uri="{FF2B5EF4-FFF2-40B4-BE49-F238E27FC236}">
                <a16:creationId xmlns:a16="http://schemas.microsoft.com/office/drawing/2014/main" id="{21823698-91E9-F7C3-AB56-1802626F0EEE}"/>
              </a:ext>
            </a:extLst>
          </p:cNvPr>
          <p:cNvSpPr>
            <a:spLocks/>
          </p:cNvSpPr>
          <p:nvPr/>
        </p:nvSpPr>
        <p:spPr bwMode="auto">
          <a:xfrm>
            <a:off x="11702561" y="849182"/>
            <a:ext cx="502948" cy="254740"/>
          </a:xfrm>
          <a:prstGeom prst="rect">
            <a:avLst/>
          </a:prstGeom>
          <a:solidFill>
            <a:schemeClr val="accent2"/>
          </a:solidFill>
          <a:ln w="12700" algn="ctr">
            <a:solidFill>
              <a:schemeClr val="tx2"/>
            </a:solidFill>
            <a:miter lim="800000"/>
            <a:headEnd/>
            <a:tailEnd/>
          </a:ln>
          <a:effectLst/>
        </p:spPr>
        <p:txBody>
          <a:bodyPr wrap="none" lIns="30859" tIns="30859" rIns="30859" bIns="30859" rtlCol="0" anchor="ctr"/>
          <a:lstStyle/>
          <a:p>
            <a:pPr marL="0" marR="0" lvl="0" indent="0" algn="ctr" defTabSz="740269" rtl="0" eaLnBrk="1" fontAlgn="base" latinLnBrk="0" hangingPunct="1">
              <a:lnSpc>
                <a:spcPct val="100000"/>
              </a:lnSpc>
              <a:spcBef>
                <a:spcPct val="0"/>
              </a:spcBef>
              <a:spcAft>
                <a:spcPct val="30000"/>
              </a:spcAft>
              <a:buClrTx/>
              <a:buSzTx/>
              <a:buFontTx/>
              <a:buNone/>
              <a:tabLst/>
              <a:defRPr/>
            </a:pPr>
            <a:r>
              <a:rPr kumimoji="0" lang="en-GB" sz="943" b="0" i="0" u="none" strike="noStrike" kern="1200" cap="none" spc="0" normalizeH="0" baseline="0" noProof="0" dirty="0">
                <a:ln>
                  <a:noFill/>
                </a:ln>
                <a:solidFill>
                  <a:srgbClr val="FFFFFF"/>
                </a:solidFill>
                <a:effectLst/>
                <a:uLnTx/>
                <a:uFillTx/>
                <a:latin typeface="Arial" charset="0"/>
                <a:ea typeface="+mn-ea"/>
                <a:cs typeface="Arial" charset="0"/>
              </a:rPr>
              <a:t>350094</a:t>
            </a:r>
          </a:p>
        </p:txBody>
      </p:sp>
      <p:pic>
        <p:nvPicPr>
          <p:cNvPr id="3" name="Picture 2">
            <a:extLst>
              <a:ext uri="{FF2B5EF4-FFF2-40B4-BE49-F238E27FC236}">
                <a16:creationId xmlns:a16="http://schemas.microsoft.com/office/drawing/2014/main" id="{3386A4B7-938A-6EB4-356F-AC4B1D67C5EF}"/>
              </a:ext>
            </a:extLst>
          </p:cNvPr>
          <p:cNvPicPr>
            <a:picLocks noChangeAspect="1"/>
          </p:cNvPicPr>
          <p:nvPr/>
        </p:nvPicPr>
        <p:blipFill>
          <a:blip r:embed="rId4"/>
          <a:stretch>
            <a:fillRect/>
          </a:stretch>
        </p:blipFill>
        <p:spPr>
          <a:xfrm>
            <a:off x="576000" y="1389200"/>
            <a:ext cx="7666384" cy="4663844"/>
          </a:xfrm>
          <a:prstGeom prst="rect">
            <a:avLst/>
          </a:prstGeom>
        </p:spPr>
      </p:pic>
    </p:spTree>
    <p:custDataLst>
      <p:tags r:id="rId1"/>
    </p:custDataLst>
    <p:extLst>
      <p:ext uri="{BB962C8B-B14F-4D97-AF65-F5344CB8AC3E}">
        <p14:creationId xmlns:p14="http://schemas.microsoft.com/office/powerpoint/2010/main" val="7043631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169A5E5D-84F2-848E-5DBB-E586B0A7BAC8}"/>
              </a:ext>
            </a:extLst>
          </p:cNvPr>
          <p:cNvSpPr>
            <a:spLocks noGrp="1"/>
          </p:cNvSpPr>
          <p:nvPr>
            <p:ph type="sldNum" sz="quarter" idx="13"/>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783814" rtl="0" eaLnBrk="1" fontAlgn="base" latinLnBrk="0" hangingPunct="1">
                <a:lnSpc>
                  <a:spcPct val="90000"/>
                </a:lnSpc>
                <a:spcBef>
                  <a:spcPct val="0"/>
                </a:spcBef>
                <a:spcAft>
                  <a:spcPts val="0"/>
                </a:spcAft>
                <a:buClrTx/>
                <a:buSzTx/>
                <a:buFontTx/>
                <a:buNone/>
                <a:tabLst/>
                <a:defRPr/>
              </a:pPr>
              <a:t>29</a:t>
            </a:fld>
            <a:endParaRPr kumimoji="0" lang="en-GB" sz="795"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 name="Text Placeholder 13">
            <a:extLst>
              <a:ext uri="{FF2B5EF4-FFF2-40B4-BE49-F238E27FC236}">
                <a16:creationId xmlns:a16="http://schemas.microsoft.com/office/drawing/2014/main" id="{4F115609-158D-CC9F-DBAF-BBA0EDE26F58}"/>
              </a:ext>
            </a:extLst>
          </p:cNvPr>
          <p:cNvSpPr>
            <a:spLocks noGrp="1"/>
          </p:cNvSpPr>
          <p:nvPr>
            <p:ph type="body" sz="quarter" idx="11"/>
          </p:nvPr>
        </p:nvSpPr>
        <p:spPr/>
        <p:txBody>
          <a:bodyPr/>
          <a:lstStyle/>
          <a:p>
            <a:r>
              <a:rPr lang="en-GB" dirty="0"/>
              <a:t>BNY Mellon </a:t>
            </a:r>
            <a:r>
              <a:rPr lang="en-GB" dirty="0" err="1"/>
              <a:t>FutureLegacy</a:t>
            </a:r>
            <a:r>
              <a:rPr lang="en-GB" dirty="0"/>
              <a:t> 6 Fund</a:t>
            </a:r>
          </a:p>
        </p:txBody>
      </p:sp>
      <p:sp>
        <p:nvSpPr>
          <p:cNvPr id="7" name="Title 2">
            <a:extLst>
              <a:ext uri="{FF2B5EF4-FFF2-40B4-BE49-F238E27FC236}">
                <a16:creationId xmlns:a16="http://schemas.microsoft.com/office/drawing/2014/main" id="{7D6AEE77-FCC1-C99D-40A5-169C23A254BB}"/>
              </a:ext>
            </a:extLst>
          </p:cNvPr>
          <p:cNvSpPr>
            <a:spLocks noGrp="1"/>
          </p:cNvSpPr>
          <p:nvPr>
            <p:ph type="title"/>
          </p:nvPr>
        </p:nvSpPr>
        <p:spPr/>
        <p:txBody>
          <a:bodyPr/>
          <a:lstStyle/>
          <a:p>
            <a:r>
              <a:rPr lang="en-GB" dirty="0"/>
              <a:t>Objective, benchmark, annual performance and key risks</a:t>
            </a:r>
            <a:endParaRPr lang="en-US" dirty="0"/>
          </a:p>
        </p:txBody>
      </p:sp>
      <p:sp>
        <p:nvSpPr>
          <p:cNvPr id="9" name="Rectangle 5">
            <a:extLst>
              <a:ext uri="{FF2B5EF4-FFF2-40B4-BE49-F238E27FC236}">
                <a16:creationId xmlns:a16="http://schemas.microsoft.com/office/drawing/2014/main" id="{00426F5B-07A9-B2D5-6109-481A6DBBC7E9}"/>
              </a:ext>
            </a:extLst>
          </p:cNvPr>
          <p:cNvSpPr>
            <a:spLocks/>
          </p:cNvSpPr>
          <p:nvPr/>
        </p:nvSpPr>
        <p:spPr bwMode="auto">
          <a:xfrm>
            <a:off x="11702561" y="849182"/>
            <a:ext cx="502948" cy="254740"/>
          </a:xfrm>
          <a:prstGeom prst="rect">
            <a:avLst/>
          </a:prstGeom>
          <a:solidFill>
            <a:schemeClr val="accent2"/>
          </a:solidFill>
          <a:ln w="12700" algn="ctr">
            <a:solidFill>
              <a:schemeClr val="tx2"/>
            </a:solidFill>
            <a:miter lim="800000"/>
            <a:headEnd/>
            <a:tailEnd/>
          </a:ln>
          <a:effectLst/>
        </p:spPr>
        <p:txBody>
          <a:bodyPr wrap="none" lIns="30859" tIns="30859" rIns="30859" bIns="30859" rtlCol="0" anchor="ctr"/>
          <a:lstStyle/>
          <a:p>
            <a:pPr marL="0" marR="0" lvl="0" indent="0" algn="ctr" defTabSz="740269" rtl="0" eaLnBrk="1" fontAlgn="base" latinLnBrk="0" hangingPunct="1">
              <a:lnSpc>
                <a:spcPct val="100000"/>
              </a:lnSpc>
              <a:spcBef>
                <a:spcPct val="0"/>
              </a:spcBef>
              <a:spcAft>
                <a:spcPct val="30000"/>
              </a:spcAft>
              <a:buClrTx/>
              <a:buSzTx/>
              <a:buFontTx/>
              <a:buNone/>
              <a:tabLst/>
              <a:defRPr/>
            </a:pPr>
            <a:r>
              <a:rPr kumimoji="0" lang="en-GB" sz="943" b="0" i="0" u="none" strike="noStrike" kern="1200" cap="none" spc="0" normalizeH="0" baseline="0" noProof="0" dirty="0">
                <a:ln>
                  <a:noFill/>
                </a:ln>
                <a:solidFill>
                  <a:srgbClr val="FFFFFF"/>
                </a:solidFill>
                <a:effectLst/>
                <a:uLnTx/>
                <a:uFillTx/>
                <a:latin typeface="Arial" charset="0"/>
                <a:ea typeface="+mn-ea"/>
                <a:cs typeface="Arial" charset="0"/>
              </a:rPr>
              <a:t>350095</a:t>
            </a:r>
          </a:p>
        </p:txBody>
      </p:sp>
      <p:pic>
        <p:nvPicPr>
          <p:cNvPr id="3" name="Picture 2">
            <a:extLst>
              <a:ext uri="{FF2B5EF4-FFF2-40B4-BE49-F238E27FC236}">
                <a16:creationId xmlns:a16="http://schemas.microsoft.com/office/drawing/2014/main" id="{77ACEF66-5594-3976-3BF7-82D7643C1768}"/>
              </a:ext>
            </a:extLst>
          </p:cNvPr>
          <p:cNvPicPr>
            <a:picLocks noChangeAspect="1"/>
          </p:cNvPicPr>
          <p:nvPr/>
        </p:nvPicPr>
        <p:blipFill>
          <a:blip r:embed="rId4"/>
          <a:stretch>
            <a:fillRect/>
          </a:stretch>
        </p:blipFill>
        <p:spPr>
          <a:xfrm>
            <a:off x="576000" y="1348855"/>
            <a:ext cx="7712108" cy="4671465"/>
          </a:xfrm>
          <a:prstGeom prst="rect">
            <a:avLst/>
          </a:prstGeom>
        </p:spPr>
      </p:pic>
    </p:spTree>
    <p:custDataLst>
      <p:tags r:id="rId1"/>
    </p:custDataLst>
    <p:extLst>
      <p:ext uri="{BB962C8B-B14F-4D97-AF65-F5344CB8AC3E}">
        <p14:creationId xmlns:p14="http://schemas.microsoft.com/office/powerpoint/2010/main" val="1543222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455C12-CBED-BDFA-0CD9-9D7015FD37C7}"/>
              </a:ext>
            </a:extLst>
          </p:cNvPr>
          <p:cNvSpPr>
            <a:spLocks noGrp="1"/>
          </p:cNvSpPr>
          <p:nvPr>
            <p:ph type="sldNum" sz="quarter" idx="31"/>
          </p:nvPr>
        </p:nvSpPr>
        <p:spPr/>
        <p:txBody>
          <a:bodyPr/>
          <a:lstStyle/>
          <a:p>
            <a:fld id="{0F961903-03AF-4EAC-BF2C-945F8C5557D1}" type="slidenum">
              <a:rPr lang="en-GB" smtClean="0"/>
              <a:pPr/>
              <a:t>3</a:t>
            </a:fld>
            <a:endParaRPr lang="en-GB" dirty="0"/>
          </a:p>
        </p:txBody>
      </p:sp>
      <p:sp>
        <p:nvSpPr>
          <p:cNvPr id="4" name="Text Placeholder 3">
            <a:extLst>
              <a:ext uri="{FF2B5EF4-FFF2-40B4-BE49-F238E27FC236}">
                <a16:creationId xmlns:a16="http://schemas.microsoft.com/office/drawing/2014/main" id="{E4C04A4F-4BE8-8920-7962-BE51BE8C89CC}"/>
              </a:ext>
            </a:extLst>
          </p:cNvPr>
          <p:cNvSpPr>
            <a:spLocks noGrp="1"/>
          </p:cNvSpPr>
          <p:nvPr>
            <p:ph type="body" sz="quarter" idx="11"/>
          </p:nvPr>
        </p:nvSpPr>
        <p:spPr/>
        <p:txBody>
          <a:bodyPr/>
          <a:lstStyle/>
          <a:p>
            <a:r>
              <a:rPr lang="en-GB" dirty="0"/>
              <a:t>Shortcomings in the assessment of risk was one of the key findings of the review</a:t>
            </a:r>
          </a:p>
        </p:txBody>
      </p:sp>
      <p:sp>
        <p:nvSpPr>
          <p:cNvPr id="5" name="Title 4">
            <a:extLst>
              <a:ext uri="{FF2B5EF4-FFF2-40B4-BE49-F238E27FC236}">
                <a16:creationId xmlns:a16="http://schemas.microsoft.com/office/drawing/2014/main" id="{B584CE4E-BCB7-A2A4-68CD-69DBF266B8D2}"/>
              </a:ext>
            </a:extLst>
          </p:cNvPr>
          <p:cNvSpPr>
            <a:spLocks noGrp="1"/>
          </p:cNvSpPr>
          <p:nvPr>
            <p:ph type="title"/>
          </p:nvPr>
        </p:nvSpPr>
        <p:spPr/>
        <p:txBody>
          <a:bodyPr/>
          <a:lstStyle/>
          <a:p>
            <a:r>
              <a:rPr lang="en-GB" dirty="0"/>
              <a:t>The FCA review of </a:t>
            </a:r>
            <a:r>
              <a:rPr lang="en-GB" dirty="0">
                <a:solidFill>
                  <a:srgbClr val="FF6120"/>
                </a:solidFill>
              </a:rPr>
              <a:t>retirement income advice</a:t>
            </a:r>
            <a:endParaRPr lang="en-GB" baseline="30000" dirty="0">
              <a:solidFill>
                <a:srgbClr val="FF6120"/>
              </a:solidFill>
            </a:endParaRPr>
          </a:p>
        </p:txBody>
      </p:sp>
      <p:sp>
        <p:nvSpPr>
          <p:cNvPr id="10" name="TextBox 9">
            <a:extLst>
              <a:ext uri="{FF2B5EF4-FFF2-40B4-BE49-F238E27FC236}">
                <a16:creationId xmlns:a16="http://schemas.microsoft.com/office/drawing/2014/main" id="{8A7050B1-0251-A285-BE1A-256760E6272D}"/>
              </a:ext>
            </a:extLst>
          </p:cNvPr>
          <p:cNvSpPr txBox="1"/>
          <p:nvPr/>
        </p:nvSpPr>
        <p:spPr>
          <a:xfrm>
            <a:off x="3776513" y="1459440"/>
            <a:ext cx="6824381" cy="3736407"/>
          </a:xfrm>
          <a:prstGeom prst="rect">
            <a:avLst/>
          </a:prstGeom>
          <a:noFill/>
        </p:spPr>
        <p:txBody>
          <a:bodyPr wrap="square">
            <a:spAutoFit/>
          </a:bodyPr>
          <a:lstStyle/>
          <a:p>
            <a:r>
              <a:rPr lang="en-GB" sz="1600" dirty="0">
                <a:latin typeface="+mn-lt"/>
              </a:rPr>
              <a:t>“</a:t>
            </a:r>
            <a:r>
              <a:rPr lang="en-GB" sz="1600" b="1" dirty="0">
                <a:solidFill>
                  <a:srgbClr val="FF6120"/>
                </a:solidFill>
                <a:latin typeface="+mn-lt"/>
              </a:rPr>
              <a:t>RISK PROFILING </a:t>
            </a:r>
            <a:r>
              <a:rPr lang="en-GB" sz="1600" dirty="0">
                <a:latin typeface="+mn-lt"/>
              </a:rPr>
              <a:t>was not evidenced, was inconsistent with objectives and customer knowledge and experience, or lacked consideration of </a:t>
            </a:r>
            <a:r>
              <a:rPr lang="en-GB" sz="1600" b="1" dirty="0">
                <a:solidFill>
                  <a:srgbClr val="FF6120"/>
                </a:solidFill>
                <a:latin typeface="+mn-lt"/>
              </a:rPr>
              <a:t>capacity for loss</a:t>
            </a:r>
            <a:r>
              <a:rPr lang="en-GB" sz="1600" dirty="0">
                <a:latin typeface="+mn-lt"/>
              </a:rPr>
              <a:t>.”</a:t>
            </a:r>
          </a:p>
          <a:p>
            <a:endParaRPr lang="en-GB" sz="1600" b="1" dirty="0">
              <a:solidFill>
                <a:srgbClr val="FF6120"/>
              </a:solidFill>
              <a:latin typeface="+mn-lt"/>
            </a:endParaRPr>
          </a:p>
          <a:p>
            <a:endParaRPr lang="en-GB" sz="1600" b="1" dirty="0">
              <a:solidFill>
                <a:srgbClr val="FF6120"/>
              </a:solidFill>
              <a:latin typeface="+mn-lt"/>
            </a:endParaRPr>
          </a:p>
          <a:p>
            <a:r>
              <a:rPr lang="en-GB" sz="1600" dirty="0">
                <a:latin typeface="+mn-lt"/>
              </a:rPr>
              <a:t>In retirement, capacity for loss determines the extent to which clients could cope with a </a:t>
            </a:r>
            <a:r>
              <a:rPr lang="en-GB" sz="1600" b="1" dirty="0">
                <a:solidFill>
                  <a:srgbClr val="FF6120"/>
                </a:solidFill>
                <a:latin typeface="+mn-lt"/>
              </a:rPr>
              <a:t>reduction or change to their income</a:t>
            </a:r>
            <a:r>
              <a:rPr lang="en-GB" sz="1600" dirty="0">
                <a:latin typeface="+mn-lt"/>
              </a:rPr>
              <a:t>. </a:t>
            </a:r>
          </a:p>
          <a:p>
            <a:endParaRPr lang="en-GB" sz="1600" dirty="0">
              <a:latin typeface="+mn-lt"/>
            </a:endParaRPr>
          </a:p>
          <a:p>
            <a:endParaRPr lang="en-GB" sz="1600" dirty="0">
              <a:latin typeface="+mn-lt"/>
            </a:endParaRPr>
          </a:p>
          <a:p>
            <a:r>
              <a:rPr lang="en-GB" sz="1600" dirty="0">
                <a:latin typeface="+mn-lt"/>
              </a:rPr>
              <a:t>For example, if there was a </a:t>
            </a:r>
            <a:r>
              <a:rPr lang="en-GB" sz="1600" b="1" dirty="0">
                <a:solidFill>
                  <a:srgbClr val="FF6120"/>
                </a:solidFill>
                <a:latin typeface="+mn-lt"/>
              </a:rPr>
              <a:t>fall in the value of pension savings </a:t>
            </a:r>
            <a:r>
              <a:rPr lang="en-GB" sz="1600" dirty="0">
                <a:latin typeface="+mn-lt"/>
              </a:rPr>
              <a:t>this might reduce the level of income that could be withdrawn sustainably, or a guaranteed or fixed level of income </a:t>
            </a:r>
            <a:r>
              <a:rPr lang="en-GB" sz="1600" b="1" dirty="0">
                <a:solidFill>
                  <a:srgbClr val="FF6120"/>
                </a:solidFill>
                <a:latin typeface="+mn-lt"/>
              </a:rPr>
              <a:t>might not keep pace with inflation</a:t>
            </a:r>
            <a:r>
              <a:rPr lang="en-GB" sz="1600" dirty="0">
                <a:latin typeface="+mn-lt"/>
              </a:rPr>
              <a:t>.</a:t>
            </a:r>
          </a:p>
        </p:txBody>
      </p:sp>
      <p:pic>
        <p:nvPicPr>
          <p:cNvPr id="12" name="Picture 11">
            <a:extLst>
              <a:ext uri="{FF2B5EF4-FFF2-40B4-BE49-F238E27FC236}">
                <a16:creationId xmlns:a16="http://schemas.microsoft.com/office/drawing/2014/main" id="{A712E243-179C-54A9-33A1-2A19F823FB52}"/>
              </a:ext>
            </a:extLst>
          </p:cNvPr>
          <p:cNvPicPr>
            <a:picLocks noChangeAspect="1"/>
          </p:cNvPicPr>
          <p:nvPr/>
        </p:nvPicPr>
        <p:blipFill>
          <a:blip r:embed="rId4"/>
          <a:stretch>
            <a:fillRect/>
          </a:stretch>
        </p:blipFill>
        <p:spPr>
          <a:xfrm>
            <a:off x="576000" y="1364146"/>
            <a:ext cx="2857144" cy="4039534"/>
          </a:xfrm>
          <a:prstGeom prst="rect">
            <a:avLst/>
          </a:prstGeom>
        </p:spPr>
      </p:pic>
      <p:sp>
        <p:nvSpPr>
          <p:cNvPr id="15" name="Rectangle 14">
            <a:extLst>
              <a:ext uri="{FF2B5EF4-FFF2-40B4-BE49-F238E27FC236}">
                <a16:creationId xmlns:a16="http://schemas.microsoft.com/office/drawing/2014/main" id="{6912D3A7-4BCA-928E-F218-25EF4E8D9E70}"/>
              </a:ext>
            </a:extLst>
          </p:cNvPr>
          <p:cNvSpPr/>
          <p:nvPr/>
        </p:nvSpPr>
        <p:spPr>
          <a:xfrm>
            <a:off x="1053862" y="5471911"/>
            <a:ext cx="9412764" cy="432001"/>
          </a:xfrm>
          <a:prstGeom prst="rect">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1800" b="1" dirty="0"/>
              <a:t>Retirement income clients are different, so we need to think differently about them</a:t>
            </a:r>
          </a:p>
        </p:txBody>
      </p:sp>
      <p:sp>
        <p:nvSpPr>
          <p:cNvPr id="2" name="Content Placeholder 28">
            <a:extLst>
              <a:ext uri="{FF2B5EF4-FFF2-40B4-BE49-F238E27FC236}">
                <a16:creationId xmlns:a16="http://schemas.microsoft.com/office/drawing/2014/main" id="{BEC985C6-CCBA-ACED-7E34-83A50DF70DE1}"/>
              </a:ext>
            </a:extLst>
          </p:cNvPr>
          <p:cNvSpPr txBox="1">
            <a:spLocks/>
          </p:cNvSpPr>
          <p:nvPr/>
        </p:nvSpPr>
        <p:spPr bwMode="auto">
          <a:xfrm>
            <a:off x="576000" y="5972143"/>
            <a:ext cx="10367962" cy="3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defTabSz="853026" rtl="0" eaLnBrk="1" fontAlgn="base" hangingPunct="1">
              <a:lnSpc>
                <a:spcPct val="100000"/>
              </a:lnSpc>
              <a:spcBef>
                <a:spcPts val="0"/>
              </a:spcBef>
              <a:spcAft>
                <a:spcPts val="257"/>
              </a:spcAft>
              <a:buClr>
                <a:schemeClr val="accent1"/>
              </a:buClr>
              <a:buSzPct val="120000"/>
              <a:defRPr sz="800" b="0" spc="0" baseline="0">
                <a:solidFill>
                  <a:schemeClr val="tx2"/>
                </a:solidFill>
                <a:latin typeface="+mn-lt"/>
                <a:ea typeface="+mn-ea"/>
                <a:cs typeface="+mn-cs"/>
              </a:defRPr>
            </a:lvl1pPr>
            <a:lvl2pPr marL="1361" indent="0" algn="l" defTabSz="853026" rtl="0" eaLnBrk="1" fontAlgn="base" hangingPunct="1">
              <a:spcBef>
                <a:spcPts val="0"/>
              </a:spcBef>
              <a:spcAft>
                <a:spcPts val="600"/>
              </a:spcAft>
              <a:buClr>
                <a:schemeClr val="tx2"/>
              </a:buClr>
              <a:buSzPct val="120000"/>
              <a:buNone/>
              <a:defRPr sz="1200">
                <a:solidFill>
                  <a:schemeClr val="tx2"/>
                </a:solidFill>
                <a:latin typeface="+mn-lt"/>
                <a:cs typeface="+mn-cs"/>
              </a:defRPr>
            </a:lvl2pPr>
            <a:lvl3pPr marL="180000" indent="-180000" algn="l" defTabSz="853026" rtl="0" eaLnBrk="1" fontAlgn="base" hangingPunct="1">
              <a:spcBef>
                <a:spcPts val="0"/>
              </a:spcBef>
              <a:spcAft>
                <a:spcPts val="600"/>
              </a:spcAft>
              <a:buClr>
                <a:srgbClr val="FF6120"/>
              </a:buClr>
              <a:buSzPct val="100000"/>
              <a:buFont typeface="Arial" panose="020B0604020202020204" pitchFamily="34" charset="0"/>
              <a:buChar char="•"/>
              <a:defRPr sz="1200">
                <a:solidFill>
                  <a:schemeClr val="tx2"/>
                </a:solidFill>
                <a:latin typeface="+mn-lt"/>
                <a:cs typeface="+mn-cs"/>
              </a:defRPr>
            </a:lvl3pPr>
            <a:lvl4pPr marL="360000" indent="-180000" algn="l" defTabSz="853026" rtl="0" eaLnBrk="1" fontAlgn="base" hangingPunct="1">
              <a:spcBef>
                <a:spcPts val="0"/>
              </a:spcBef>
              <a:spcAft>
                <a:spcPts val="600"/>
              </a:spcAft>
              <a:buClr>
                <a:schemeClr val="tx1"/>
              </a:buClr>
              <a:buSzPct val="100000"/>
              <a:buFont typeface="Arial" panose="020B0604020202020204" pitchFamily="34" charset="0"/>
              <a:buChar char="−"/>
              <a:defRPr sz="1200">
                <a:solidFill>
                  <a:schemeClr val="tx2"/>
                </a:solidFill>
                <a:latin typeface="+mn-lt"/>
                <a:cs typeface="+mn-cs"/>
              </a:defRPr>
            </a:lvl4pPr>
            <a:lvl5pPr marL="540000" indent="-180000" algn="l" defTabSz="853026" rtl="0" eaLnBrk="1" fontAlgn="base" hangingPunct="1">
              <a:spcBef>
                <a:spcPts val="0"/>
              </a:spcBef>
              <a:spcAft>
                <a:spcPts val="600"/>
              </a:spcAft>
              <a:buClr>
                <a:schemeClr val="tx2"/>
              </a:buClr>
              <a:buSzPct val="100000"/>
              <a:buFont typeface="Arial" panose="020B0604020202020204" pitchFamily="34" charset="0"/>
              <a:buChar char="–"/>
              <a:defRPr sz="1200">
                <a:solidFill>
                  <a:schemeClr val="tx2"/>
                </a:solidFill>
                <a:latin typeface="+mn-lt"/>
                <a:cs typeface="+mn-cs"/>
              </a:defRPr>
            </a:lvl5pPr>
            <a:lvl6pPr marL="957783"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6pPr>
            <a:lvl7pPr marL="134960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7pPr>
            <a:lvl8pPr marL="174142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8pPr>
            <a:lvl9pPr marL="2133244" indent="-129247" algn="l" defTabSz="853026" rtl="0" eaLnBrk="1" fontAlgn="base" hangingPunct="1">
              <a:spcBef>
                <a:spcPct val="20000"/>
              </a:spcBef>
              <a:spcAft>
                <a:spcPct val="20000"/>
              </a:spcAft>
              <a:buFont typeface="Arial" charset="0"/>
              <a:buChar char="–"/>
              <a:defRPr sz="1114">
                <a:solidFill>
                  <a:schemeClr val="tx1"/>
                </a:solidFill>
                <a:latin typeface="+mn-lt"/>
                <a:cs typeface="+mn-cs"/>
              </a:defRPr>
            </a:lvl9pPr>
          </a:lstStyle>
          <a:p>
            <a:r>
              <a:rPr lang="en-GB" kern="0" dirty="0"/>
              <a:t>Source: Financial Conduct Authority (FCA) Thematic review of Retirement Income Advice, 20 March 2024. </a:t>
            </a:r>
            <a:br>
              <a:rPr lang="en-GB" kern="0" dirty="0"/>
            </a:br>
            <a:r>
              <a:rPr lang="en-GB" kern="0" dirty="0"/>
              <a:t>https://www.fca.org.uk/publications/thematic-reviews/thematic-review-retirement-income-advice </a:t>
            </a:r>
          </a:p>
        </p:txBody>
      </p:sp>
    </p:spTree>
    <p:extLst>
      <p:ext uri="{BB962C8B-B14F-4D97-AF65-F5344CB8AC3E}">
        <p14:creationId xmlns:p14="http://schemas.microsoft.com/office/powerpoint/2010/main" val="3244641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169A5E5D-84F2-848E-5DBB-E586B0A7BAC8}"/>
              </a:ext>
            </a:extLst>
          </p:cNvPr>
          <p:cNvSpPr>
            <a:spLocks noGrp="1"/>
          </p:cNvSpPr>
          <p:nvPr>
            <p:ph type="sldNum" sz="quarter" idx="13"/>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rial" charset="0"/>
                <a:ea typeface="+mn-ea"/>
                <a:cs typeface="Arial" charset="0"/>
              </a:rPr>
              <a:pPr marL="0" marR="0" lvl="0" indent="0" algn="l" defTabSz="783814" rtl="0" eaLnBrk="1" fontAlgn="base" latinLnBrk="0" hangingPunct="1">
                <a:lnSpc>
                  <a:spcPct val="90000"/>
                </a:lnSpc>
                <a:spcBef>
                  <a:spcPct val="0"/>
                </a:spcBef>
                <a:spcAft>
                  <a:spcPts val="0"/>
                </a:spcAft>
                <a:buClrTx/>
                <a:buSzTx/>
                <a:buFontTx/>
                <a:buNone/>
                <a:tabLst/>
                <a:defRPr/>
              </a:pPr>
              <a:t>30</a:t>
            </a:fld>
            <a:endParaRPr kumimoji="0" lang="en-GB" sz="795" b="1"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14" name="Text Placeholder 13">
            <a:extLst>
              <a:ext uri="{FF2B5EF4-FFF2-40B4-BE49-F238E27FC236}">
                <a16:creationId xmlns:a16="http://schemas.microsoft.com/office/drawing/2014/main" id="{4F115609-158D-CC9F-DBAF-BBA0EDE26F58}"/>
              </a:ext>
            </a:extLst>
          </p:cNvPr>
          <p:cNvSpPr>
            <a:spLocks noGrp="1"/>
          </p:cNvSpPr>
          <p:nvPr>
            <p:ph type="body" sz="quarter" idx="11"/>
          </p:nvPr>
        </p:nvSpPr>
        <p:spPr/>
        <p:txBody>
          <a:bodyPr/>
          <a:lstStyle/>
          <a:p>
            <a:r>
              <a:rPr lang="en-GB" dirty="0"/>
              <a:t>BNY Mellon </a:t>
            </a:r>
            <a:r>
              <a:rPr lang="en-GB" dirty="0" err="1"/>
              <a:t>FutureLegacy</a:t>
            </a:r>
            <a:r>
              <a:rPr lang="en-GB" dirty="0"/>
              <a:t> 7 Fund</a:t>
            </a:r>
          </a:p>
        </p:txBody>
      </p:sp>
      <p:sp>
        <p:nvSpPr>
          <p:cNvPr id="7" name="Title 2">
            <a:extLst>
              <a:ext uri="{FF2B5EF4-FFF2-40B4-BE49-F238E27FC236}">
                <a16:creationId xmlns:a16="http://schemas.microsoft.com/office/drawing/2014/main" id="{7D6AEE77-FCC1-C99D-40A5-169C23A254BB}"/>
              </a:ext>
            </a:extLst>
          </p:cNvPr>
          <p:cNvSpPr>
            <a:spLocks noGrp="1"/>
          </p:cNvSpPr>
          <p:nvPr>
            <p:ph type="title"/>
          </p:nvPr>
        </p:nvSpPr>
        <p:spPr/>
        <p:txBody>
          <a:bodyPr/>
          <a:lstStyle/>
          <a:p>
            <a:r>
              <a:rPr lang="en-GB" dirty="0"/>
              <a:t>Objective, benchmark, annual performance and key risks</a:t>
            </a:r>
            <a:endParaRPr lang="en-US" dirty="0"/>
          </a:p>
        </p:txBody>
      </p:sp>
      <p:sp>
        <p:nvSpPr>
          <p:cNvPr id="9" name="Rectangle 5">
            <a:extLst>
              <a:ext uri="{FF2B5EF4-FFF2-40B4-BE49-F238E27FC236}">
                <a16:creationId xmlns:a16="http://schemas.microsoft.com/office/drawing/2014/main" id="{00426F5B-07A9-B2D5-6109-481A6DBBC7E9}"/>
              </a:ext>
            </a:extLst>
          </p:cNvPr>
          <p:cNvSpPr>
            <a:spLocks/>
          </p:cNvSpPr>
          <p:nvPr/>
        </p:nvSpPr>
        <p:spPr bwMode="auto">
          <a:xfrm>
            <a:off x="11702561" y="849182"/>
            <a:ext cx="502948" cy="254740"/>
          </a:xfrm>
          <a:prstGeom prst="rect">
            <a:avLst/>
          </a:prstGeom>
          <a:solidFill>
            <a:schemeClr val="accent2"/>
          </a:solidFill>
          <a:ln w="12700" algn="ctr">
            <a:solidFill>
              <a:schemeClr val="tx2"/>
            </a:solidFill>
            <a:miter lim="800000"/>
            <a:headEnd/>
            <a:tailEnd/>
          </a:ln>
          <a:effectLst/>
        </p:spPr>
        <p:txBody>
          <a:bodyPr wrap="none" lIns="30859" tIns="30859" rIns="30859" bIns="30859" rtlCol="0" anchor="ctr"/>
          <a:lstStyle/>
          <a:p>
            <a:pPr marL="0" marR="0" lvl="0" indent="0" algn="ctr" defTabSz="740269" rtl="0" eaLnBrk="1" fontAlgn="base" latinLnBrk="0" hangingPunct="1">
              <a:lnSpc>
                <a:spcPct val="100000"/>
              </a:lnSpc>
              <a:spcBef>
                <a:spcPct val="0"/>
              </a:spcBef>
              <a:spcAft>
                <a:spcPct val="30000"/>
              </a:spcAft>
              <a:buClrTx/>
              <a:buSzTx/>
              <a:buFontTx/>
              <a:buNone/>
              <a:tabLst/>
              <a:defRPr/>
            </a:pPr>
            <a:r>
              <a:rPr kumimoji="0" lang="en-GB" sz="943" b="0" i="0" u="none" strike="noStrike" kern="1200" cap="none" spc="0" normalizeH="0" baseline="0" noProof="0" dirty="0">
                <a:ln>
                  <a:noFill/>
                </a:ln>
                <a:solidFill>
                  <a:srgbClr val="FFFFFF"/>
                </a:solidFill>
                <a:effectLst/>
                <a:uLnTx/>
                <a:uFillTx/>
                <a:latin typeface="Arial" charset="0"/>
                <a:ea typeface="+mn-ea"/>
                <a:cs typeface="Arial" charset="0"/>
              </a:rPr>
              <a:t>350095</a:t>
            </a:r>
          </a:p>
        </p:txBody>
      </p:sp>
      <p:pic>
        <p:nvPicPr>
          <p:cNvPr id="4" name="Picture 3">
            <a:extLst>
              <a:ext uri="{FF2B5EF4-FFF2-40B4-BE49-F238E27FC236}">
                <a16:creationId xmlns:a16="http://schemas.microsoft.com/office/drawing/2014/main" id="{DF54D333-B616-7EEA-8D77-6DF45E9077FF}"/>
              </a:ext>
            </a:extLst>
          </p:cNvPr>
          <p:cNvPicPr>
            <a:picLocks noChangeAspect="1"/>
          </p:cNvPicPr>
          <p:nvPr/>
        </p:nvPicPr>
        <p:blipFill>
          <a:blip r:embed="rId4"/>
          <a:stretch>
            <a:fillRect/>
          </a:stretch>
        </p:blipFill>
        <p:spPr>
          <a:xfrm>
            <a:off x="576000" y="1440000"/>
            <a:ext cx="7643522" cy="4625741"/>
          </a:xfrm>
          <a:prstGeom prst="rect">
            <a:avLst/>
          </a:prstGeom>
        </p:spPr>
      </p:pic>
    </p:spTree>
    <p:custDataLst>
      <p:tags r:id="rId1"/>
    </p:custDataLst>
    <p:extLst>
      <p:ext uri="{BB962C8B-B14F-4D97-AF65-F5344CB8AC3E}">
        <p14:creationId xmlns:p14="http://schemas.microsoft.com/office/powerpoint/2010/main" val="421985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1649325F-3B61-A24F-1E04-2C763D86A9D7}"/>
              </a:ext>
            </a:extLst>
          </p:cNvPr>
          <p:cNvSpPr>
            <a:spLocks noGrp="1"/>
          </p:cNvSpPr>
          <p:nvPr>
            <p:ph sz="quarter" idx="30"/>
          </p:nvPr>
        </p:nvSpPr>
        <p:spPr>
          <a:xfrm>
            <a:off x="576342" y="1727223"/>
            <a:ext cx="10367805" cy="3818429"/>
          </a:xfrm>
        </p:spPr>
        <p:txBody>
          <a:bodyPr/>
          <a:lstStyle/>
          <a:p>
            <a:pPr lvl="1"/>
            <a:r>
              <a:rPr lang="en-GB" sz="900" b="1" dirty="0"/>
              <a:t>For Professional Clients only. </a:t>
            </a:r>
          </a:p>
          <a:p>
            <a:pPr lvl="1"/>
            <a:r>
              <a:rPr lang="en-GB" sz="900" b="1" dirty="0"/>
              <a:t>This is a financial promotion. </a:t>
            </a:r>
          </a:p>
          <a:p>
            <a:pPr lvl="1"/>
            <a:r>
              <a:rPr lang="en-GB" sz="900" b="1" dirty="0"/>
              <a:t>Please refer to the prospectus and the KIID before making any investment decisions. Go to </a:t>
            </a:r>
            <a:r>
              <a:rPr lang="en-GB" sz="900" b="1" dirty="0">
                <a:hlinkClick r:id="rId4"/>
              </a:rPr>
              <a:t>www.bnymellonim.com</a:t>
            </a:r>
            <a:r>
              <a:rPr lang="en-GB" sz="900" b="1" dirty="0"/>
              <a:t>.</a:t>
            </a:r>
          </a:p>
          <a:p>
            <a:pPr lvl="1"/>
            <a:r>
              <a:rPr lang="en-GB" sz="900" dirty="0"/>
              <a:t>Any views and opinions are those of the investment manager, unless otherwise noted and is not investment advice.</a:t>
            </a:r>
          </a:p>
          <a:p>
            <a:pPr lvl="1"/>
            <a:r>
              <a:rPr lang="en-GB" sz="900" dirty="0"/>
              <a:t>The Funds are sub-funds of BNY Mellon Investment Funds, an open-ended investment company with variable capital (ICVC) with limited liability between sub-funds. Incorporated in England and Wales: registered number IC27. The Authorised Corporate Director (ACD) is BNY Mellon Fund Managers Limited (BNY MFM), incorporated in England and Wales: No. 1998251. Registered address: BNY Mellon Centre, 160 Queen Victoria Street, London EC4V 4LA. Authorised and regulated by the Financial Conduct Authority.</a:t>
            </a:r>
          </a:p>
          <a:p>
            <a:pPr lvl="1"/>
            <a:r>
              <a:rPr lang="en-GB" sz="900" dirty="0"/>
              <a:t>BNY, BNY Mellon and Bank of New York Mellon are the corporate brands of The Bank of New York Mellon Corporation and may be used to reference the corporation as a whole and/or its various subsidiaries generally.</a:t>
            </a:r>
          </a:p>
          <a:p>
            <a:pPr lvl="1"/>
            <a:r>
              <a:rPr lang="en-GB" sz="900" b="1" dirty="0"/>
              <a:t>Issued in the UK </a:t>
            </a:r>
            <a:r>
              <a:rPr lang="en-GB" sz="900" dirty="0"/>
              <a:t>by BNY Mellon Investment Management EMEA Limited, BNY Mellon Centre, 160 Queen Victoria Street, London EC4V 4LA. Registered in England No. 1118580. Authorised and regulated by the Financial Conduct Authority. </a:t>
            </a:r>
          </a:p>
        </p:txBody>
      </p:sp>
      <p:sp>
        <p:nvSpPr>
          <p:cNvPr id="6" name="Slide Number Placeholder 1">
            <a:extLst>
              <a:ext uri="{FF2B5EF4-FFF2-40B4-BE49-F238E27FC236}">
                <a16:creationId xmlns:a16="http://schemas.microsoft.com/office/drawing/2014/main" id="{1B6A053F-F259-BC47-27D8-4DA8C89F64FC}"/>
              </a:ext>
            </a:extLst>
          </p:cNvPr>
          <p:cNvSpPr>
            <a:spLocks noGrp="1"/>
          </p:cNvSpPr>
          <p:nvPr>
            <p:ph type="sldNum" sz="quarter" idx="31"/>
          </p:nvPr>
        </p:nvSpPr>
        <p:spPr/>
        <p:txBody>
          <a:bodyPr/>
          <a:lstStyle/>
          <a:p>
            <a:pPr marL="0" marR="0" lvl="0" indent="0" algn="l" defTabSz="783814" rtl="0" eaLnBrk="1" fontAlgn="base" latinLnBrk="0" hangingPunct="1">
              <a:lnSpc>
                <a:spcPct val="90000"/>
              </a:lnSpc>
              <a:spcBef>
                <a:spcPct val="0"/>
              </a:spcBef>
              <a:spcAft>
                <a:spcPts val="0"/>
              </a:spcAft>
              <a:buClrTx/>
              <a:buSzTx/>
              <a:buFontTx/>
              <a:buNone/>
              <a:tabLst/>
              <a:defRPr/>
            </a:pPr>
            <a:fld id="{0F961903-03AF-4EAC-BF2C-945F8C5557D1}" type="slidenum">
              <a:rPr kumimoji="0" lang="en-GB" sz="795" b="1" i="0" u="none" strike="noStrike" kern="1200" cap="none" spc="0" normalizeH="0" baseline="0" noProof="0">
                <a:ln>
                  <a:noFill/>
                </a:ln>
                <a:solidFill>
                  <a:srgbClr val="000000"/>
                </a:solidFill>
                <a:effectLst/>
                <a:uLnTx/>
                <a:uFillTx/>
                <a:latin typeface="Avenir Next LT Pro"/>
                <a:ea typeface="+mn-ea"/>
                <a:cs typeface="Arial"/>
              </a:rPr>
              <a:pPr marL="0" marR="0" lvl="0" indent="0" algn="l" defTabSz="783814" rtl="0" eaLnBrk="1" fontAlgn="base" latinLnBrk="0" hangingPunct="1">
                <a:lnSpc>
                  <a:spcPct val="90000"/>
                </a:lnSpc>
                <a:spcBef>
                  <a:spcPct val="0"/>
                </a:spcBef>
                <a:spcAft>
                  <a:spcPts val="0"/>
                </a:spcAft>
                <a:buClrTx/>
                <a:buSzTx/>
                <a:buFontTx/>
                <a:buNone/>
                <a:tabLst/>
                <a:defRPr/>
              </a:pPr>
              <a:t>31</a:t>
            </a:fld>
            <a:endParaRPr kumimoji="0" lang="en-GB" sz="795" b="1" i="0" u="none" strike="noStrike" kern="1200" cap="none" spc="0" normalizeH="0" baseline="0" noProof="0" dirty="0">
              <a:ln>
                <a:noFill/>
              </a:ln>
              <a:solidFill>
                <a:srgbClr val="000000"/>
              </a:solidFill>
              <a:effectLst/>
              <a:uLnTx/>
              <a:uFillTx/>
              <a:latin typeface="Avenir Next LT Pro"/>
              <a:ea typeface="+mn-ea"/>
              <a:cs typeface="Arial"/>
            </a:endParaRPr>
          </a:p>
        </p:txBody>
      </p:sp>
      <p:sp>
        <p:nvSpPr>
          <p:cNvPr id="7" name="Title 2">
            <a:extLst>
              <a:ext uri="{FF2B5EF4-FFF2-40B4-BE49-F238E27FC236}">
                <a16:creationId xmlns:a16="http://schemas.microsoft.com/office/drawing/2014/main" id="{A68565A1-85C2-CC41-D549-287C7DA3C81A}"/>
              </a:ext>
            </a:extLst>
          </p:cNvPr>
          <p:cNvSpPr>
            <a:spLocks noGrp="1"/>
          </p:cNvSpPr>
          <p:nvPr>
            <p:ph type="title"/>
          </p:nvPr>
        </p:nvSpPr>
        <p:spPr>
          <a:xfrm>
            <a:off x="576343" y="1044609"/>
            <a:ext cx="10367803" cy="359995"/>
          </a:xfrm>
        </p:spPr>
        <p:txBody>
          <a:bodyPr/>
          <a:lstStyle/>
          <a:p>
            <a:r>
              <a:rPr lang="en-US" dirty="0"/>
              <a:t>Important information</a:t>
            </a:r>
          </a:p>
        </p:txBody>
      </p:sp>
      <p:sp>
        <p:nvSpPr>
          <p:cNvPr id="13" name="Content Placeholder 12">
            <a:extLst>
              <a:ext uri="{FF2B5EF4-FFF2-40B4-BE49-F238E27FC236}">
                <a16:creationId xmlns:a16="http://schemas.microsoft.com/office/drawing/2014/main" id="{51E6C8F7-1435-4EAF-FF19-769B0E0C22EB}"/>
              </a:ext>
            </a:extLst>
          </p:cNvPr>
          <p:cNvSpPr>
            <a:spLocks noGrp="1"/>
          </p:cNvSpPr>
          <p:nvPr>
            <p:ph sz="quarter" idx="12"/>
          </p:nvPr>
        </p:nvSpPr>
        <p:spPr>
          <a:xfrm>
            <a:off x="585888" y="5723913"/>
            <a:ext cx="10367962" cy="180000"/>
          </a:xfrm>
        </p:spPr>
        <p:txBody>
          <a:bodyPr/>
          <a:lstStyle/>
          <a:p>
            <a:r>
              <a:rPr lang="en-GB" dirty="0"/>
              <a:t>Document ID: 2038050. EXP: 20 January 2025</a:t>
            </a:r>
          </a:p>
        </p:txBody>
      </p:sp>
      <p:sp>
        <p:nvSpPr>
          <p:cNvPr id="8" name="Text Placeholder 7">
            <a:extLst>
              <a:ext uri="{FF2B5EF4-FFF2-40B4-BE49-F238E27FC236}">
                <a16:creationId xmlns:a16="http://schemas.microsoft.com/office/drawing/2014/main" id="{E1A64771-C5AB-9E60-E29B-6517F8EB5265}"/>
              </a:ext>
            </a:extLst>
          </p:cNvPr>
          <p:cNvSpPr>
            <a:spLocks noGrp="1"/>
          </p:cNvSpPr>
          <p:nvPr>
            <p:ph type="body" sz="quarter" idx="18"/>
          </p:nvPr>
        </p:nvSpPr>
        <p:spPr>
          <a:xfrm>
            <a:off x="576105" y="594798"/>
            <a:ext cx="10368280" cy="23550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r>
              <a:rPr lang="en-GB" sz="1200" b="1" spc="0" dirty="0">
                <a:solidFill>
                  <a:schemeClr val="tx2"/>
                </a:solidFill>
              </a:rPr>
              <a:t>Past Performance is not a guide to future performance. </a:t>
            </a:r>
            <a:br>
              <a:rPr lang="en-GB" sz="1200" b="1" spc="0" dirty="0">
                <a:solidFill>
                  <a:schemeClr val="tx2"/>
                </a:solidFill>
              </a:rPr>
            </a:br>
            <a:r>
              <a:rPr lang="en-GB" sz="1200" b="1" spc="0" dirty="0">
                <a:solidFill>
                  <a:schemeClr val="tx2"/>
                </a:solidFill>
              </a:rPr>
              <a:t>The value of investments can fall. Investors may not get back the amount invested. Income from investments may vary and is not guaranteed.</a:t>
            </a:r>
          </a:p>
        </p:txBody>
      </p:sp>
    </p:spTree>
    <p:custDataLst>
      <p:tags r:id="rId1"/>
    </p:custDataLst>
    <p:extLst>
      <p:ext uri="{BB962C8B-B14F-4D97-AF65-F5344CB8AC3E}">
        <p14:creationId xmlns:p14="http://schemas.microsoft.com/office/powerpoint/2010/main" val="3353042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32">
            <a:extLst>
              <a:ext uri="{FF2B5EF4-FFF2-40B4-BE49-F238E27FC236}">
                <a16:creationId xmlns:a16="http://schemas.microsoft.com/office/drawing/2014/main" id="{10DEC142-2928-DDE8-0192-CD61E01B4B9B}"/>
              </a:ext>
            </a:extLst>
          </p:cNvPr>
          <p:cNvSpPr>
            <a:spLocks noGrp="1"/>
          </p:cNvSpPr>
          <p:nvPr>
            <p:ph type="sldNum" sz="quarter" idx="4294967295"/>
          </p:nvPr>
        </p:nvSpPr>
        <p:spPr>
          <a:xfrm>
            <a:off x="0" y="6119813"/>
            <a:ext cx="288925" cy="176212"/>
          </a:xfrm>
        </p:spPr>
        <p:txBody>
          <a:bodyPr/>
          <a:lstStyle/>
          <a:p>
            <a:fld id="{0F961903-03AF-4EAC-BF2C-945F8C5557D1}" type="slidenum">
              <a:rPr lang="en-GB" smtClean="0"/>
              <a:pPr/>
              <a:t>32</a:t>
            </a:fld>
            <a:endParaRPr lang="en-GB" dirty="0"/>
          </a:p>
        </p:txBody>
      </p:sp>
      <p:sp>
        <p:nvSpPr>
          <p:cNvPr id="3" name="Title 29">
            <a:extLst>
              <a:ext uri="{FF2B5EF4-FFF2-40B4-BE49-F238E27FC236}">
                <a16:creationId xmlns:a16="http://schemas.microsoft.com/office/drawing/2014/main" id="{753B4E69-B749-B442-1D43-AE0C2EC5C458}"/>
              </a:ext>
            </a:extLst>
          </p:cNvPr>
          <p:cNvSpPr txBox="1">
            <a:spLocks/>
          </p:cNvSpPr>
          <p:nvPr/>
        </p:nvSpPr>
        <p:spPr>
          <a:xfrm>
            <a:off x="609853" y="2370218"/>
            <a:ext cx="7227452" cy="1654330"/>
          </a:xfrm>
          <a:prstGeom prst="rect">
            <a:avLst/>
          </a:prstGeom>
        </p:spPr>
        <p:txBody>
          <a:bodyPr vert="horz" lIns="0" tIns="45720" rIns="91440" bIns="45720" rtlCol="0" anchor="b" anchorCtr="0">
            <a:noAutofit/>
          </a:bodyPr>
          <a:lstStyle>
            <a:lvl1pPr algn="l" defTabSz="914400" rtl="0" eaLnBrk="1" latinLnBrk="0" hangingPunct="1">
              <a:lnSpc>
                <a:spcPct val="80000"/>
              </a:lnSpc>
              <a:spcBef>
                <a:spcPct val="0"/>
              </a:spcBef>
              <a:buNone/>
              <a:defRPr sz="5715" b="0" i="0" kern="1200" cap="all" spc="0" baseline="0">
                <a:solidFill>
                  <a:schemeClr val="bg1"/>
                </a:solidFill>
                <a:latin typeface="AvenirNext LT Pro Bold" panose="020B0504020202020204" pitchFamily="34" charset="77"/>
                <a:ea typeface="AvenirNext LT Pro Bold" panose="020B0504020202020204" pitchFamily="34" charset="77"/>
                <a:cs typeface="Times New Roman" panose="02020603050405020304" pitchFamily="18"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5715" b="0" i="0" u="none" strike="noStrike" kern="1200" cap="all" spc="0" normalizeH="0" baseline="0" noProof="0">
                <a:ln>
                  <a:noFill/>
                </a:ln>
                <a:solidFill>
                  <a:srgbClr val="FFFFFF"/>
                </a:solidFill>
                <a:effectLst/>
                <a:uLnTx/>
                <a:uFillTx/>
                <a:latin typeface="AvenirNext LT Pro Bold" panose="020B0504020202020204" pitchFamily="34" charset="77"/>
                <a:cs typeface="Times New Roman" panose="02020603050405020304" pitchFamily="18" charset="0"/>
              </a:rPr>
              <a:t>Thank you</a:t>
            </a:r>
            <a:endParaRPr kumimoji="0" lang="en-GB" sz="5715" b="0" i="0" u="none" strike="noStrike" kern="1200" cap="all" spc="0" normalizeH="0" baseline="0" noProof="0" dirty="0">
              <a:ln>
                <a:noFill/>
              </a:ln>
              <a:solidFill>
                <a:srgbClr val="FFFFFF"/>
              </a:solidFill>
              <a:effectLst/>
              <a:uLnTx/>
              <a:uFillTx/>
              <a:latin typeface="AvenirNext LT Pro Bold" panose="020B0504020202020204" pitchFamily="34" charset="77"/>
              <a:cs typeface="Times New Roman" panose="02020603050405020304" pitchFamily="18" charset="0"/>
            </a:endParaRPr>
          </a:p>
        </p:txBody>
      </p:sp>
    </p:spTree>
    <p:custDataLst>
      <p:tags r:id="rId1"/>
    </p:custDataLst>
    <p:extLst>
      <p:ext uri="{BB962C8B-B14F-4D97-AF65-F5344CB8AC3E}">
        <p14:creationId xmlns:p14="http://schemas.microsoft.com/office/powerpoint/2010/main" val="4057671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9">
            <a:extLst>
              <a:ext uri="{FF2B5EF4-FFF2-40B4-BE49-F238E27FC236}">
                <a16:creationId xmlns:a16="http://schemas.microsoft.com/office/drawing/2014/main" id="{1D3847D1-655B-5B12-C4D3-F86B1438FAFE}"/>
              </a:ext>
            </a:extLst>
          </p:cNvPr>
          <p:cNvSpPr>
            <a:spLocks noGrp="1"/>
          </p:cNvSpPr>
          <p:nvPr>
            <p:ph type="sldNum" sz="quarter" idx="31"/>
          </p:nvPr>
        </p:nvSpPr>
        <p:spPr/>
        <p:txBody>
          <a:bodyPr/>
          <a:lstStyle/>
          <a:p>
            <a:fld id="{0F961903-03AF-4EAC-BF2C-945F8C5557D1}" type="slidenum">
              <a:rPr lang="en-GB" smtClean="0"/>
              <a:pPr/>
              <a:t>4</a:t>
            </a:fld>
            <a:endParaRPr lang="en-GB" dirty="0"/>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1"/>
          </p:nvPr>
        </p:nvSpPr>
        <p:spPr/>
        <p:txBody>
          <a:bodyPr/>
          <a:lstStyle/>
          <a:p>
            <a:r>
              <a:rPr lang="en-GB" dirty="0"/>
              <a:t>These differences lead to some key retirement investment principles</a:t>
            </a:r>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p:txBody>
          <a:bodyPr/>
          <a:lstStyle/>
          <a:p>
            <a:r>
              <a:rPr lang="en-GB" dirty="0"/>
              <a:t>What makes retirement income clients </a:t>
            </a:r>
            <a:r>
              <a:rPr lang="en-GB" dirty="0">
                <a:solidFill>
                  <a:srgbClr val="FF6120"/>
                </a:solidFill>
              </a:rPr>
              <a:t>different?</a:t>
            </a:r>
          </a:p>
        </p:txBody>
      </p:sp>
      <p:sp>
        <p:nvSpPr>
          <p:cNvPr id="27" name="Text Placeholder 26">
            <a:extLst>
              <a:ext uri="{FF2B5EF4-FFF2-40B4-BE49-F238E27FC236}">
                <a16:creationId xmlns:a16="http://schemas.microsoft.com/office/drawing/2014/main" id="{DC6CFE85-F8F4-42F4-3084-6F25407E10D7}"/>
              </a:ext>
            </a:extLst>
          </p:cNvPr>
          <p:cNvSpPr>
            <a:spLocks noGrp="1"/>
          </p:cNvSpPr>
          <p:nvPr>
            <p:ph type="body" sz="quarter" idx="18"/>
          </p:nvPr>
        </p:nvSpPr>
        <p:spPr/>
        <p:txBody>
          <a:bodyPr/>
          <a:lstStyle/>
          <a:p>
            <a:r>
              <a:rPr lang="en-GB" dirty="0"/>
              <a:t> </a:t>
            </a:r>
          </a:p>
        </p:txBody>
      </p:sp>
      <p:sp>
        <p:nvSpPr>
          <p:cNvPr id="12" name="Rectangle 11">
            <a:extLst>
              <a:ext uri="{FF2B5EF4-FFF2-40B4-BE49-F238E27FC236}">
                <a16:creationId xmlns:a16="http://schemas.microsoft.com/office/drawing/2014/main" id="{4859FCE8-E625-3D4B-5352-F010A15161B6}"/>
              </a:ext>
            </a:extLst>
          </p:cNvPr>
          <p:cNvSpPr/>
          <p:nvPr/>
        </p:nvSpPr>
        <p:spPr>
          <a:xfrm>
            <a:off x="576105" y="1439863"/>
            <a:ext cx="177004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2000" dirty="0"/>
              <a:t>Multiple specific goals</a:t>
            </a:r>
          </a:p>
        </p:txBody>
      </p:sp>
      <p:sp>
        <p:nvSpPr>
          <p:cNvPr id="13" name="Rectangle 12">
            <a:extLst>
              <a:ext uri="{FF2B5EF4-FFF2-40B4-BE49-F238E27FC236}">
                <a16:creationId xmlns:a16="http://schemas.microsoft.com/office/drawing/2014/main" id="{66C40F50-E16A-329C-5A19-7FC8403D2B04}"/>
              </a:ext>
            </a:extLst>
          </p:cNvPr>
          <p:cNvSpPr/>
          <p:nvPr/>
        </p:nvSpPr>
        <p:spPr>
          <a:xfrm>
            <a:off x="576105" y="2977443"/>
            <a:ext cx="1770047"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2000" dirty="0"/>
              <a:t>Limited resilience</a:t>
            </a:r>
          </a:p>
        </p:txBody>
      </p:sp>
      <p:sp>
        <p:nvSpPr>
          <p:cNvPr id="14" name="Rectangle 13">
            <a:extLst>
              <a:ext uri="{FF2B5EF4-FFF2-40B4-BE49-F238E27FC236}">
                <a16:creationId xmlns:a16="http://schemas.microsoft.com/office/drawing/2014/main" id="{41AF064E-FAB9-AE70-B601-32FC58999737}"/>
              </a:ext>
            </a:extLst>
          </p:cNvPr>
          <p:cNvSpPr/>
          <p:nvPr/>
        </p:nvSpPr>
        <p:spPr>
          <a:xfrm>
            <a:off x="576105" y="4487292"/>
            <a:ext cx="1770047"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2000" dirty="0"/>
              <a:t>Sequence of returns risk</a:t>
            </a:r>
          </a:p>
        </p:txBody>
      </p:sp>
      <p:sp>
        <p:nvSpPr>
          <p:cNvPr id="15" name="Arrow: Right 14">
            <a:extLst>
              <a:ext uri="{FF2B5EF4-FFF2-40B4-BE49-F238E27FC236}">
                <a16:creationId xmlns:a16="http://schemas.microsoft.com/office/drawing/2014/main" id="{9F6A3C20-12C4-EC3C-BD53-6F7C3A7C9582}"/>
              </a:ext>
            </a:extLst>
          </p:cNvPr>
          <p:cNvSpPr/>
          <p:nvPr/>
        </p:nvSpPr>
        <p:spPr>
          <a:xfrm>
            <a:off x="2448155" y="1670855"/>
            <a:ext cx="1422805" cy="618017"/>
          </a:xfrm>
          <a:prstGeom prst="rightArrow">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GB" sz="1228" b="1" dirty="0"/>
          </a:p>
        </p:txBody>
      </p:sp>
      <p:sp>
        <p:nvSpPr>
          <p:cNvPr id="16" name="Arrow: Right 15">
            <a:extLst>
              <a:ext uri="{FF2B5EF4-FFF2-40B4-BE49-F238E27FC236}">
                <a16:creationId xmlns:a16="http://schemas.microsoft.com/office/drawing/2014/main" id="{60F5F9DE-1198-9826-8B25-35CECD1AE3A1}"/>
              </a:ext>
            </a:extLst>
          </p:cNvPr>
          <p:cNvSpPr/>
          <p:nvPr/>
        </p:nvSpPr>
        <p:spPr>
          <a:xfrm>
            <a:off x="2448155" y="4718284"/>
            <a:ext cx="1422805" cy="618017"/>
          </a:xfrm>
          <a:prstGeom prst="rightArrow">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GB" sz="1228" b="1" dirty="0"/>
          </a:p>
        </p:txBody>
      </p:sp>
      <p:sp>
        <p:nvSpPr>
          <p:cNvPr id="17" name="Arrow: Right 16">
            <a:extLst>
              <a:ext uri="{FF2B5EF4-FFF2-40B4-BE49-F238E27FC236}">
                <a16:creationId xmlns:a16="http://schemas.microsoft.com/office/drawing/2014/main" id="{B14E52AC-E9A7-F0F0-F73F-7653D391B10B}"/>
              </a:ext>
            </a:extLst>
          </p:cNvPr>
          <p:cNvSpPr/>
          <p:nvPr/>
        </p:nvSpPr>
        <p:spPr>
          <a:xfrm>
            <a:off x="2448155" y="3208435"/>
            <a:ext cx="1422805" cy="618017"/>
          </a:xfrm>
          <a:prstGeom prst="rightArrow">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GB" sz="1228" b="1" dirty="0"/>
          </a:p>
        </p:txBody>
      </p:sp>
      <p:sp>
        <p:nvSpPr>
          <p:cNvPr id="18" name="TextBox 17">
            <a:extLst>
              <a:ext uri="{FF2B5EF4-FFF2-40B4-BE49-F238E27FC236}">
                <a16:creationId xmlns:a16="http://schemas.microsoft.com/office/drawing/2014/main" id="{CA0A05FE-F3CA-3D40-B7D7-2CFC6F7CAE68}"/>
              </a:ext>
            </a:extLst>
          </p:cNvPr>
          <p:cNvSpPr txBox="1"/>
          <p:nvPr/>
        </p:nvSpPr>
        <p:spPr>
          <a:xfrm>
            <a:off x="3990037" y="1439863"/>
            <a:ext cx="6954188" cy="1080000"/>
          </a:xfrm>
          <a:prstGeom prst="rect">
            <a:avLst/>
          </a:prstGeom>
          <a:noFill/>
        </p:spPr>
        <p:txBody>
          <a:bodyPr wrap="square" lIns="0" tIns="0" rIns="0" bIns="0" rtlCol="0" anchor="ctr" anchorCtr="0">
            <a:noAutofit/>
          </a:bodyPr>
          <a:lstStyle/>
          <a:p>
            <a:pPr algn="l">
              <a:spcBef>
                <a:spcPts val="1134"/>
              </a:spcBef>
            </a:pPr>
            <a:r>
              <a:rPr lang="en-GB" sz="2000" dirty="0">
                <a:solidFill>
                  <a:srgbClr val="000000"/>
                </a:solidFill>
                <a:latin typeface="+mn-lt"/>
              </a:rPr>
              <a:t>We can, and should, think about risk and capacity for loss relative to those objectives.</a:t>
            </a:r>
          </a:p>
        </p:txBody>
      </p:sp>
      <p:sp>
        <p:nvSpPr>
          <p:cNvPr id="19" name="TextBox 18">
            <a:extLst>
              <a:ext uri="{FF2B5EF4-FFF2-40B4-BE49-F238E27FC236}">
                <a16:creationId xmlns:a16="http://schemas.microsoft.com/office/drawing/2014/main" id="{4B4EAA2B-B328-0A84-0D2B-EE93E13E3D24}"/>
              </a:ext>
            </a:extLst>
          </p:cNvPr>
          <p:cNvSpPr txBox="1"/>
          <p:nvPr/>
        </p:nvSpPr>
        <p:spPr>
          <a:xfrm>
            <a:off x="3990037" y="2977443"/>
            <a:ext cx="6954188" cy="1080000"/>
          </a:xfrm>
          <a:prstGeom prst="rect">
            <a:avLst/>
          </a:prstGeom>
          <a:noFill/>
        </p:spPr>
        <p:txBody>
          <a:bodyPr wrap="square" lIns="0" tIns="0" rIns="0" bIns="0" rtlCol="0" anchor="ctr" anchorCtr="0">
            <a:noAutofit/>
          </a:bodyPr>
          <a:lstStyle/>
          <a:p>
            <a:pPr algn="l">
              <a:spcBef>
                <a:spcPts val="1134"/>
              </a:spcBef>
            </a:pPr>
            <a:r>
              <a:rPr lang="en-GB" sz="2000" dirty="0">
                <a:solidFill>
                  <a:srgbClr val="000000"/>
                </a:solidFill>
                <a:latin typeface="+mn-lt"/>
              </a:rPr>
              <a:t>Limiting losses is likely to be more valuable than increasing the potential for gains.</a:t>
            </a:r>
          </a:p>
        </p:txBody>
      </p:sp>
      <p:sp>
        <p:nvSpPr>
          <p:cNvPr id="20" name="TextBox 19">
            <a:extLst>
              <a:ext uri="{FF2B5EF4-FFF2-40B4-BE49-F238E27FC236}">
                <a16:creationId xmlns:a16="http://schemas.microsoft.com/office/drawing/2014/main" id="{D5D61888-30A3-546D-F958-7033F1BB2DDA}"/>
              </a:ext>
            </a:extLst>
          </p:cNvPr>
          <p:cNvSpPr txBox="1"/>
          <p:nvPr/>
        </p:nvSpPr>
        <p:spPr>
          <a:xfrm>
            <a:off x="3990037" y="4487292"/>
            <a:ext cx="6954188" cy="1080000"/>
          </a:xfrm>
          <a:prstGeom prst="rect">
            <a:avLst/>
          </a:prstGeom>
          <a:noFill/>
        </p:spPr>
        <p:txBody>
          <a:bodyPr wrap="square" lIns="0" tIns="0" rIns="0" bIns="0" rtlCol="0" anchor="ctr" anchorCtr="0">
            <a:noAutofit/>
          </a:bodyPr>
          <a:lstStyle/>
          <a:p>
            <a:pPr algn="l">
              <a:spcBef>
                <a:spcPts val="1134"/>
              </a:spcBef>
            </a:pPr>
            <a:r>
              <a:rPr lang="en-GB" sz="2000" dirty="0">
                <a:solidFill>
                  <a:srgbClr val="000000"/>
                </a:solidFill>
                <a:latin typeface="+mn-lt"/>
              </a:rPr>
              <a:t>Ensuring unfavourable returns don’t impact achievability of objectives is a key consideration.</a:t>
            </a:r>
          </a:p>
        </p:txBody>
      </p:sp>
    </p:spTree>
    <p:custDataLst>
      <p:tags r:id="rId1"/>
    </p:custDataLst>
    <p:extLst>
      <p:ext uri="{BB962C8B-B14F-4D97-AF65-F5344CB8AC3E}">
        <p14:creationId xmlns:p14="http://schemas.microsoft.com/office/powerpoint/2010/main" val="165649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0" presetClass="entr" presetSubtype="0" fill="hold" grpId="0" nodeType="withEffect">
                                  <p:stCondLst>
                                    <p:cond delay="25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par>
                                <p:cTn id="22" presetID="10" presetClass="entr" presetSubtype="0" fill="hold" grpId="0" nodeType="with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0" presetClass="entr" presetSubtype="0" fill="hold" grpId="0" nodeType="withEffect">
                                  <p:stCondLst>
                                    <p:cond delay="250"/>
                                  </p:stCondLst>
                                  <p:childTnLst>
                                    <p:set>
                                      <p:cBhvr>
                                        <p:cTn id="34" dur="1" fill="hold">
                                          <p:stCondLst>
                                            <p:cond delay="0"/>
                                          </p:stCondLst>
                                        </p:cTn>
                                        <p:tgtEl>
                                          <p:spTgt spid="20"/>
                                        </p:tgtEl>
                                        <p:attrNameLst>
                                          <p:attrName>style.visibility</p:attrName>
                                        </p:attrNameLst>
                                      </p:cBhvr>
                                      <p:to>
                                        <p:strVal val="visible"/>
                                      </p:to>
                                    </p:set>
                                    <p:animEffect transition="in" filter="fade">
                                      <p:cBhvr>
                                        <p:cTn id="3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p:bldP spid="19" grpId="0"/>
      <p:bldP spid="2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ontent Placeholder 33">
            <a:extLst>
              <a:ext uri="{FF2B5EF4-FFF2-40B4-BE49-F238E27FC236}">
                <a16:creationId xmlns:a16="http://schemas.microsoft.com/office/drawing/2014/main" id="{5AB7B7C1-D95B-0BD4-13BA-1E63DDAFD5E7}"/>
              </a:ext>
            </a:extLst>
          </p:cNvPr>
          <p:cNvSpPr>
            <a:spLocks noGrp="1"/>
          </p:cNvSpPr>
          <p:nvPr>
            <p:ph sz="quarter" idx="33"/>
          </p:nvPr>
        </p:nvSpPr>
        <p:spPr>
          <a:xfrm>
            <a:off x="7704225" y="3085904"/>
            <a:ext cx="3240000" cy="2458096"/>
          </a:xfrm>
        </p:spPr>
        <p:txBody>
          <a:bodyPr/>
          <a:lstStyle/>
          <a:p>
            <a:pPr lvl="1"/>
            <a:r>
              <a:rPr lang="en-GB" sz="1400" b="1" dirty="0"/>
              <a:t>Maintaining purchasing power of client’s income, particularly dealing with unexpected bouts of high inflation. </a:t>
            </a:r>
          </a:p>
          <a:p>
            <a:pPr lvl="1"/>
            <a:r>
              <a:rPr lang="en-GB" sz="1400" b="1" dirty="0"/>
              <a:t>Likely to involve maintaining exposure to real assets throughout retirement.</a:t>
            </a:r>
          </a:p>
        </p:txBody>
      </p:sp>
      <p:sp>
        <p:nvSpPr>
          <p:cNvPr id="33" name="Content Placeholder 32">
            <a:extLst>
              <a:ext uri="{FF2B5EF4-FFF2-40B4-BE49-F238E27FC236}">
                <a16:creationId xmlns:a16="http://schemas.microsoft.com/office/drawing/2014/main" id="{F6E51995-A5AD-BBC0-55DC-425983C75263}"/>
              </a:ext>
            </a:extLst>
          </p:cNvPr>
          <p:cNvSpPr>
            <a:spLocks noGrp="1"/>
          </p:cNvSpPr>
          <p:nvPr>
            <p:ph sz="quarter" idx="31"/>
          </p:nvPr>
        </p:nvSpPr>
        <p:spPr>
          <a:xfrm>
            <a:off x="4140244" y="3085904"/>
            <a:ext cx="3240000" cy="2458095"/>
          </a:xfrm>
        </p:spPr>
        <p:txBody>
          <a:bodyPr/>
          <a:lstStyle/>
          <a:p>
            <a:pPr lvl="1"/>
            <a:r>
              <a:rPr lang="en-GB" sz="1400" b="1" dirty="0"/>
              <a:t>Limiting the effect of losses, particularly in the early years.</a:t>
            </a:r>
          </a:p>
          <a:p>
            <a:pPr lvl="1"/>
            <a:r>
              <a:rPr lang="en-GB" sz="1400" b="1" dirty="0"/>
              <a:t>Especially important if withdrawing from capital. </a:t>
            </a:r>
          </a:p>
          <a:p>
            <a:pPr lvl="1"/>
            <a:r>
              <a:rPr lang="en-GB" sz="1400" b="1" dirty="0"/>
              <a:t>If taking natural income, then need to consider risk to income level and sustainability.</a:t>
            </a:r>
          </a:p>
        </p:txBody>
      </p:sp>
      <p:sp>
        <p:nvSpPr>
          <p:cNvPr id="32" name="Content Placeholder 31">
            <a:extLst>
              <a:ext uri="{FF2B5EF4-FFF2-40B4-BE49-F238E27FC236}">
                <a16:creationId xmlns:a16="http://schemas.microsoft.com/office/drawing/2014/main" id="{750B79E3-DC27-B854-CE49-84C045222B0F}"/>
              </a:ext>
            </a:extLst>
          </p:cNvPr>
          <p:cNvSpPr>
            <a:spLocks noGrp="1"/>
          </p:cNvSpPr>
          <p:nvPr>
            <p:ph sz="quarter" idx="30"/>
          </p:nvPr>
        </p:nvSpPr>
        <p:spPr>
          <a:xfrm>
            <a:off x="576263" y="3085906"/>
            <a:ext cx="3240000" cy="2458094"/>
          </a:xfrm>
        </p:spPr>
        <p:txBody>
          <a:bodyPr/>
          <a:lstStyle/>
          <a:p>
            <a:pPr lvl="1"/>
            <a:r>
              <a:rPr lang="en-GB" sz="1400" b="1" dirty="0"/>
              <a:t>Taking enough risk to achieve goals but not so much we put them in danger.</a:t>
            </a:r>
          </a:p>
          <a:p>
            <a:pPr lvl="1"/>
            <a:endParaRPr lang="en-GB" dirty="0"/>
          </a:p>
        </p:txBody>
      </p:sp>
      <p:sp>
        <p:nvSpPr>
          <p:cNvPr id="30" name="Slide Number Placeholder 29">
            <a:extLst>
              <a:ext uri="{FF2B5EF4-FFF2-40B4-BE49-F238E27FC236}">
                <a16:creationId xmlns:a16="http://schemas.microsoft.com/office/drawing/2014/main" id="{4401E569-ACB2-06AD-0208-62432AE416F3}"/>
              </a:ext>
            </a:extLst>
          </p:cNvPr>
          <p:cNvSpPr>
            <a:spLocks noGrp="1"/>
          </p:cNvSpPr>
          <p:nvPr>
            <p:ph type="sldNum" sz="quarter" idx="34"/>
          </p:nvPr>
        </p:nvSpPr>
        <p:spPr/>
        <p:txBody>
          <a:bodyPr/>
          <a:lstStyle/>
          <a:p>
            <a:fld id="{0F961903-03AF-4EAC-BF2C-945F8C5557D1}" type="slidenum">
              <a:rPr lang="en-GB" smtClean="0"/>
              <a:pPr/>
              <a:t>5</a:t>
            </a:fld>
            <a:endParaRPr lang="en-GB" dirty="0"/>
          </a:p>
        </p:txBody>
      </p:sp>
      <p:sp>
        <p:nvSpPr>
          <p:cNvPr id="27" name="Text Placeholder 26">
            <a:extLst>
              <a:ext uri="{FF2B5EF4-FFF2-40B4-BE49-F238E27FC236}">
                <a16:creationId xmlns:a16="http://schemas.microsoft.com/office/drawing/2014/main" id="{4CDAC340-AEAF-A0F9-8835-1C57B1B777C0}"/>
              </a:ext>
            </a:extLst>
          </p:cNvPr>
          <p:cNvSpPr>
            <a:spLocks noGrp="1"/>
          </p:cNvSpPr>
          <p:nvPr>
            <p:ph type="body" sz="quarter" idx="35"/>
          </p:nvPr>
        </p:nvSpPr>
        <p:spPr/>
        <p:txBody>
          <a:bodyPr/>
          <a:lstStyle/>
          <a:p>
            <a:r>
              <a:rPr lang="en-GB" dirty="0"/>
              <a:t>Some key themes emerge from our retirement income principles</a:t>
            </a:r>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p:txBody>
          <a:bodyPr/>
          <a:lstStyle/>
          <a:p>
            <a:r>
              <a:rPr lang="en-GB" dirty="0"/>
              <a:t>What’s important for </a:t>
            </a:r>
            <a:r>
              <a:rPr lang="en-GB" dirty="0">
                <a:solidFill>
                  <a:srgbClr val="FF6120"/>
                </a:solidFill>
              </a:rPr>
              <a:t>retirement investment?</a:t>
            </a:r>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8"/>
          </p:nvPr>
        </p:nvSpPr>
        <p:spPr/>
        <p:txBody>
          <a:bodyPr/>
          <a:lstStyle/>
          <a:p>
            <a:r>
              <a:rPr lang="en-GB" dirty="0"/>
              <a:t> </a:t>
            </a:r>
          </a:p>
        </p:txBody>
      </p:sp>
      <p:sp>
        <p:nvSpPr>
          <p:cNvPr id="12" name="Rectangle 11">
            <a:extLst>
              <a:ext uri="{FF2B5EF4-FFF2-40B4-BE49-F238E27FC236}">
                <a16:creationId xmlns:a16="http://schemas.microsoft.com/office/drawing/2014/main" id="{4859FCE8-E625-3D4B-5352-F010A15161B6}"/>
              </a:ext>
            </a:extLst>
          </p:cNvPr>
          <p:cNvSpPr/>
          <p:nvPr/>
        </p:nvSpPr>
        <p:spPr>
          <a:xfrm>
            <a:off x="576176" y="1825993"/>
            <a:ext cx="324008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GB" sz="1800" dirty="0"/>
              <a:t>Balancing risk and return</a:t>
            </a:r>
          </a:p>
        </p:txBody>
      </p:sp>
      <p:sp>
        <p:nvSpPr>
          <p:cNvPr id="13" name="Rectangle 12">
            <a:extLst>
              <a:ext uri="{FF2B5EF4-FFF2-40B4-BE49-F238E27FC236}">
                <a16:creationId xmlns:a16="http://schemas.microsoft.com/office/drawing/2014/main" id="{66C40F50-E16A-329C-5A19-7FC8403D2B04}"/>
              </a:ext>
            </a:extLst>
          </p:cNvPr>
          <p:cNvSpPr/>
          <p:nvPr/>
        </p:nvSpPr>
        <p:spPr>
          <a:xfrm>
            <a:off x="4140200" y="1825993"/>
            <a:ext cx="3240088"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GB" sz="1800" dirty="0"/>
              <a:t>Managing downside risk</a:t>
            </a:r>
          </a:p>
        </p:txBody>
      </p:sp>
      <p:sp>
        <p:nvSpPr>
          <p:cNvPr id="14" name="Rectangle 13">
            <a:extLst>
              <a:ext uri="{FF2B5EF4-FFF2-40B4-BE49-F238E27FC236}">
                <a16:creationId xmlns:a16="http://schemas.microsoft.com/office/drawing/2014/main" id="{41AF064E-FAB9-AE70-B601-32FC58999737}"/>
              </a:ext>
            </a:extLst>
          </p:cNvPr>
          <p:cNvSpPr/>
          <p:nvPr/>
        </p:nvSpPr>
        <p:spPr>
          <a:xfrm>
            <a:off x="7704139" y="1825993"/>
            <a:ext cx="3240086"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r>
              <a:rPr lang="en-GB" sz="1800" dirty="0"/>
              <a:t>Keeping pace with inflation</a:t>
            </a:r>
          </a:p>
        </p:txBody>
      </p:sp>
    </p:spTree>
    <p:custDataLst>
      <p:tags r:id="rId1"/>
    </p:custDataLst>
    <p:extLst>
      <p:ext uri="{BB962C8B-B14F-4D97-AF65-F5344CB8AC3E}">
        <p14:creationId xmlns:p14="http://schemas.microsoft.com/office/powerpoint/2010/main" val="2093157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33" grpId="0" build="p"/>
      <p:bldP spid="32" grpId="0" build="p"/>
      <p:bldP spid="12" grpId="0" animBg="1"/>
      <p:bldP spid="13"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ontent Placeholder 33">
            <a:extLst>
              <a:ext uri="{FF2B5EF4-FFF2-40B4-BE49-F238E27FC236}">
                <a16:creationId xmlns:a16="http://schemas.microsoft.com/office/drawing/2014/main" id="{5AB7B7C1-D95B-0BD4-13BA-1E63DDAFD5E7}"/>
              </a:ext>
            </a:extLst>
          </p:cNvPr>
          <p:cNvSpPr>
            <a:spLocks noGrp="1"/>
          </p:cNvSpPr>
          <p:nvPr>
            <p:ph sz="quarter" idx="33"/>
          </p:nvPr>
        </p:nvSpPr>
        <p:spPr>
          <a:xfrm>
            <a:off x="7704225" y="3085904"/>
            <a:ext cx="3240000" cy="2458096"/>
          </a:xfrm>
        </p:spPr>
        <p:txBody>
          <a:bodyPr/>
          <a:lstStyle/>
          <a:p>
            <a:pPr lvl="1"/>
            <a:r>
              <a:rPr lang="en-GB" sz="1400" b="1" dirty="0"/>
              <a:t>Ensuring we are using the right fixed income strategy to meet the client’s need. For example:</a:t>
            </a:r>
          </a:p>
          <a:p>
            <a:pPr lvl="2"/>
            <a:r>
              <a:rPr lang="en-GB" sz="1400" dirty="0"/>
              <a:t>Income – floating rate note, buy and maintain.</a:t>
            </a:r>
          </a:p>
          <a:p>
            <a:pPr lvl="2"/>
            <a:r>
              <a:rPr lang="en-GB" sz="1400" dirty="0"/>
              <a:t>Downside protection – cash-plus, absolute return, (ultra) short duration bond.</a:t>
            </a:r>
          </a:p>
          <a:p>
            <a:pPr lvl="2"/>
            <a:r>
              <a:rPr lang="en-GB" sz="1400" dirty="0"/>
              <a:t>Diversification/growth – strategic bond, government, investment grade, high yield.</a:t>
            </a:r>
          </a:p>
          <a:p>
            <a:pPr lvl="1"/>
            <a:endParaRPr lang="en-GB" sz="1400" b="1" dirty="0"/>
          </a:p>
          <a:p>
            <a:pPr lvl="1"/>
            <a:endParaRPr lang="en-GB" sz="1400" b="1" dirty="0"/>
          </a:p>
        </p:txBody>
      </p:sp>
      <p:sp>
        <p:nvSpPr>
          <p:cNvPr id="33" name="Content Placeholder 32">
            <a:extLst>
              <a:ext uri="{FF2B5EF4-FFF2-40B4-BE49-F238E27FC236}">
                <a16:creationId xmlns:a16="http://schemas.microsoft.com/office/drawing/2014/main" id="{F6E51995-A5AD-BBC0-55DC-425983C75263}"/>
              </a:ext>
            </a:extLst>
          </p:cNvPr>
          <p:cNvSpPr>
            <a:spLocks noGrp="1"/>
          </p:cNvSpPr>
          <p:nvPr>
            <p:ph sz="quarter" idx="31"/>
          </p:nvPr>
        </p:nvSpPr>
        <p:spPr>
          <a:xfrm>
            <a:off x="4140244" y="3085904"/>
            <a:ext cx="3240000" cy="2458095"/>
          </a:xfrm>
        </p:spPr>
        <p:txBody>
          <a:bodyPr/>
          <a:lstStyle/>
          <a:p>
            <a:pPr lvl="1"/>
            <a:r>
              <a:rPr lang="en-GB" sz="1400" b="1" dirty="0"/>
              <a:t>Pays income but also expected to have lower volatility, lower drawdown, quicker recovery and more direct inflation protection.</a:t>
            </a:r>
          </a:p>
          <a:p>
            <a:pPr lvl="1"/>
            <a:endParaRPr lang="en-GB" sz="1400" b="1" dirty="0"/>
          </a:p>
        </p:txBody>
      </p:sp>
      <p:sp>
        <p:nvSpPr>
          <p:cNvPr id="32" name="Content Placeholder 31">
            <a:extLst>
              <a:ext uri="{FF2B5EF4-FFF2-40B4-BE49-F238E27FC236}">
                <a16:creationId xmlns:a16="http://schemas.microsoft.com/office/drawing/2014/main" id="{750B79E3-DC27-B854-CE49-84C045222B0F}"/>
              </a:ext>
            </a:extLst>
          </p:cNvPr>
          <p:cNvSpPr>
            <a:spLocks noGrp="1"/>
          </p:cNvSpPr>
          <p:nvPr>
            <p:ph sz="quarter" idx="30"/>
          </p:nvPr>
        </p:nvSpPr>
        <p:spPr>
          <a:xfrm>
            <a:off x="576263" y="3085906"/>
            <a:ext cx="3240000" cy="2458094"/>
          </a:xfrm>
        </p:spPr>
        <p:txBody>
          <a:bodyPr/>
          <a:lstStyle/>
          <a:p>
            <a:pPr lvl="1"/>
            <a:r>
              <a:rPr lang="en-GB" sz="1400" b="1" dirty="0"/>
              <a:t>Active asset allocation and stock selection to avoid index biases, manage downside risk and/or generate sustainable, growing income.</a:t>
            </a:r>
          </a:p>
        </p:txBody>
      </p:sp>
      <p:sp>
        <p:nvSpPr>
          <p:cNvPr id="30" name="Slide Number Placeholder 29">
            <a:extLst>
              <a:ext uri="{FF2B5EF4-FFF2-40B4-BE49-F238E27FC236}">
                <a16:creationId xmlns:a16="http://schemas.microsoft.com/office/drawing/2014/main" id="{4401E569-ACB2-06AD-0208-62432AE416F3}"/>
              </a:ext>
            </a:extLst>
          </p:cNvPr>
          <p:cNvSpPr>
            <a:spLocks noGrp="1"/>
          </p:cNvSpPr>
          <p:nvPr>
            <p:ph type="sldNum" sz="quarter" idx="34"/>
          </p:nvPr>
        </p:nvSpPr>
        <p:spPr/>
        <p:txBody>
          <a:bodyPr/>
          <a:lstStyle/>
          <a:p>
            <a:fld id="{0F961903-03AF-4EAC-BF2C-945F8C5557D1}" type="slidenum">
              <a:rPr lang="en-GB" smtClean="0"/>
              <a:pPr/>
              <a:t>6</a:t>
            </a:fld>
            <a:endParaRPr lang="en-GB" dirty="0"/>
          </a:p>
        </p:txBody>
      </p:sp>
      <p:sp>
        <p:nvSpPr>
          <p:cNvPr id="27" name="Text Placeholder 26">
            <a:extLst>
              <a:ext uri="{FF2B5EF4-FFF2-40B4-BE49-F238E27FC236}">
                <a16:creationId xmlns:a16="http://schemas.microsoft.com/office/drawing/2014/main" id="{4CDAC340-AEAF-A0F9-8835-1C57B1B777C0}"/>
              </a:ext>
            </a:extLst>
          </p:cNvPr>
          <p:cNvSpPr>
            <a:spLocks noGrp="1"/>
          </p:cNvSpPr>
          <p:nvPr>
            <p:ph type="body" sz="quarter" idx="35"/>
          </p:nvPr>
        </p:nvSpPr>
        <p:spPr/>
        <p:txBody>
          <a:bodyPr/>
          <a:lstStyle/>
          <a:p>
            <a:r>
              <a:rPr lang="en-GB" dirty="0"/>
              <a:t>Our retirement investment stories apply across different retirement </a:t>
            </a:r>
            <a:r>
              <a:rPr lang="en-GB"/>
              <a:t>investment approaches</a:t>
            </a:r>
            <a:endParaRPr lang="en-GB" dirty="0"/>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p:txBody>
          <a:bodyPr/>
          <a:lstStyle/>
          <a:p>
            <a:r>
              <a:rPr lang="en-GB" dirty="0"/>
              <a:t>Techniques for managing </a:t>
            </a:r>
            <a:r>
              <a:rPr lang="en-GB" dirty="0">
                <a:solidFill>
                  <a:srgbClr val="FF6120"/>
                </a:solidFill>
              </a:rPr>
              <a:t>retirement income risks</a:t>
            </a:r>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8"/>
          </p:nvPr>
        </p:nvSpPr>
        <p:spPr/>
        <p:txBody>
          <a:bodyPr/>
          <a:lstStyle/>
          <a:p>
            <a:r>
              <a:rPr lang="en-GB" dirty="0"/>
              <a:t> </a:t>
            </a:r>
          </a:p>
        </p:txBody>
      </p:sp>
      <p:sp>
        <p:nvSpPr>
          <p:cNvPr id="12" name="Rectangle 11">
            <a:extLst>
              <a:ext uri="{FF2B5EF4-FFF2-40B4-BE49-F238E27FC236}">
                <a16:creationId xmlns:a16="http://schemas.microsoft.com/office/drawing/2014/main" id="{4859FCE8-E625-3D4B-5352-F010A15161B6}"/>
              </a:ext>
            </a:extLst>
          </p:cNvPr>
          <p:cNvSpPr/>
          <p:nvPr/>
        </p:nvSpPr>
        <p:spPr>
          <a:xfrm>
            <a:off x="576176" y="1825993"/>
            <a:ext cx="324008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pPr>
            <a:r>
              <a:rPr lang="en-GB" sz="1800" dirty="0"/>
              <a:t>Active management</a:t>
            </a:r>
          </a:p>
        </p:txBody>
      </p:sp>
      <p:sp>
        <p:nvSpPr>
          <p:cNvPr id="13" name="Rectangle 12">
            <a:extLst>
              <a:ext uri="{FF2B5EF4-FFF2-40B4-BE49-F238E27FC236}">
                <a16:creationId xmlns:a16="http://schemas.microsoft.com/office/drawing/2014/main" id="{66C40F50-E16A-329C-5A19-7FC8403D2B04}"/>
              </a:ext>
            </a:extLst>
          </p:cNvPr>
          <p:cNvSpPr/>
          <p:nvPr/>
        </p:nvSpPr>
        <p:spPr>
          <a:xfrm>
            <a:off x="4140200" y="1825993"/>
            <a:ext cx="3240088" cy="108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pPr>
            <a:r>
              <a:rPr lang="en-GB" sz="1800" dirty="0"/>
              <a:t>Equity income</a:t>
            </a:r>
          </a:p>
        </p:txBody>
      </p:sp>
      <p:sp>
        <p:nvSpPr>
          <p:cNvPr id="14" name="Rectangle 13">
            <a:extLst>
              <a:ext uri="{FF2B5EF4-FFF2-40B4-BE49-F238E27FC236}">
                <a16:creationId xmlns:a16="http://schemas.microsoft.com/office/drawing/2014/main" id="{41AF064E-FAB9-AE70-B601-32FC58999737}"/>
              </a:ext>
            </a:extLst>
          </p:cNvPr>
          <p:cNvSpPr/>
          <p:nvPr/>
        </p:nvSpPr>
        <p:spPr>
          <a:xfrm>
            <a:off x="7704139" y="1825993"/>
            <a:ext cx="3240086" cy="108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pPr>
            <a:r>
              <a:rPr lang="en-GB" sz="1800" dirty="0"/>
              <a:t>Making the most of </a:t>
            </a:r>
            <a:br>
              <a:rPr lang="en-GB" sz="1800" dirty="0"/>
            </a:br>
            <a:r>
              <a:rPr lang="en-GB" sz="1800" dirty="0"/>
              <a:t>fixed income</a:t>
            </a:r>
          </a:p>
        </p:txBody>
      </p:sp>
    </p:spTree>
    <p:custDataLst>
      <p:tags r:id="rId1"/>
    </p:custDataLst>
    <p:extLst>
      <p:ext uri="{BB962C8B-B14F-4D97-AF65-F5344CB8AC3E}">
        <p14:creationId xmlns:p14="http://schemas.microsoft.com/office/powerpoint/2010/main" val="3090597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2">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33" grpId="0" build="p"/>
      <p:bldP spid="32" grpId="0" build="p"/>
      <p:bldP spid="12" grpId="0" animBg="1"/>
      <p:bldP spid="13"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9">
            <a:extLst>
              <a:ext uri="{FF2B5EF4-FFF2-40B4-BE49-F238E27FC236}">
                <a16:creationId xmlns:a16="http://schemas.microsoft.com/office/drawing/2014/main" id="{1D3847D1-655B-5B12-C4D3-F86B1438FAFE}"/>
              </a:ext>
            </a:extLst>
          </p:cNvPr>
          <p:cNvSpPr>
            <a:spLocks noGrp="1"/>
          </p:cNvSpPr>
          <p:nvPr>
            <p:ph type="sldNum" sz="quarter" idx="31"/>
          </p:nvPr>
        </p:nvSpPr>
        <p:spPr/>
        <p:txBody>
          <a:bodyPr/>
          <a:lstStyle/>
          <a:p>
            <a:fld id="{0F961903-03AF-4EAC-BF2C-945F8C5557D1}" type="slidenum">
              <a:rPr lang="en-GB" smtClean="0"/>
              <a:pPr/>
              <a:t>7</a:t>
            </a:fld>
            <a:endParaRPr lang="en-GB" dirty="0"/>
          </a:p>
        </p:txBody>
      </p:sp>
      <p:sp>
        <p:nvSpPr>
          <p:cNvPr id="8" name="Text Placeholder 7">
            <a:extLst>
              <a:ext uri="{FF2B5EF4-FFF2-40B4-BE49-F238E27FC236}">
                <a16:creationId xmlns:a16="http://schemas.microsoft.com/office/drawing/2014/main" id="{D49F0C07-1DEF-FCEF-7609-CF0BFCE95263}"/>
              </a:ext>
            </a:extLst>
          </p:cNvPr>
          <p:cNvSpPr>
            <a:spLocks noGrp="1"/>
          </p:cNvSpPr>
          <p:nvPr>
            <p:ph type="body" sz="quarter" idx="11"/>
          </p:nvPr>
        </p:nvSpPr>
        <p:spPr/>
        <p:txBody>
          <a:bodyPr/>
          <a:lstStyle/>
          <a:p>
            <a:r>
              <a:rPr lang="en-GB" dirty="0"/>
              <a:t>Different investment approaches have different risks</a:t>
            </a:r>
          </a:p>
        </p:txBody>
      </p:sp>
      <p:sp>
        <p:nvSpPr>
          <p:cNvPr id="7" name="Title 6">
            <a:extLst>
              <a:ext uri="{FF2B5EF4-FFF2-40B4-BE49-F238E27FC236}">
                <a16:creationId xmlns:a16="http://schemas.microsoft.com/office/drawing/2014/main" id="{082C7EAA-E5CA-09FD-DBE1-A8C97BDEA352}"/>
              </a:ext>
            </a:extLst>
          </p:cNvPr>
          <p:cNvSpPr>
            <a:spLocks noGrp="1"/>
          </p:cNvSpPr>
          <p:nvPr>
            <p:ph type="title"/>
          </p:nvPr>
        </p:nvSpPr>
        <p:spPr/>
        <p:txBody>
          <a:bodyPr/>
          <a:lstStyle/>
          <a:p>
            <a:r>
              <a:rPr lang="en-GB" dirty="0"/>
              <a:t>How we generate income is crucial</a:t>
            </a:r>
            <a:endParaRPr lang="en-GB" dirty="0">
              <a:solidFill>
                <a:srgbClr val="FF6120"/>
              </a:solidFill>
            </a:endParaRPr>
          </a:p>
        </p:txBody>
      </p:sp>
      <p:sp>
        <p:nvSpPr>
          <p:cNvPr id="12" name="Rectangle 11">
            <a:extLst>
              <a:ext uri="{FF2B5EF4-FFF2-40B4-BE49-F238E27FC236}">
                <a16:creationId xmlns:a16="http://schemas.microsoft.com/office/drawing/2014/main" id="{4859FCE8-E625-3D4B-5352-F010A15161B6}"/>
              </a:ext>
            </a:extLst>
          </p:cNvPr>
          <p:cNvSpPr/>
          <p:nvPr/>
        </p:nvSpPr>
        <p:spPr>
          <a:xfrm>
            <a:off x="576105" y="1941883"/>
            <a:ext cx="1770047"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2000" dirty="0"/>
              <a:t>Total return with unit encashments</a:t>
            </a:r>
          </a:p>
        </p:txBody>
      </p:sp>
      <p:sp>
        <p:nvSpPr>
          <p:cNvPr id="13" name="Rectangle 12">
            <a:extLst>
              <a:ext uri="{FF2B5EF4-FFF2-40B4-BE49-F238E27FC236}">
                <a16:creationId xmlns:a16="http://schemas.microsoft.com/office/drawing/2014/main" id="{66C40F50-E16A-329C-5A19-7FC8403D2B04}"/>
              </a:ext>
            </a:extLst>
          </p:cNvPr>
          <p:cNvSpPr/>
          <p:nvPr/>
        </p:nvSpPr>
        <p:spPr>
          <a:xfrm>
            <a:off x="576105" y="3872433"/>
            <a:ext cx="1770047"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r>
              <a:rPr lang="en-GB" sz="2000" dirty="0"/>
              <a:t>Natural income</a:t>
            </a:r>
          </a:p>
        </p:txBody>
      </p:sp>
      <p:sp>
        <p:nvSpPr>
          <p:cNvPr id="15" name="Arrow: Right 14">
            <a:extLst>
              <a:ext uri="{FF2B5EF4-FFF2-40B4-BE49-F238E27FC236}">
                <a16:creationId xmlns:a16="http://schemas.microsoft.com/office/drawing/2014/main" id="{9F6A3C20-12C4-EC3C-BD53-6F7C3A7C9582}"/>
              </a:ext>
            </a:extLst>
          </p:cNvPr>
          <p:cNvSpPr/>
          <p:nvPr/>
        </p:nvSpPr>
        <p:spPr>
          <a:xfrm>
            <a:off x="2448155" y="2172875"/>
            <a:ext cx="1422805" cy="618017"/>
          </a:xfrm>
          <a:prstGeom prst="rightArrow">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GB" sz="1228" b="1" dirty="0"/>
          </a:p>
        </p:txBody>
      </p:sp>
      <p:sp>
        <p:nvSpPr>
          <p:cNvPr id="17" name="Arrow: Right 16">
            <a:extLst>
              <a:ext uri="{FF2B5EF4-FFF2-40B4-BE49-F238E27FC236}">
                <a16:creationId xmlns:a16="http://schemas.microsoft.com/office/drawing/2014/main" id="{B14E52AC-E9A7-F0F0-F73F-7653D391B10B}"/>
              </a:ext>
            </a:extLst>
          </p:cNvPr>
          <p:cNvSpPr/>
          <p:nvPr/>
        </p:nvSpPr>
        <p:spPr>
          <a:xfrm>
            <a:off x="2448155" y="4103425"/>
            <a:ext cx="1422805" cy="618017"/>
          </a:xfrm>
          <a:prstGeom prst="rightArrow">
            <a:avLst/>
          </a:prstGeom>
          <a:solidFill>
            <a:srgbClr val="FF61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2" tIns="43201" rIns="86402" bIns="43201" numCol="1" spcCol="0" rtlCol="0" fromWordArt="0" anchor="ctr" anchorCtr="0" forceAA="0" compatLnSpc="1">
            <a:prstTxWarp prst="textNoShape">
              <a:avLst/>
            </a:prstTxWarp>
            <a:noAutofit/>
          </a:bodyPr>
          <a:lstStyle/>
          <a:p>
            <a:pPr algn="ctr">
              <a:lnSpc>
                <a:spcPct val="90000"/>
              </a:lnSpc>
            </a:pPr>
            <a:endParaRPr lang="en-GB" sz="1228" b="1" dirty="0"/>
          </a:p>
        </p:txBody>
      </p:sp>
      <p:sp>
        <p:nvSpPr>
          <p:cNvPr id="18" name="TextBox 17">
            <a:extLst>
              <a:ext uri="{FF2B5EF4-FFF2-40B4-BE49-F238E27FC236}">
                <a16:creationId xmlns:a16="http://schemas.microsoft.com/office/drawing/2014/main" id="{CA0A05FE-F3CA-3D40-B7D7-2CFC6F7CAE68}"/>
              </a:ext>
            </a:extLst>
          </p:cNvPr>
          <p:cNvSpPr txBox="1"/>
          <p:nvPr/>
        </p:nvSpPr>
        <p:spPr>
          <a:xfrm>
            <a:off x="3990037" y="1941883"/>
            <a:ext cx="6954188" cy="1080000"/>
          </a:xfrm>
          <a:prstGeom prst="rect">
            <a:avLst/>
          </a:prstGeom>
          <a:noFill/>
        </p:spPr>
        <p:txBody>
          <a:bodyPr wrap="square" lIns="0" tIns="0" rIns="0" bIns="0" rtlCol="0" anchor="ctr" anchorCtr="0">
            <a:noAutofit/>
          </a:bodyPr>
          <a:lstStyle/>
          <a:p>
            <a:pPr marL="342900" indent="-342900" algn="l">
              <a:spcBef>
                <a:spcPts val="600"/>
              </a:spcBef>
              <a:spcAft>
                <a:spcPts val="600"/>
              </a:spcAft>
              <a:buFont typeface="Arial" panose="020B0604020202020204" pitchFamily="34" charset="0"/>
              <a:buChar char="•"/>
            </a:pPr>
            <a:r>
              <a:rPr lang="en-GB" sz="2000" dirty="0">
                <a:solidFill>
                  <a:srgbClr val="000000"/>
                </a:solidFill>
                <a:latin typeface="+mn-lt"/>
              </a:rPr>
              <a:t>The level and pattern of returns is key. </a:t>
            </a:r>
          </a:p>
          <a:p>
            <a:pPr marL="342900" indent="-342900" algn="l">
              <a:spcBef>
                <a:spcPts val="600"/>
              </a:spcBef>
              <a:spcAft>
                <a:spcPts val="600"/>
              </a:spcAft>
              <a:buFont typeface="Arial" panose="020B0604020202020204" pitchFamily="34" charset="0"/>
              <a:buChar char="•"/>
            </a:pPr>
            <a:r>
              <a:rPr lang="en-GB" sz="2000" dirty="0">
                <a:solidFill>
                  <a:srgbClr val="000000"/>
                </a:solidFill>
                <a:latin typeface="+mn-lt"/>
              </a:rPr>
              <a:t>Sequence of returns risk is important. </a:t>
            </a:r>
          </a:p>
          <a:p>
            <a:pPr marL="342900" indent="-342900" algn="l">
              <a:spcBef>
                <a:spcPts val="600"/>
              </a:spcBef>
              <a:spcAft>
                <a:spcPts val="600"/>
              </a:spcAft>
              <a:buFont typeface="Arial" panose="020B0604020202020204" pitchFamily="34" charset="0"/>
              <a:buChar char="•"/>
            </a:pPr>
            <a:r>
              <a:rPr lang="en-GB" sz="2000" dirty="0">
                <a:solidFill>
                  <a:srgbClr val="000000"/>
                </a:solidFill>
                <a:latin typeface="+mn-lt"/>
              </a:rPr>
              <a:t>We are agnostic about whether those returns come from capital or income.</a:t>
            </a:r>
          </a:p>
        </p:txBody>
      </p:sp>
      <p:sp>
        <p:nvSpPr>
          <p:cNvPr id="19" name="TextBox 18">
            <a:extLst>
              <a:ext uri="{FF2B5EF4-FFF2-40B4-BE49-F238E27FC236}">
                <a16:creationId xmlns:a16="http://schemas.microsoft.com/office/drawing/2014/main" id="{4B4EAA2B-B328-0A84-0D2B-EE93E13E3D24}"/>
              </a:ext>
            </a:extLst>
          </p:cNvPr>
          <p:cNvSpPr txBox="1"/>
          <p:nvPr/>
        </p:nvSpPr>
        <p:spPr>
          <a:xfrm>
            <a:off x="3990037" y="3872433"/>
            <a:ext cx="6954188" cy="1080000"/>
          </a:xfrm>
          <a:prstGeom prst="rect">
            <a:avLst/>
          </a:prstGeom>
          <a:noFill/>
        </p:spPr>
        <p:txBody>
          <a:bodyPr wrap="square" lIns="0" tIns="0" rIns="0" bIns="0" rtlCol="0" anchor="ctr" anchorCtr="0">
            <a:noAutofit/>
          </a:bodyPr>
          <a:lstStyle/>
          <a:p>
            <a:pPr marL="342900" indent="-342900" algn="l">
              <a:spcBef>
                <a:spcPts val="600"/>
              </a:spcBef>
              <a:spcAft>
                <a:spcPts val="600"/>
              </a:spcAft>
              <a:buFont typeface="Arial" panose="020B0604020202020204" pitchFamily="34" charset="0"/>
              <a:buChar char="•"/>
            </a:pPr>
            <a:r>
              <a:rPr lang="en-GB" sz="2000" dirty="0">
                <a:solidFill>
                  <a:srgbClr val="000000"/>
                </a:solidFill>
                <a:latin typeface="+mn-lt"/>
              </a:rPr>
              <a:t>The level and pattern of income is key. </a:t>
            </a:r>
          </a:p>
          <a:p>
            <a:pPr marL="342900" indent="-342900" algn="l">
              <a:spcBef>
                <a:spcPts val="600"/>
              </a:spcBef>
              <a:spcAft>
                <a:spcPts val="600"/>
              </a:spcAft>
              <a:buFont typeface="Arial" panose="020B0604020202020204" pitchFamily="34" charset="0"/>
              <a:buChar char="•"/>
            </a:pPr>
            <a:r>
              <a:rPr lang="en-GB" sz="2000" dirty="0">
                <a:solidFill>
                  <a:srgbClr val="000000"/>
                </a:solidFill>
                <a:latin typeface="+mn-lt"/>
              </a:rPr>
              <a:t>In theory, we do not need to be concerned about capital value though in practice we will be.</a:t>
            </a:r>
          </a:p>
        </p:txBody>
      </p:sp>
    </p:spTree>
    <p:custDataLst>
      <p:tags r:id="rId1"/>
    </p:custDataLst>
    <p:extLst>
      <p:ext uri="{BB962C8B-B14F-4D97-AF65-F5344CB8AC3E}">
        <p14:creationId xmlns:p14="http://schemas.microsoft.com/office/powerpoint/2010/main" val="2422960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0" presetClass="entr" presetSubtype="0" fill="hold" grpId="0" nodeType="withEffect">
                                  <p:stCondLst>
                                    <p:cond delay="25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par>
                                <p:cTn id="22" presetID="10" presetClass="entr" presetSubtype="0" fill="hold" grpId="0" nodeType="withEffect">
                                  <p:stCondLst>
                                    <p:cond delay="250"/>
                                  </p:stCondLst>
                                  <p:childTnLst>
                                    <p:set>
                                      <p:cBhvr>
                                        <p:cTn id="23" dur="1" fill="hold">
                                          <p:stCondLst>
                                            <p:cond delay="0"/>
                                          </p:stCondLst>
                                        </p:cTn>
                                        <p:tgtEl>
                                          <p:spTgt spid="19"/>
                                        </p:tgtEl>
                                        <p:attrNameLst>
                                          <p:attrName>style.visibility</p:attrName>
                                        </p:attrNameLst>
                                      </p:cBhvr>
                                      <p:to>
                                        <p:strVal val="visible"/>
                                      </p:to>
                                    </p:set>
                                    <p:animEffect transition="in" filter="fade">
                                      <p:cBhvr>
                                        <p:cTn id="2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7" grpId="0" animBg="1"/>
      <p:bldP spid="18"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CF2F0B-F09A-2F51-E379-185BF184DE9B}"/>
              </a:ext>
            </a:extLst>
          </p:cNvPr>
          <p:cNvSpPr>
            <a:spLocks noGrp="1"/>
          </p:cNvSpPr>
          <p:nvPr>
            <p:ph type="body" sz="quarter" idx="11"/>
          </p:nvPr>
        </p:nvSpPr>
        <p:spPr/>
        <p:txBody>
          <a:bodyPr/>
          <a:lstStyle/>
          <a:p>
            <a:r>
              <a:rPr lang="en-GB" dirty="0"/>
              <a:t>Managing risk when drawing from capital</a:t>
            </a:r>
          </a:p>
        </p:txBody>
      </p:sp>
      <p:sp>
        <p:nvSpPr>
          <p:cNvPr id="21" name="Slide Number Placeholder 20">
            <a:extLst>
              <a:ext uri="{FF2B5EF4-FFF2-40B4-BE49-F238E27FC236}">
                <a16:creationId xmlns:a16="http://schemas.microsoft.com/office/drawing/2014/main" id="{49A32A19-75A1-9266-E985-3DD80B1D4BC8}"/>
              </a:ext>
            </a:extLst>
          </p:cNvPr>
          <p:cNvSpPr>
            <a:spLocks noGrp="1"/>
          </p:cNvSpPr>
          <p:nvPr>
            <p:ph type="sldNum" sz="quarter" idx="14"/>
          </p:nvPr>
        </p:nvSpPr>
        <p:spPr/>
        <p:txBody>
          <a:bodyPr/>
          <a:lstStyle/>
          <a:p>
            <a:fld id="{0F961903-03AF-4EAC-BF2C-945F8C5557D1}" type="slidenum">
              <a:rPr lang="en-GB" smtClean="0"/>
              <a:pPr/>
              <a:t>8</a:t>
            </a:fld>
            <a:endParaRPr lang="en-GB" dirty="0"/>
          </a:p>
        </p:txBody>
      </p:sp>
      <p:sp>
        <p:nvSpPr>
          <p:cNvPr id="23" name="Title 22">
            <a:extLst>
              <a:ext uri="{FF2B5EF4-FFF2-40B4-BE49-F238E27FC236}">
                <a16:creationId xmlns:a16="http://schemas.microsoft.com/office/drawing/2014/main" id="{D602D668-2ACF-804D-F68B-D00958322630}"/>
              </a:ext>
            </a:extLst>
          </p:cNvPr>
          <p:cNvSpPr>
            <a:spLocks noGrp="1"/>
          </p:cNvSpPr>
          <p:nvPr>
            <p:ph type="title"/>
          </p:nvPr>
        </p:nvSpPr>
        <p:spPr>
          <a:xfrm>
            <a:off x="864000" y="2229556"/>
            <a:ext cx="8379059" cy="1563189"/>
          </a:xfrm>
        </p:spPr>
        <p:txBody>
          <a:bodyPr/>
          <a:lstStyle/>
          <a:p>
            <a:r>
              <a:rPr lang="en-GB" dirty="0">
                <a:solidFill>
                  <a:srgbClr val="FF6120"/>
                </a:solidFill>
              </a:rPr>
              <a:t>A CLOSER LOOK </a:t>
            </a:r>
            <a:br>
              <a:rPr lang="en-GB" dirty="0">
                <a:solidFill>
                  <a:srgbClr val="FF6120"/>
                </a:solidFill>
              </a:rPr>
            </a:br>
            <a:r>
              <a:rPr lang="en-GB" dirty="0"/>
              <a:t>AT SEQUENCE OF RETURNS RISK</a:t>
            </a:r>
          </a:p>
        </p:txBody>
      </p:sp>
      <p:sp>
        <p:nvSpPr>
          <p:cNvPr id="24" name="Rectangle 23">
            <a:extLst>
              <a:ext uri="{FF2B5EF4-FFF2-40B4-BE49-F238E27FC236}">
                <a16:creationId xmlns:a16="http://schemas.microsoft.com/office/drawing/2014/main" id="{1A3D12FC-F2F2-3E05-5108-EC0A62A443A8}"/>
              </a:ext>
            </a:extLst>
          </p:cNvPr>
          <p:cNvSpPr/>
          <p:nvPr/>
        </p:nvSpPr>
        <p:spPr>
          <a:xfrm>
            <a:off x="2" y="1798320"/>
            <a:ext cx="576262" cy="1836212"/>
          </a:xfrm>
          <a:prstGeom prst="rect">
            <a:avLst/>
          </a:prstGeom>
          <a:pattFill prst="wdUpDiag">
            <a:fgClr>
              <a:schemeClr val="accent4"/>
            </a:fgClr>
            <a:bgClr>
              <a:srgbClr val="00243D"/>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701" b="1" dirty="0"/>
          </a:p>
        </p:txBody>
      </p:sp>
    </p:spTree>
    <p:custDataLst>
      <p:tags r:id="rId1"/>
    </p:custDataLst>
    <p:extLst>
      <p:ext uri="{BB962C8B-B14F-4D97-AF65-F5344CB8AC3E}">
        <p14:creationId xmlns:p14="http://schemas.microsoft.com/office/powerpoint/2010/main" val="2360849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2" name="Picture 1" descr="Picture 1"/>
          <p:cNvPicPr>
            <a:picLocks noChangeAspect="1"/>
          </p:cNvPicPr>
          <p:nvPr/>
        </p:nvPicPr>
        <p:blipFill>
          <a:blip r:embed="rId4"/>
          <a:stretch>
            <a:fillRect/>
          </a:stretch>
        </p:blipFill>
        <p:spPr>
          <a:xfrm>
            <a:off x="9897955" y="5779718"/>
            <a:ext cx="1353638" cy="282010"/>
          </a:xfrm>
          <a:prstGeom prst="rect">
            <a:avLst/>
          </a:prstGeom>
          <a:ln w="12700">
            <a:miter lim="400000"/>
          </a:ln>
        </p:spPr>
      </p:pic>
      <p:sp>
        <p:nvSpPr>
          <p:cNvPr id="30" name="Slide Number Placeholder 29">
            <a:extLst>
              <a:ext uri="{FF2B5EF4-FFF2-40B4-BE49-F238E27FC236}">
                <a16:creationId xmlns:a16="http://schemas.microsoft.com/office/drawing/2014/main" id="{4BB4055B-70B2-E308-BFE5-C75CAD843067}"/>
              </a:ext>
            </a:extLst>
          </p:cNvPr>
          <p:cNvSpPr>
            <a:spLocks noGrp="1"/>
          </p:cNvSpPr>
          <p:nvPr>
            <p:ph type="sldNum" sz="quarter" idx="31"/>
          </p:nvPr>
        </p:nvSpPr>
        <p:spPr/>
        <p:txBody>
          <a:bodyPr/>
          <a:lstStyle/>
          <a:p>
            <a:fld id="{0F961903-03AF-4EAC-BF2C-945F8C5557D1}" type="slidenum">
              <a:rPr lang="en-GB" smtClean="0"/>
              <a:pPr/>
              <a:t>9</a:t>
            </a:fld>
            <a:endParaRPr lang="en-GB" dirty="0"/>
          </a:p>
        </p:txBody>
      </p:sp>
      <p:sp>
        <p:nvSpPr>
          <p:cNvPr id="2" name="Text Placeholder 1">
            <a:extLst>
              <a:ext uri="{FF2B5EF4-FFF2-40B4-BE49-F238E27FC236}">
                <a16:creationId xmlns:a16="http://schemas.microsoft.com/office/drawing/2014/main" id="{BBB7D3BE-EC09-CA4C-862A-693BA9C76A8F}"/>
              </a:ext>
            </a:extLst>
          </p:cNvPr>
          <p:cNvSpPr>
            <a:spLocks noGrp="1"/>
          </p:cNvSpPr>
          <p:nvPr>
            <p:ph type="body" sz="quarter" idx="11"/>
          </p:nvPr>
        </p:nvSpPr>
        <p:spPr/>
        <p:txBody>
          <a:bodyPr/>
          <a:lstStyle/>
          <a:p>
            <a:r>
              <a:rPr lang="en-GB" dirty="0"/>
              <a:t>Multiple measures are used but which is the best for retirement?</a:t>
            </a:r>
          </a:p>
        </p:txBody>
      </p:sp>
      <p:sp>
        <p:nvSpPr>
          <p:cNvPr id="23" name="Title 1">
            <a:extLst>
              <a:ext uri="{FF2B5EF4-FFF2-40B4-BE49-F238E27FC236}">
                <a16:creationId xmlns:a16="http://schemas.microsoft.com/office/drawing/2014/main" id="{547B53A1-65B9-A3C8-6EEB-B7A44FCDA8FD}"/>
              </a:ext>
            </a:extLst>
          </p:cNvPr>
          <p:cNvSpPr>
            <a:spLocks noGrp="1"/>
          </p:cNvSpPr>
          <p:nvPr>
            <p:ph type="title"/>
          </p:nvPr>
        </p:nvSpPr>
        <p:spPr/>
        <p:txBody>
          <a:bodyPr>
            <a:noAutofit/>
          </a:bodyPr>
          <a:lstStyle/>
          <a:p>
            <a:r>
              <a:rPr lang="en-GB" dirty="0"/>
              <a:t>How do we usually compare </a:t>
            </a:r>
            <a:r>
              <a:rPr lang="en-GB" dirty="0">
                <a:solidFill>
                  <a:srgbClr val="FF6120"/>
                </a:solidFill>
              </a:rPr>
              <a:t>risk and return?</a:t>
            </a:r>
          </a:p>
        </p:txBody>
      </p:sp>
      <p:sp>
        <p:nvSpPr>
          <p:cNvPr id="26" name="Content Placeholder 25">
            <a:extLst>
              <a:ext uri="{FF2B5EF4-FFF2-40B4-BE49-F238E27FC236}">
                <a16:creationId xmlns:a16="http://schemas.microsoft.com/office/drawing/2014/main" id="{E5AD077B-AF12-CC48-24B4-8CDF2F3A348D}"/>
              </a:ext>
            </a:extLst>
          </p:cNvPr>
          <p:cNvSpPr>
            <a:spLocks noGrp="1"/>
          </p:cNvSpPr>
          <p:nvPr>
            <p:ph sz="quarter" idx="12"/>
          </p:nvPr>
        </p:nvSpPr>
        <p:spPr/>
        <p:txBody>
          <a:bodyPr/>
          <a:lstStyle/>
          <a:p>
            <a:r>
              <a:rPr lang="en-GB" dirty="0"/>
              <a:t> </a:t>
            </a:r>
          </a:p>
        </p:txBody>
      </p:sp>
      <p:sp>
        <p:nvSpPr>
          <p:cNvPr id="27" name="Text Placeholder 26">
            <a:extLst>
              <a:ext uri="{FF2B5EF4-FFF2-40B4-BE49-F238E27FC236}">
                <a16:creationId xmlns:a16="http://schemas.microsoft.com/office/drawing/2014/main" id="{90BE2F6A-3C95-92C0-CE62-061C14D5C1E4}"/>
              </a:ext>
            </a:extLst>
          </p:cNvPr>
          <p:cNvSpPr>
            <a:spLocks noGrp="1"/>
          </p:cNvSpPr>
          <p:nvPr>
            <p:ph type="body" sz="quarter" idx="18"/>
          </p:nvPr>
        </p:nvSpPr>
        <p:spPr/>
        <p:txBody>
          <a:bodyPr/>
          <a:lstStyle/>
          <a:p>
            <a:r>
              <a:rPr lang="en-GB" dirty="0"/>
              <a:t> </a:t>
            </a:r>
          </a:p>
        </p:txBody>
      </p:sp>
      <p:sp>
        <p:nvSpPr>
          <p:cNvPr id="4" name="Oval 3">
            <a:extLst>
              <a:ext uri="{FF2B5EF4-FFF2-40B4-BE49-F238E27FC236}">
                <a16:creationId xmlns:a16="http://schemas.microsoft.com/office/drawing/2014/main" id="{1A8CB118-ED65-9F0C-C5B3-CEF29863ABA9}"/>
              </a:ext>
            </a:extLst>
          </p:cNvPr>
          <p:cNvSpPr/>
          <p:nvPr/>
        </p:nvSpPr>
        <p:spPr>
          <a:xfrm>
            <a:off x="576263" y="1526668"/>
            <a:ext cx="2247713" cy="695226"/>
          </a:xfrm>
          <a:prstGeom prst="ellipse">
            <a:avLst/>
          </a:prstGeom>
          <a:solidFill>
            <a:srgbClr val="05687F"/>
          </a:solidFill>
          <a:ln w="25400" cap="flat">
            <a:solidFill>
              <a:srgbClr val="05687F"/>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Volatility</a:t>
            </a:r>
          </a:p>
        </p:txBody>
      </p:sp>
      <p:sp>
        <p:nvSpPr>
          <p:cNvPr id="5" name="Oval 4">
            <a:extLst>
              <a:ext uri="{FF2B5EF4-FFF2-40B4-BE49-F238E27FC236}">
                <a16:creationId xmlns:a16="http://schemas.microsoft.com/office/drawing/2014/main" id="{FB7B3480-74BC-F3DC-547C-9288836B4EF8}"/>
              </a:ext>
            </a:extLst>
          </p:cNvPr>
          <p:cNvSpPr/>
          <p:nvPr/>
        </p:nvSpPr>
        <p:spPr>
          <a:xfrm>
            <a:off x="2140974" y="2544807"/>
            <a:ext cx="3788318" cy="1267774"/>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Upside/Downside </a:t>
            </a:r>
            <a:r>
              <a:rPr lang="en-GB" sz="2646" cap="all" dirty="0">
                <a:solidFill>
                  <a:schemeClr val="bg1"/>
                </a:solidFill>
                <a:latin typeface="Impact" panose="020B0806030902050204" pitchFamily="34" charset="0"/>
              </a:rPr>
              <a:t>Capture</a:t>
            </a:r>
          </a:p>
        </p:txBody>
      </p:sp>
      <p:sp>
        <p:nvSpPr>
          <p:cNvPr id="6" name="Oval 5">
            <a:extLst>
              <a:ext uri="{FF2B5EF4-FFF2-40B4-BE49-F238E27FC236}">
                <a16:creationId xmlns:a16="http://schemas.microsoft.com/office/drawing/2014/main" id="{563CDD4A-6A96-0584-18F6-4A76FEAC23BB}"/>
              </a:ext>
            </a:extLst>
          </p:cNvPr>
          <p:cNvSpPr/>
          <p:nvPr/>
        </p:nvSpPr>
        <p:spPr>
          <a:xfrm>
            <a:off x="1030333" y="4082247"/>
            <a:ext cx="2586993" cy="1267774"/>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chemeClr val="bg1"/>
                </a:solidFill>
                <a:latin typeface="Impact" panose="020B0806030902050204" pitchFamily="34" charset="0"/>
              </a:rPr>
              <a:t>Historical</a:t>
            </a:r>
            <a:r>
              <a:rPr lang="en-GB" sz="2646" cap="all" dirty="0">
                <a:solidFill>
                  <a:srgbClr val="FF6120"/>
                </a:solidFill>
                <a:latin typeface="Impact" panose="020B0806030902050204" pitchFamily="34" charset="0"/>
              </a:rPr>
              <a:t> </a:t>
            </a:r>
            <a:r>
              <a:rPr lang="en-GB" sz="2646" cap="all" dirty="0" err="1">
                <a:solidFill>
                  <a:srgbClr val="FF6120"/>
                </a:solidFill>
                <a:latin typeface="Impact" panose="020B0806030902050204" pitchFamily="34" charset="0"/>
              </a:rPr>
              <a:t>VaR</a:t>
            </a:r>
            <a:r>
              <a:rPr lang="en-GB" sz="2646" cap="all" dirty="0">
                <a:solidFill>
                  <a:srgbClr val="FF6120"/>
                </a:solidFill>
                <a:latin typeface="Impact" panose="020B0806030902050204" pitchFamily="34" charset="0"/>
              </a:rPr>
              <a:t> (95%) </a:t>
            </a:r>
          </a:p>
        </p:txBody>
      </p:sp>
      <p:sp>
        <p:nvSpPr>
          <p:cNvPr id="7" name="Oval 6">
            <a:extLst>
              <a:ext uri="{FF2B5EF4-FFF2-40B4-BE49-F238E27FC236}">
                <a16:creationId xmlns:a16="http://schemas.microsoft.com/office/drawing/2014/main" id="{E880DA37-6D3A-DC95-C079-5EEC748455ED}"/>
              </a:ext>
            </a:extLst>
          </p:cNvPr>
          <p:cNvSpPr/>
          <p:nvPr/>
        </p:nvSpPr>
        <p:spPr>
          <a:xfrm>
            <a:off x="4080909" y="4504628"/>
            <a:ext cx="2586993" cy="1267774"/>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chemeClr val="bg1"/>
                </a:solidFill>
                <a:latin typeface="Impact" panose="020B0806030902050204" pitchFamily="34" charset="0"/>
              </a:rPr>
              <a:t>Maximum</a:t>
            </a:r>
            <a:r>
              <a:rPr lang="en-GB" sz="2646" cap="all" dirty="0">
                <a:solidFill>
                  <a:srgbClr val="FF6120"/>
                </a:solidFill>
                <a:latin typeface="Impact" panose="020B0806030902050204" pitchFamily="34" charset="0"/>
              </a:rPr>
              <a:t> Drawdown</a:t>
            </a:r>
          </a:p>
        </p:txBody>
      </p:sp>
      <p:sp>
        <p:nvSpPr>
          <p:cNvPr id="8" name="Oval 7">
            <a:extLst>
              <a:ext uri="{FF2B5EF4-FFF2-40B4-BE49-F238E27FC236}">
                <a16:creationId xmlns:a16="http://schemas.microsoft.com/office/drawing/2014/main" id="{68C53CF3-C835-6212-DDAD-B3F95C426D1E}"/>
              </a:ext>
            </a:extLst>
          </p:cNvPr>
          <p:cNvSpPr/>
          <p:nvPr/>
        </p:nvSpPr>
        <p:spPr>
          <a:xfrm>
            <a:off x="3731772" y="1454786"/>
            <a:ext cx="3049516" cy="695226"/>
          </a:xfrm>
          <a:prstGeom prst="ellipse">
            <a:avLst/>
          </a:prstGeom>
          <a:solidFill>
            <a:srgbClr val="05687F"/>
          </a:solidFill>
          <a:ln w="25400" cap="flat">
            <a:solidFill>
              <a:srgbClr val="05687F"/>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Correlation</a:t>
            </a:r>
          </a:p>
        </p:txBody>
      </p:sp>
      <p:sp>
        <p:nvSpPr>
          <p:cNvPr id="9" name="Oval 8">
            <a:extLst>
              <a:ext uri="{FF2B5EF4-FFF2-40B4-BE49-F238E27FC236}">
                <a16:creationId xmlns:a16="http://schemas.microsoft.com/office/drawing/2014/main" id="{639D21FF-95EF-5E28-4A34-F6B0C81CD3FB}"/>
              </a:ext>
            </a:extLst>
          </p:cNvPr>
          <p:cNvSpPr/>
          <p:nvPr/>
        </p:nvSpPr>
        <p:spPr>
          <a:xfrm>
            <a:off x="6213802" y="2334310"/>
            <a:ext cx="3049516" cy="695226"/>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err="1">
                <a:solidFill>
                  <a:srgbClr val="FF6120"/>
                </a:solidFill>
                <a:latin typeface="Impact" panose="020B0806030902050204" pitchFamily="34" charset="0"/>
              </a:rPr>
              <a:t>Sortino</a:t>
            </a:r>
            <a:r>
              <a:rPr lang="en-GB" sz="2646" cap="all" dirty="0">
                <a:solidFill>
                  <a:srgbClr val="FF6120"/>
                </a:solidFill>
                <a:latin typeface="Impact" panose="020B0806030902050204" pitchFamily="34" charset="0"/>
              </a:rPr>
              <a:t> </a:t>
            </a:r>
            <a:r>
              <a:rPr lang="en-GB" sz="2646" cap="all" dirty="0">
                <a:solidFill>
                  <a:schemeClr val="bg1"/>
                </a:solidFill>
                <a:latin typeface="Impact" panose="020B0806030902050204" pitchFamily="34" charset="0"/>
              </a:rPr>
              <a:t>ratio</a:t>
            </a:r>
          </a:p>
        </p:txBody>
      </p:sp>
      <p:sp>
        <p:nvSpPr>
          <p:cNvPr id="10" name="Oval 9">
            <a:extLst>
              <a:ext uri="{FF2B5EF4-FFF2-40B4-BE49-F238E27FC236}">
                <a16:creationId xmlns:a16="http://schemas.microsoft.com/office/drawing/2014/main" id="{1B4519AD-8317-B46B-4BF6-EE7E7DDC958B}"/>
              </a:ext>
            </a:extLst>
          </p:cNvPr>
          <p:cNvSpPr/>
          <p:nvPr/>
        </p:nvSpPr>
        <p:spPr>
          <a:xfrm>
            <a:off x="7837620" y="1439863"/>
            <a:ext cx="3049516" cy="695226"/>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Sharpe </a:t>
            </a:r>
            <a:r>
              <a:rPr lang="en-GB" sz="2646" cap="all" dirty="0">
                <a:solidFill>
                  <a:schemeClr val="bg1"/>
                </a:solidFill>
                <a:latin typeface="Impact" panose="020B0806030902050204" pitchFamily="34" charset="0"/>
              </a:rPr>
              <a:t>ratio</a:t>
            </a:r>
          </a:p>
        </p:txBody>
      </p:sp>
      <p:sp>
        <p:nvSpPr>
          <p:cNvPr id="11" name="Oval 10">
            <a:extLst>
              <a:ext uri="{FF2B5EF4-FFF2-40B4-BE49-F238E27FC236}">
                <a16:creationId xmlns:a16="http://schemas.microsoft.com/office/drawing/2014/main" id="{E6621EFB-37D3-D764-BF64-CF00FE666160}"/>
              </a:ext>
            </a:extLst>
          </p:cNvPr>
          <p:cNvSpPr/>
          <p:nvPr/>
        </p:nvSpPr>
        <p:spPr>
          <a:xfrm>
            <a:off x="6699400" y="3446814"/>
            <a:ext cx="3049516" cy="695226"/>
          </a:xfrm>
          <a:prstGeom prst="ellipse">
            <a:avLst/>
          </a:prstGeom>
          <a:solidFill>
            <a:srgbClr val="05687F"/>
          </a:solidFill>
          <a:ln w="25400" cap="flat">
            <a:solidFill>
              <a:srgbClr val="05687F"/>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Beta</a:t>
            </a:r>
          </a:p>
        </p:txBody>
      </p:sp>
      <p:sp>
        <p:nvSpPr>
          <p:cNvPr id="12" name="Oval 11">
            <a:extLst>
              <a:ext uri="{FF2B5EF4-FFF2-40B4-BE49-F238E27FC236}">
                <a16:creationId xmlns:a16="http://schemas.microsoft.com/office/drawing/2014/main" id="{4608E1FD-E8D0-99FB-6B6B-72B6B51110D3}"/>
              </a:ext>
            </a:extLst>
          </p:cNvPr>
          <p:cNvSpPr/>
          <p:nvPr/>
        </p:nvSpPr>
        <p:spPr>
          <a:xfrm>
            <a:off x="7162960" y="4483300"/>
            <a:ext cx="3049516" cy="1267774"/>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3199" tIns="43199" rIns="43199" bIns="43199" numCol="1" spcCol="38100" rtlCol="0" anchor="ctr">
            <a:spAutoFit/>
          </a:bodyPr>
          <a:lstStyle/>
          <a:p>
            <a:pPr defTabSz="864017" fontAlgn="auto" hangingPunct="0">
              <a:spcBef>
                <a:spcPts val="0"/>
              </a:spcBef>
              <a:spcAft>
                <a:spcPts val="0"/>
              </a:spcAft>
            </a:pPr>
            <a:r>
              <a:rPr lang="en-GB" sz="2646" cap="all" dirty="0">
                <a:solidFill>
                  <a:srgbClr val="FF6120"/>
                </a:solidFill>
                <a:latin typeface="Impact" panose="020B0806030902050204" pitchFamily="34" charset="0"/>
              </a:rPr>
              <a:t>Tracking </a:t>
            </a:r>
            <a:r>
              <a:rPr lang="en-GB" sz="2646" cap="all" dirty="0">
                <a:solidFill>
                  <a:schemeClr val="bg1"/>
                </a:solidFill>
                <a:latin typeface="Impact" panose="020B0806030902050204" pitchFamily="34" charset="0"/>
              </a:rPr>
              <a:t>Error</a:t>
            </a:r>
            <a:r>
              <a:rPr lang="en-GB" sz="2646" cap="all" dirty="0">
                <a:solidFill>
                  <a:srgbClr val="FF6120"/>
                </a:solidFill>
                <a:latin typeface="Impact" panose="020B0806030902050204" pitchFamily="34" charset="0"/>
              </a:rPr>
              <a:t> </a:t>
            </a:r>
          </a:p>
        </p:txBody>
      </p:sp>
    </p:spTree>
    <p:custDataLst>
      <p:tags r:id="rId1"/>
    </p:custDataLst>
    <p:extLst>
      <p:ext uri="{BB962C8B-B14F-4D97-AF65-F5344CB8AC3E}">
        <p14:creationId xmlns:p14="http://schemas.microsoft.com/office/powerpoint/2010/main" val="1985468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500"/>
                                  </p:stCondLst>
                                  <p:childTnLst>
                                    <p:set>
                                      <p:cBhvr>
                                        <p:cTn id="12" dur="1" fill="hold">
                                          <p:stCondLst>
                                            <p:cond delay="0"/>
                                          </p:stCondLst>
                                        </p:cTn>
                                        <p:tgtEl>
                                          <p:spTgt spid="6"/>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500"/>
                                  </p:stCondLst>
                                  <p:childTnLst>
                                    <p:set>
                                      <p:cBhvr>
                                        <p:cTn id="15" dur="1" fill="hold">
                                          <p:stCondLst>
                                            <p:cond delay="0"/>
                                          </p:stCondLst>
                                        </p:cTn>
                                        <p:tgtEl>
                                          <p:spTgt spid="7"/>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500"/>
                                  </p:stCondLst>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500"/>
                                  </p:stCondLst>
                                  <p:childTnLst>
                                    <p:set>
                                      <p:cBhvr>
                                        <p:cTn id="24" dur="1" fill="hold">
                                          <p:stCondLst>
                                            <p:cond delay="0"/>
                                          </p:stCondLst>
                                        </p:cTn>
                                        <p:tgtEl>
                                          <p:spTgt spid="10"/>
                                        </p:tgtEl>
                                        <p:attrNameLst>
                                          <p:attrName>style.visibility</p:attrName>
                                        </p:attrNameLst>
                                      </p:cBhvr>
                                      <p:to>
                                        <p:strVal val="visible"/>
                                      </p:to>
                                    </p:set>
                                  </p:childTnLst>
                                </p:cTn>
                              </p:par>
                            </p:childTnLst>
                          </p:cTn>
                        </p:par>
                        <p:par>
                          <p:cTn id="25" fill="hold">
                            <p:stCondLst>
                              <p:cond delay="3000"/>
                            </p:stCondLst>
                            <p:childTnLst>
                              <p:par>
                                <p:cTn id="26" presetID="1" presetClass="entr" presetSubtype="0" fill="hold" grpId="0" nodeType="afterEffect">
                                  <p:stCondLst>
                                    <p:cond delay="500"/>
                                  </p:stCondLst>
                                  <p:childTnLst>
                                    <p:set>
                                      <p:cBhvr>
                                        <p:cTn id="27" dur="1" fill="hold">
                                          <p:stCondLst>
                                            <p:cond delay="0"/>
                                          </p:stCondLst>
                                        </p:cTn>
                                        <p:tgtEl>
                                          <p:spTgt spid="11"/>
                                        </p:tgtEl>
                                        <p:attrNameLst>
                                          <p:attrName>style.visibility</p:attrName>
                                        </p:attrNameLst>
                                      </p:cBhvr>
                                      <p:to>
                                        <p:strVal val="visible"/>
                                      </p:to>
                                    </p:set>
                                  </p:childTnLst>
                                </p:cTn>
                              </p:par>
                            </p:childTnLst>
                          </p:cTn>
                        </p:par>
                        <p:par>
                          <p:cTn id="28" fill="hold">
                            <p:stCondLst>
                              <p:cond delay="3500"/>
                            </p:stCondLst>
                            <p:childTnLst>
                              <p:par>
                                <p:cTn id="29" presetID="1" presetClass="entr" presetSubtype="0" fill="hold" grpId="0" nodeType="afterEffect">
                                  <p:stCondLst>
                                    <p:cond delay="50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1.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2.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3.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4.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5.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6.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7.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8.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19.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20.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1.xml><?xml version="1.0" encoding="utf-8"?>
<p:tagLst xmlns:a="http://schemas.openxmlformats.org/drawingml/2006/main" xmlns:r="http://schemas.openxmlformats.org/officeDocument/2006/relationships" xmlns:p="http://schemas.openxmlformats.org/presentationml/2006/main">
  <p:tag name="SYSTAG_WATERMARKAPPROVER" val="alexander.chmelev@newtonim.com"/>
  <p:tag name="SYSTAG_MODERATIONLEVEL" val="0"/>
  <p:tag name="SYSTAG_UNIQUEID" val="6dd5c85e-7856-4158-bf9a-4ca168c7d307"/>
  <p:tag name="SYSTAG_SPID" val="6069"/>
  <p:tag name="SYSTAG_FILEREF" val="/SysLib_Slides/7ed2420f-4a2e-4adc-a29e-ba91f109da1f.pptx"/>
  <p:tag name="SYSTAG_FILELEAFREF" val="7ed2420f-4a2e-4adc-a29e-ba91f109da1f.pptx"/>
  <p:tag name="SYSTAG_FILEDIRREF" val="/SysLib_Slides"/>
  <p:tag name="SYSTAG_LOCKED" val="True"/>
  <p:tag name="SYSTAG_WATERMARKED" val="True"/>
  <p:tag name="SYSTAG_HIDDEN" val="False"/>
  <p:tag name="SYSTAG_EXPIRYDATE" val="9999-12-31T00:00:00Z"/>
  <p:tag name="SYSTAG_CONTENTSLIDE" val="False"/>
  <p:tag name="SYSTAG_AUTHOR" val="alexander.chmelev@newtonim.com"/>
  <p:tag name="SYSTAG_EDITOR" val="alexander.chmelev@newtonim.com"/>
  <p:tag name="SYSTAG_DATECREATED" val="2023-02-21T14:48:18Z"/>
  <p:tag name="SYSTAG_CATEGORY" val="44284b5a-5c7e-4ccf-af71-b3d753913605"/>
  <p:tag name="SYSTAG_USERCATEGORIES" val="6b871572-a64f-4f17-8fdb-b5712bc97748"/>
  <p:tag name="SYSTAG_ASPECTRATIO" val="10691812|7559675|custom"/>
  <p:tag name="SYSTAG_TITLE" val="MA-FL - The best of Newton’s sustainable asset management skills"/>
  <p:tag name="SYSTAG_DESCRIPTION" val=" "/>
  <p:tag name="SYSTAG_KEYWORDS" val=" "/>
  <p:tag name="SYSTAG_WATERMARKAPPROVEDATE" val="28/06/2024 09:27:32"/>
  <p:tag name="SYSTAG_OBJECTVERSION" val="44"/>
  <p:tag name="SYSTAG_DATEMODIFIED" val="2024-06-28T09:28:35Z"/>
  <p:tag name="SYSTAG_HASBEENUNLOCKED" val="True"/>
  <p:tag name="TEMPSYSTAG_ADDTAGS" val="True"/>
  <p:tag name="TEMPSYSTAG_HASEXPIRED" val="False"/>
</p:tagLst>
</file>

<file path=ppt/tags/tag22.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3.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4.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5.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6.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7.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8.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29.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3.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4.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5.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6.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7.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8.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ags/tag9.xml><?xml version="1.0" encoding="utf-8"?>
<p:tagLst xmlns:a="http://schemas.openxmlformats.org/drawingml/2006/main" xmlns:r="http://schemas.openxmlformats.org/officeDocument/2006/relationships" xmlns:p="http://schemas.openxmlformats.org/presentationml/2006/main">
  <p:tag name="TEMPSYSTAG_ADDTAGS" val="True"/>
  <p:tag name="TEMPSYSTAG_HASEXPIRED" val="False"/>
</p:tagLst>
</file>

<file path=ppt/theme/theme1.xml><?xml version="1.0" encoding="utf-8"?>
<a:theme xmlns:a="http://schemas.openxmlformats.org/drawingml/2006/main" name="BNY Mellon 2023 Formal Covers and Dividers">
  <a:themeElements>
    <a:clrScheme name="BNY BANK">
      <a:dk1>
        <a:srgbClr val="353535"/>
      </a:dk1>
      <a:lt1>
        <a:srgbClr val="FFFFFF"/>
      </a:lt1>
      <a:dk2>
        <a:srgbClr val="000000"/>
      </a:dk2>
      <a:lt2>
        <a:srgbClr val="FFFFFF"/>
      </a:lt2>
      <a:accent1>
        <a:srgbClr val="00243D"/>
      </a:accent1>
      <a:accent2>
        <a:srgbClr val="00485E"/>
      </a:accent2>
      <a:accent3>
        <a:srgbClr val="006888"/>
      </a:accent3>
      <a:accent4>
        <a:srgbClr val="0098C6"/>
      </a:accent4>
      <a:accent5>
        <a:srgbClr val="2FCEFF"/>
      </a:accent5>
      <a:accent6>
        <a:srgbClr val="97E7FF"/>
      </a:accent6>
      <a:hlink>
        <a:srgbClr val="006888"/>
      </a:hlink>
      <a:folHlink>
        <a:srgbClr val="FF6120"/>
      </a:folHlink>
    </a:clrScheme>
    <a:fontScheme name="BNYM">
      <a:majorFont>
        <a:latin typeface="Avenir Next LT Pro"/>
        <a:ea typeface=""/>
        <a:cs typeface="Arial"/>
      </a:majorFont>
      <a:minorFont>
        <a:latin typeface="Avenir Next LT Pro"/>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lIns="36000" tIns="36000" rIns="36000" bIns="36000" anchor="t"/>
      <a:lstStyle>
        <a:defPPr algn="ctr" defTabSz="863600">
          <a:defRPr sz="1100" dirty="0"/>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ctr" anchorCtr="0" compatLnSpc="1">
        <a:prstTxWarp prst="textNoShape">
          <a:avLst/>
        </a:prstTxWarp>
      </a:bodyPr>
      <a:lstStyle>
        <a:defPPr marL="0" marR="0" indent="0" algn="ctr" defTabSz="863600" rtl="0" eaLnBrk="1" fontAlgn="base" latinLnBrk="0" hangingPunct="1">
          <a:lnSpc>
            <a:spcPct val="100000"/>
          </a:lnSpc>
          <a:spcBef>
            <a:spcPct val="0"/>
          </a:spcBef>
          <a:spcAft>
            <a:spcPct val="30000"/>
          </a:spcAft>
          <a:buClrTx/>
          <a:buSzTx/>
          <a:buFontTx/>
          <a:buNone/>
          <a:tabLst/>
          <a:defRPr kumimoji="0" lang="en-GB" sz="13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TP Print Corporate Template 1">
        <a:dk1>
          <a:srgbClr val="000000"/>
        </a:dk1>
        <a:lt1>
          <a:srgbClr val="FFFFFF"/>
        </a:lt1>
        <a:dk2>
          <a:srgbClr val="045411"/>
        </a:dk2>
        <a:lt2>
          <a:srgbClr val="848E3A"/>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
      <a:clrScheme name="DTP Print Corporate Template 2">
        <a:dk1>
          <a:srgbClr val="000000"/>
        </a:dk1>
        <a:lt1>
          <a:srgbClr val="FFFFFF"/>
        </a:lt1>
        <a:dk2>
          <a:srgbClr val="045411"/>
        </a:dk2>
        <a:lt2>
          <a:srgbClr val="00706D"/>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Lst>
  <a:custClrLst>
    <a:custClr name="Dark Teal 100%">
      <a:srgbClr val="00243D"/>
    </a:custClr>
    <a:custClr name="Dark Teal 75%">
      <a:srgbClr val="405B6D"/>
    </a:custClr>
    <a:custClr name="Dark Teal 50%">
      <a:srgbClr val="80919E"/>
    </a:custClr>
    <a:custClr name="Dark Teal 25%">
      <a:srgbClr val="BFC8CE"/>
    </a:custClr>
    <a:custClr name="Teal 100%">
      <a:srgbClr val="00485E"/>
    </a:custClr>
    <a:custClr name="Teal 75%">
      <a:srgbClr val="407686"/>
    </a:custClr>
    <a:custClr name="Teal 50%">
      <a:srgbClr val="80A3AE"/>
    </a:custClr>
    <a:custClr name="Teal 25%">
      <a:srgbClr val="BFD1D7"/>
    </a:custClr>
    <a:custClr name="Lime">
      <a:srgbClr val="CFF3F3"/>
    </a:custClr>
    <a:custClr name="Lime Tint 1">
      <a:srgbClr val="ABEAEA"/>
    </a:custClr>
    <a:custClr name="Lime Tint 2">
      <a:srgbClr val="75DDDD"/>
    </a:custClr>
    <a:custClr name="Lime Tint 3">
      <a:srgbClr val="2DB4B4"/>
    </a:custClr>
    <a:custClr name="Pewter">
      <a:srgbClr val="808183"/>
    </a:custClr>
    <a:custClr name="Pewter Tint 2">
      <a:srgbClr val="CCCDCD"/>
    </a:custClr>
    <a:custClr name="Pewter Tint 3">
      <a:srgbClr val="606162"/>
    </a:custClr>
    <a:custClr name="Pewter Tint 4">
      <a:srgbClr val="404042"/>
    </a:custClr>
    <a:custClr name="Orange 100%">
      <a:srgbClr val="FF6120"/>
    </a:custClr>
    <a:custClr name="Orange 75%">
      <a:srgbClr val="FF8858"/>
    </a:custClr>
    <a:custClr name="Orange 50%">
      <a:srgbClr val="FFB08F"/>
    </a:custClr>
    <a:custClr name="Orange 25%">
      <a:srgbClr val="FFD7C7"/>
    </a:custClr>
    <a:custClr name="Green 100%">
      <a:srgbClr val="007933"/>
    </a:custClr>
    <a:custClr name="Green 75%">
      <a:srgbClr val="409A66"/>
    </a:custClr>
    <a:custClr name="Green 50%">
      <a:srgbClr val="80BC99"/>
    </a:custClr>
    <a:custClr name="Green 25%">
      <a:srgbClr val="BFDDCC"/>
    </a:custClr>
    <a:custClr name="Yellow 100%">
      <a:srgbClr val="F5E02E"/>
    </a:custClr>
    <a:custClr name="Yellow 75%">
      <a:srgbClr val="F7E862"/>
    </a:custClr>
    <a:custClr name="Yellow 50%">
      <a:srgbClr val="FAEF96"/>
    </a:custClr>
    <a:custClr name="Yellow 25%">
      <a:srgbClr val="FCF7CB"/>
    </a:custClr>
    <a:custClr name="Red 100%">
      <a:srgbClr val="C00000"/>
    </a:custClr>
    <a:custClr name="Red 75%">
      <a:srgbClr val="D04040"/>
    </a:custClr>
    <a:custClr name="Red 50%">
      <a:srgbClr val="DF8080"/>
    </a:custClr>
    <a:custClr name="Red 25%">
      <a:srgbClr val="EFBFBF"/>
    </a:custClr>
    <a:custClr name="Pink 100%">
      <a:srgbClr val="F75C8F"/>
    </a:custClr>
    <a:custClr name="Pink 75%">
      <a:srgbClr val="F985AB"/>
    </a:custClr>
    <a:custClr name="Pink 50%">
      <a:srgbClr val="FBADC7"/>
    </a:custClr>
    <a:custClr name="Pink 25%">
      <a:srgbClr val="FDD6E3"/>
    </a:custClr>
    <a:custClr name="Chart Yellow 100%">
      <a:srgbClr val="F8C209"/>
    </a:custClr>
    <a:custClr name="Chart Yellow 75%">
      <a:srgbClr val="FAD146"/>
    </a:custClr>
    <a:custClr name="Chart Yellow 50%">
      <a:srgbClr val="FBE084"/>
    </a:custClr>
    <a:custClr name="Chart Yellow 25%">
      <a:srgbClr val="FDF0C1"/>
    </a:custClr>
    <a:custClr name="Background Beige">
      <a:srgbClr val="ECE8DB"/>
    </a:custClr>
    <a:custClr name="Background Teal">
      <a:srgbClr val="E3EBED"/>
    </a:custClr>
    <a:custClr name="Background Green">
      <a:srgbClr val="E2EDE8"/>
    </a:custClr>
    <a:custClr name="Background Yellow">
      <a:srgbClr val="ECE8DB"/>
    </a:custClr>
    <a:custClr name="Background Orange">
      <a:srgbClr val="F5F0EB"/>
    </a:custClr>
  </a:custClrLst>
  <a:extLst>
    <a:ext uri="{05A4C25C-085E-4340-85A3-A5531E510DB2}">
      <thm15:themeFamily xmlns:thm15="http://schemas.microsoft.com/office/thememl/2012/main" name="Insight A4 Print Template - New MIFID II implementation" id="{E95D26F9-3BE0-474B-B2A6-41F7FAD955AB}" vid="{C6072906-C098-4462-92FD-79604B945079}"/>
    </a:ext>
  </a:extLst>
</a:theme>
</file>

<file path=ppt/theme/theme2.xml><?xml version="1.0" encoding="utf-8"?>
<a:theme xmlns:a="http://schemas.openxmlformats.org/drawingml/2006/main" name="1_BNY Mellon 2023 Formal Covers and Dividers">
  <a:themeElements>
    <a:clrScheme name="BNY BANK">
      <a:dk1>
        <a:srgbClr val="353535"/>
      </a:dk1>
      <a:lt1>
        <a:srgbClr val="FFFFFF"/>
      </a:lt1>
      <a:dk2>
        <a:srgbClr val="000000"/>
      </a:dk2>
      <a:lt2>
        <a:srgbClr val="FFFFFF"/>
      </a:lt2>
      <a:accent1>
        <a:srgbClr val="00243D"/>
      </a:accent1>
      <a:accent2>
        <a:srgbClr val="00485E"/>
      </a:accent2>
      <a:accent3>
        <a:srgbClr val="006888"/>
      </a:accent3>
      <a:accent4>
        <a:srgbClr val="0098C6"/>
      </a:accent4>
      <a:accent5>
        <a:srgbClr val="2FCEFF"/>
      </a:accent5>
      <a:accent6>
        <a:srgbClr val="97E7FF"/>
      </a:accent6>
      <a:hlink>
        <a:srgbClr val="006888"/>
      </a:hlink>
      <a:folHlink>
        <a:srgbClr val="FF6120"/>
      </a:folHlink>
    </a:clrScheme>
    <a:fontScheme name="BNYM">
      <a:majorFont>
        <a:latin typeface="Avenir Next LT Pro"/>
        <a:ea typeface=""/>
        <a:cs typeface="Arial"/>
      </a:majorFont>
      <a:minorFont>
        <a:latin typeface="Avenir Next LT Pro"/>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lIns="36000" tIns="36000" rIns="36000" bIns="36000" anchor="t"/>
      <a:lstStyle>
        <a:defPPr algn="ctr" defTabSz="863600">
          <a:defRPr sz="1100" dirty="0"/>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ctr" anchorCtr="0" compatLnSpc="1">
        <a:prstTxWarp prst="textNoShape">
          <a:avLst/>
        </a:prstTxWarp>
      </a:bodyPr>
      <a:lstStyle>
        <a:defPPr marL="0" marR="0" indent="0" algn="ctr" defTabSz="863600" rtl="0" eaLnBrk="1" fontAlgn="base" latinLnBrk="0" hangingPunct="1">
          <a:lnSpc>
            <a:spcPct val="100000"/>
          </a:lnSpc>
          <a:spcBef>
            <a:spcPct val="0"/>
          </a:spcBef>
          <a:spcAft>
            <a:spcPct val="30000"/>
          </a:spcAft>
          <a:buClrTx/>
          <a:buSzTx/>
          <a:buFontTx/>
          <a:buNone/>
          <a:tabLst/>
          <a:defRPr kumimoji="0" lang="en-GB" sz="13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TP Print Corporate Template 1">
        <a:dk1>
          <a:srgbClr val="000000"/>
        </a:dk1>
        <a:lt1>
          <a:srgbClr val="FFFFFF"/>
        </a:lt1>
        <a:dk2>
          <a:srgbClr val="045411"/>
        </a:dk2>
        <a:lt2>
          <a:srgbClr val="848E3A"/>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
      <a:clrScheme name="DTP Print Corporate Template 2">
        <a:dk1>
          <a:srgbClr val="000000"/>
        </a:dk1>
        <a:lt1>
          <a:srgbClr val="FFFFFF"/>
        </a:lt1>
        <a:dk2>
          <a:srgbClr val="045411"/>
        </a:dk2>
        <a:lt2>
          <a:srgbClr val="00706D"/>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Lst>
  <a:custClrLst>
    <a:custClr name="Dark Teal 100%">
      <a:srgbClr val="00243D"/>
    </a:custClr>
    <a:custClr name="Dark Teal 75%">
      <a:srgbClr val="405B6D"/>
    </a:custClr>
    <a:custClr name="Dark Teal 50%">
      <a:srgbClr val="80919E"/>
    </a:custClr>
    <a:custClr name="Dark Teal 25%">
      <a:srgbClr val="BFC8CE"/>
    </a:custClr>
    <a:custClr name="Teal 100%">
      <a:srgbClr val="00485E"/>
    </a:custClr>
    <a:custClr name="Teal 75%">
      <a:srgbClr val="407686"/>
    </a:custClr>
    <a:custClr name="Teal 50%">
      <a:srgbClr val="80A3AE"/>
    </a:custClr>
    <a:custClr name="Teal 25%">
      <a:srgbClr val="BFD1D7"/>
    </a:custClr>
    <a:custClr name="Lime">
      <a:srgbClr val="CFF3F3"/>
    </a:custClr>
    <a:custClr name="Lime Tint 1">
      <a:srgbClr val="ABEAEA"/>
    </a:custClr>
    <a:custClr name="Lime Tint 2">
      <a:srgbClr val="75DDDD"/>
    </a:custClr>
    <a:custClr name="Lime Tint 3">
      <a:srgbClr val="2DB4B4"/>
    </a:custClr>
    <a:custClr name="Pewter">
      <a:srgbClr val="808183"/>
    </a:custClr>
    <a:custClr name="Pewter Tint 2">
      <a:srgbClr val="CCCDCD"/>
    </a:custClr>
    <a:custClr name="Pewter Tint 3">
      <a:srgbClr val="606162"/>
    </a:custClr>
    <a:custClr name="Pewter Tint 4">
      <a:srgbClr val="404042"/>
    </a:custClr>
    <a:custClr name="Orange 100%">
      <a:srgbClr val="FF6120"/>
    </a:custClr>
    <a:custClr name="Orange 75%">
      <a:srgbClr val="FF8858"/>
    </a:custClr>
    <a:custClr name="Orange 50%">
      <a:srgbClr val="FFB08F"/>
    </a:custClr>
    <a:custClr name="Orange 25%">
      <a:srgbClr val="FFD7C7"/>
    </a:custClr>
    <a:custClr name="Green 100%">
      <a:srgbClr val="007933"/>
    </a:custClr>
    <a:custClr name="Green 75%">
      <a:srgbClr val="409A66"/>
    </a:custClr>
    <a:custClr name="Green 50%">
      <a:srgbClr val="80BC99"/>
    </a:custClr>
    <a:custClr name="Green 25%">
      <a:srgbClr val="BFDDCC"/>
    </a:custClr>
    <a:custClr name="Yellow 100%">
      <a:srgbClr val="F5E02E"/>
    </a:custClr>
    <a:custClr name="Yellow 75%">
      <a:srgbClr val="F7E862"/>
    </a:custClr>
    <a:custClr name="Yellow 50%">
      <a:srgbClr val="FAEF96"/>
    </a:custClr>
    <a:custClr name="Yellow 25%">
      <a:srgbClr val="FCF7CB"/>
    </a:custClr>
    <a:custClr name="Red 100%">
      <a:srgbClr val="C00000"/>
    </a:custClr>
    <a:custClr name="Red 75%">
      <a:srgbClr val="D04040"/>
    </a:custClr>
    <a:custClr name="Red 50%">
      <a:srgbClr val="DF8080"/>
    </a:custClr>
    <a:custClr name="Red 25%">
      <a:srgbClr val="EFBFBF"/>
    </a:custClr>
    <a:custClr name="Pink 100%">
      <a:srgbClr val="F75C8F"/>
    </a:custClr>
    <a:custClr name="Pink 75%">
      <a:srgbClr val="F985AB"/>
    </a:custClr>
    <a:custClr name="Pink 50%">
      <a:srgbClr val="FBADC7"/>
    </a:custClr>
    <a:custClr name="Pink 25%">
      <a:srgbClr val="FDD6E3"/>
    </a:custClr>
    <a:custClr name="Chart Yellow 100%">
      <a:srgbClr val="F8C209"/>
    </a:custClr>
    <a:custClr name="Chart Yellow 75%">
      <a:srgbClr val="FAD146"/>
    </a:custClr>
    <a:custClr name="Chart Yellow 50%">
      <a:srgbClr val="FBE084"/>
    </a:custClr>
    <a:custClr name="Chart Yellow 25%">
      <a:srgbClr val="FDF0C1"/>
    </a:custClr>
    <a:custClr name="Background Beige">
      <a:srgbClr val="ECE8DB"/>
    </a:custClr>
    <a:custClr name="Background Teal">
      <a:srgbClr val="E3EBED"/>
    </a:custClr>
    <a:custClr name="Background Green">
      <a:srgbClr val="E2EDE8"/>
    </a:custClr>
    <a:custClr name="Background Yellow">
      <a:srgbClr val="ECE8DB"/>
    </a:custClr>
    <a:custClr name="Background Orange">
      <a:srgbClr val="F5F0EB"/>
    </a:custClr>
  </a:custClrLst>
  <a:extLst>
    <a:ext uri="{05A4C25C-085E-4340-85A3-A5531E510DB2}">
      <thm15:themeFamily xmlns:thm15="http://schemas.microsoft.com/office/thememl/2012/main" name="Insight A4 Print Template - New MIFID II implementation" id="{E95D26F9-3BE0-474B-B2A6-41F7FAD955AB}" vid="{C6072906-C098-4462-92FD-79604B945079}"/>
    </a:ext>
  </a:extLst>
</a:theme>
</file>

<file path=ppt/theme/theme3.xml><?xml version="1.0" encoding="utf-8"?>
<a:theme xmlns:a="http://schemas.openxmlformats.org/drawingml/2006/main" name="Interior Slides">
  <a:themeElements>
    <a:clrScheme name="BNYM2023 2">
      <a:dk1>
        <a:srgbClr val="343434"/>
      </a:dk1>
      <a:lt1>
        <a:srgbClr val="FFFFFF"/>
      </a:lt1>
      <a:dk2>
        <a:srgbClr val="000000"/>
      </a:dk2>
      <a:lt2>
        <a:srgbClr val="E7E6E6"/>
      </a:lt2>
      <a:accent1>
        <a:srgbClr val="00485E"/>
      </a:accent1>
      <a:accent2>
        <a:srgbClr val="FF6120"/>
      </a:accent2>
      <a:accent3>
        <a:srgbClr val="F75C8F"/>
      </a:accent3>
      <a:accent4>
        <a:srgbClr val="F5E02E"/>
      </a:accent4>
      <a:accent5>
        <a:srgbClr val="CFF3F3"/>
      </a:accent5>
      <a:accent6>
        <a:srgbClr val="808183"/>
      </a:accent6>
      <a:hlink>
        <a:srgbClr val="00485E"/>
      </a:hlink>
      <a:folHlink>
        <a:srgbClr val="FF6120"/>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extLst>
    <a:ext uri="{05A4C25C-085E-4340-85A3-A5531E510DB2}">
      <thm15:themeFamily xmlns:thm15="http://schemas.microsoft.com/office/thememl/2012/main" name="Presentation16" id="{5E7855A7-891D-4BD3-9E4E-9AF00B4E4EF2}" vid="{D2F5510B-999C-43D3-94A3-39BE0E7FDA46}"/>
    </a:ext>
  </a:extLst>
</a:theme>
</file>

<file path=ppt/theme/theme4.xml><?xml version="1.0" encoding="utf-8"?>
<a:theme xmlns:a="http://schemas.openxmlformats.org/drawingml/2006/main" name="2_BNY Mellon 2023 Formal Covers and Dividers">
  <a:themeElements>
    <a:clrScheme name="BNY2024">
      <a:dk1>
        <a:srgbClr val="353535"/>
      </a:dk1>
      <a:lt1>
        <a:srgbClr val="FFFFFF"/>
      </a:lt1>
      <a:dk2>
        <a:srgbClr val="000000"/>
      </a:dk2>
      <a:lt2>
        <a:srgbClr val="FFFFFF"/>
      </a:lt2>
      <a:accent1>
        <a:srgbClr val="00243D"/>
      </a:accent1>
      <a:accent2>
        <a:srgbClr val="FF6120"/>
      </a:accent2>
      <a:accent3>
        <a:srgbClr val="F5E02E"/>
      </a:accent3>
      <a:accent4>
        <a:srgbClr val="F75C8F"/>
      </a:accent4>
      <a:accent5>
        <a:srgbClr val="803189"/>
      </a:accent5>
      <a:accent6>
        <a:srgbClr val="ACE2E5"/>
      </a:accent6>
      <a:hlink>
        <a:srgbClr val="006888"/>
      </a:hlink>
      <a:folHlink>
        <a:srgbClr val="FF6120"/>
      </a:folHlink>
    </a:clrScheme>
    <a:fontScheme name="BNYM">
      <a:majorFont>
        <a:latin typeface="Avenir Next LT Pro"/>
        <a:ea typeface=""/>
        <a:cs typeface="Arial"/>
      </a:majorFont>
      <a:minorFont>
        <a:latin typeface="Avenir Next LT Pro"/>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lIns="36000" tIns="36000" rIns="36000" bIns="36000" anchor="t"/>
      <a:lstStyle>
        <a:defPPr algn="ctr" defTabSz="863600">
          <a:defRPr sz="1100" dirty="0"/>
        </a:defPPr>
      </a:lstStyle>
    </a:spDef>
    <a:lnDef>
      <a:spPr bwMode="auto">
        <a:xfrm>
          <a:off x="0" y="0"/>
          <a:ext cx="1" cy="1"/>
        </a:xfrm>
        <a:custGeom>
          <a:avLst/>
          <a:gdLst/>
          <a:ahLst/>
          <a:cxnLst/>
          <a:rect l="0" t="0" r="0" b="0"/>
          <a:pathLst/>
        </a:custGeom>
        <a:solidFill>
          <a:schemeClr val="accent1"/>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anchor="ctr" anchorCtr="0" compatLnSpc="1">
        <a:prstTxWarp prst="textNoShape">
          <a:avLst/>
        </a:prstTxWarp>
      </a:bodyPr>
      <a:lstStyle>
        <a:defPPr marL="0" marR="0" indent="0" algn="ctr" defTabSz="863600" rtl="0" eaLnBrk="1" fontAlgn="base" latinLnBrk="0" hangingPunct="1">
          <a:lnSpc>
            <a:spcPct val="100000"/>
          </a:lnSpc>
          <a:spcBef>
            <a:spcPct val="0"/>
          </a:spcBef>
          <a:spcAft>
            <a:spcPct val="30000"/>
          </a:spcAft>
          <a:buClrTx/>
          <a:buSzTx/>
          <a:buFontTx/>
          <a:buNone/>
          <a:tabLst/>
          <a:defRPr kumimoji="0" lang="en-GB" sz="1300" b="0" i="0" u="none" strike="noStrike" cap="none" normalizeH="0" baseline="0" smtClean="0">
            <a:ln>
              <a:noFill/>
            </a:ln>
            <a:solidFill>
              <a:schemeClr val="tx1"/>
            </a:solidFill>
            <a:effectLst/>
            <a:latin typeface="Arial" charset="0"/>
            <a:cs typeface="Arial" charset="0"/>
          </a:defRPr>
        </a:defPPr>
      </a:lstStyle>
    </a:lnDef>
    <a:txDef>
      <a:spPr>
        <a:noFill/>
      </a:spPr>
      <a:bodyPr wrap="square" lIns="0" tIns="0" rIns="0" bIns="0" rtlCol="0">
        <a:noAutofit/>
      </a:bodyPr>
      <a:lstStyle>
        <a:defPPr marL="0" algn="l">
          <a:spcAft>
            <a:spcPts val="1200"/>
          </a:spcAft>
          <a:defRPr sz="1200" dirty="0" err="1" smtClean="0">
            <a:solidFill>
              <a:schemeClr val="tx2"/>
            </a:solidFill>
            <a:latin typeface="+mn-lt"/>
          </a:defRPr>
        </a:defPPr>
      </a:lstStyle>
    </a:txDef>
  </a:objectDefaults>
  <a:extraClrSchemeLst>
    <a:extraClrScheme>
      <a:clrScheme name="DTP Print Corporate Template 1">
        <a:dk1>
          <a:srgbClr val="000000"/>
        </a:dk1>
        <a:lt1>
          <a:srgbClr val="FFFFFF"/>
        </a:lt1>
        <a:dk2>
          <a:srgbClr val="045411"/>
        </a:dk2>
        <a:lt2>
          <a:srgbClr val="848E3A"/>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
      <a:clrScheme name="DTP Print Corporate Template 2">
        <a:dk1>
          <a:srgbClr val="000000"/>
        </a:dk1>
        <a:lt1>
          <a:srgbClr val="FFFFFF"/>
        </a:lt1>
        <a:dk2>
          <a:srgbClr val="045411"/>
        </a:dk2>
        <a:lt2>
          <a:srgbClr val="00706D"/>
        </a:lt2>
        <a:accent1>
          <a:srgbClr val="045411"/>
        </a:accent1>
        <a:accent2>
          <a:srgbClr val="848E3A"/>
        </a:accent2>
        <a:accent3>
          <a:srgbClr val="FFFFFF"/>
        </a:accent3>
        <a:accent4>
          <a:srgbClr val="000000"/>
        </a:accent4>
        <a:accent5>
          <a:srgbClr val="AAB3AA"/>
        </a:accent5>
        <a:accent6>
          <a:srgbClr val="778034"/>
        </a:accent6>
        <a:hlink>
          <a:srgbClr val="86001A"/>
        </a:hlink>
        <a:folHlink>
          <a:srgbClr val="719684"/>
        </a:folHlink>
      </a:clrScheme>
      <a:clrMap bg1="lt1" tx1="dk1" bg2="lt2" tx2="dk2" accent1="accent1" accent2="accent2" accent3="accent3" accent4="accent4" accent5="accent5" accent6="accent6" hlink="hlink" folHlink="folHlink"/>
    </a:extraClrScheme>
  </a:extraClrSchemeLst>
  <a:custClrLst>
    <a:custClr name="DARK TEAL">
      <a:srgbClr val="00243D"/>
    </a:custClr>
    <a:custClr name="TEAL">
      <a:srgbClr val="00485E"/>
    </a:custClr>
    <a:custClr name="TEAL 02">
      <a:srgbClr val="05687F"/>
    </a:custClr>
    <a:custClr name="TEAL 03">
      <a:srgbClr val="2D9BAD"/>
    </a:custClr>
    <a:custClr name="TEAL 04">
      <a:srgbClr val="6ABDC6"/>
    </a:custClr>
    <a:custClr name="TEAL 05">
      <a:srgbClr val="ACE2E5"/>
    </a:custClr>
    <a:custClr name="TEAL 06">
      <a:srgbClr val="CFF4F4"/>
    </a:custClr>
    <a:custClr name="DARK PURPLE">
      <a:srgbClr val="2F0334"/>
    </a:custClr>
    <a:custClr name="PURPLE">
      <a:srgbClr val="570D5C"/>
    </a:custClr>
    <a:custClr name="PURPLE 02">
      <a:srgbClr val="803189"/>
    </a:custClr>
    <a:custClr name="PURPLE 03">
      <a:srgbClr val="A460AD"/>
    </a:custClr>
    <a:custClr name="PURPLE 04">
      <a:srgbClr val="C68BD1"/>
    </a:custClr>
    <a:custClr name="PURPLE 05">
      <a:srgbClr val="E8BBF2"/>
    </a:custClr>
    <a:custClr name="PURPLE 06">
      <a:srgbClr val="F4E2F8"/>
    </a:custClr>
    <a:custClr name="DARK GREEN">
      <a:srgbClr val="012608"/>
    </a:custClr>
    <a:custClr name="GREEN">
      <a:srgbClr val="054526"/>
    </a:custClr>
    <a:custClr name="GREEN 02">
      <a:srgbClr val="177544"/>
    </a:custClr>
    <a:custClr name="GREEN 03">
      <a:srgbClr val="349B62"/>
    </a:custClr>
    <a:custClr name="GREEN 04">
      <a:srgbClr val="5DC185"/>
    </a:custClr>
    <a:custClr name="GREEN 05">
      <a:srgbClr val="94EAB7"/>
    </a:custClr>
    <a:custClr name="GREEN 06">
      <a:srgbClr val="D4F4E2"/>
    </a:custClr>
    <a:custClr name="BLACK">
      <a:srgbClr val="000000"/>
    </a:custClr>
    <a:custClr name="SLATE">
      <a:srgbClr val="353535"/>
    </a:custClr>
    <a:custClr name="SLATE 02">
      <a:srgbClr val="58595B"/>
    </a:custClr>
    <a:custClr name="SLATE 03">
      <a:srgbClr val="808184"/>
    </a:custClr>
    <a:custClr name="SLATE 04">
      <a:srgbClr val="C4C5C6"/>
    </a:custClr>
    <a:custClr name="SLATE 05">
      <a:srgbClr val="DADADC"/>
    </a:custClr>
    <a:custClr name="SLATE 06">
      <a:srgbClr val="EAEAEA"/>
    </a:custClr>
    <a:custClr name="WHITE">
      <a:srgbClr val="FFFFFF"/>
    </a:custClr>
    <a:custClr name="WHITE">
      <a:srgbClr val="FFFFFF"/>
    </a:custClr>
    <a:custClr name="BACKGROUND TEAL">
      <a:srgbClr val="E3EBED"/>
    </a:custClr>
    <a:custClr name="BACKGROUND GREEN">
      <a:srgbClr val="E2EDE8"/>
    </a:custClr>
    <a:custClr name="BACKGROUND ORANGE">
      <a:srgbClr val="F5F0EB"/>
    </a:custClr>
    <a:custClr name="BACKGROUND PINK">
      <a:srgbClr val="EEE3E6"/>
    </a:custClr>
    <a:custClr name="BACKGROUND PURPLE">
      <a:srgbClr val="ECE0F3"/>
    </a:custClr>
    <a:custClr name="BACKGROUND YELLOW">
      <a:srgbClr val="ECE8DB"/>
    </a:custClr>
    <a:custClr name="HIGHLIGHT YELLOW">
      <a:srgbClr val="FFFF00"/>
    </a:custClr>
    <a:custClr name="HIGHLIGHT PINK">
      <a:srgbClr val="FF00A0"/>
    </a:custClr>
    <a:custClr name="WHITE">
      <a:srgbClr val="FFFFFF"/>
    </a:custClr>
    <a:custClr name="WHITE">
      <a:srgbClr val="FFFFFF"/>
    </a:custClr>
    <a:custClr name="Chart Accent 1 TEAL">
      <a:srgbClr val="00485E"/>
    </a:custClr>
    <a:custClr name="Chart Accent 2 ORANGE">
      <a:srgbClr val="FF6120"/>
    </a:custClr>
    <a:custClr name="Chart Accent 3 YELLOW">
      <a:srgbClr val="F5E02E"/>
    </a:custClr>
    <a:custClr name="Chart Accent 4 PINK">
      <a:srgbClr val="F75C8F"/>
    </a:custClr>
    <a:custClr name="Chart Accent 5 PURPLE 02">
      <a:srgbClr val="803189"/>
    </a:custClr>
    <a:custClr name="Chart Accent 6 TEAL 05">
      <a:srgbClr val="ACE2E5"/>
    </a:custClr>
    <a:custClr name="Chart Accent 7 GREEN">
      <a:srgbClr val="054526"/>
    </a:custClr>
    <a:custClr name="Chart Accent 8 SLATE 03">
      <a:srgbClr val="808184"/>
    </a:custClr>
    <a:custClr name="Chart Accent 9 SLATE">
      <a:srgbClr val="353535"/>
    </a:custClr>
    <a:custClr name="Chart Accent 10 TEAL 03">
      <a:srgbClr val="2D9BAD"/>
    </a:custClr>
  </a:custClrLst>
  <a:extLst>
    <a:ext uri="{05A4C25C-085E-4340-85A3-A5531E510DB2}">
      <thm15:themeFamily xmlns:thm15="http://schemas.microsoft.com/office/thememl/2012/main" name="Insight A4 Print Template - New MIFID II implementation" id="{E95D26F9-3BE0-474B-B2A6-41F7FAD955AB}" vid="{C6072906-C098-4462-92FD-79604B945079}"/>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ewton 2.0">
    <a:dk1>
      <a:srgbClr val="000000"/>
    </a:dk1>
    <a:lt1>
      <a:srgbClr val="FFFFFF"/>
    </a:lt1>
    <a:dk2>
      <a:srgbClr val="5A6E7F"/>
    </a:dk2>
    <a:lt2>
      <a:srgbClr val="B1C0C3"/>
    </a:lt2>
    <a:accent1>
      <a:srgbClr val="003B79"/>
    </a:accent1>
    <a:accent2>
      <a:srgbClr val="227ABF"/>
    </a:accent2>
    <a:accent3>
      <a:srgbClr val="F47932"/>
    </a:accent3>
    <a:accent4>
      <a:srgbClr val="41BB98"/>
    </a:accent4>
    <a:accent5>
      <a:srgbClr val="5D64AE"/>
    </a:accent5>
    <a:accent6>
      <a:srgbClr val="FFC22C"/>
    </a:accent6>
    <a:hlink>
      <a:srgbClr val="58B947"/>
    </a:hlink>
    <a:folHlink>
      <a:srgbClr val="E5EBE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ewton 2.0">
    <a:dk1>
      <a:srgbClr val="000000"/>
    </a:dk1>
    <a:lt1>
      <a:srgbClr val="FFFFFF"/>
    </a:lt1>
    <a:dk2>
      <a:srgbClr val="5A6E7F"/>
    </a:dk2>
    <a:lt2>
      <a:srgbClr val="B1C0C3"/>
    </a:lt2>
    <a:accent1>
      <a:srgbClr val="003B79"/>
    </a:accent1>
    <a:accent2>
      <a:srgbClr val="227ABF"/>
    </a:accent2>
    <a:accent3>
      <a:srgbClr val="F47932"/>
    </a:accent3>
    <a:accent4>
      <a:srgbClr val="41BB98"/>
    </a:accent4>
    <a:accent5>
      <a:srgbClr val="5D64AE"/>
    </a:accent5>
    <a:accent6>
      <a:srgbClr val="FFC22C"/>
    </a:accent6>
    <a:hlink>
      <a:srgbClr val="58B947"/>
    </a:hlink>
    <a:folHlink>
      <a:srgbClr val="E5EBE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ewton 2.0">
    <a:dk1>
      <a:srgbClr val="000000"/>
    </a:dk1>
    <a:lt1>
      <a:srgbClr val="FFFFFF"/>
    </a:lt1>
    <a:dk2>
      <a:srgbClr val="5A6E7F"/>
    </a:dk2>
    <a:lt2>
      <a:srgbClr val="B1C0C3"/>
    </a:lt2>
    <a:accent1>
      <a:srgbClr val="003B79"/>
    </a:accent1>
    <a:accent2>
      <a:srgbClr val="227ABF"/>
    </a:accent2>
    <a:accent3>
      <a:srgbClr val="F47932"/>
    </a:accent3>
    <a:accent4>
      <a:srgbClr val="41BB98"/>
    </a:accent4>
    <a:accent5>
      <a:srgbClr val="5D64AE"/>
    </a:accent5>
    <a:accent6>
      <a:srgbClr val="FFC22C"/>
    </a:accent6>
    <a:hlink>
      <a:srgbClr val="58B947"/>
    </a:hlink>
    <a:folHlink>
      <a:srgbClr val="E5EBE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Newton 2.0">
    <a:dk1>
      <a:srgbClr val="000000"/>
    </a:dk1>
    <a:lt1>
      <a:srgbClr val="FFFFFF"/>
    </a:lt1>
    <a:dk2>
      <a:srgbClr val="5A6E7F"/>
    </a:dk2>
    <a:lt2>
      <a:srgbClr val="B1C0C3"/>
    </a:lt2>
    <a:accent1>
      <a:srgbClr val="003B79"/>
    </a:accent1>
    <a:accent2>
      <a:srgbClr val="227ABF"/>
    </a:accent2>
    <a:accent3>
      <a:srgbClr val="F47932"/>
    </a:accent3>
    <a:accent4>
      <a:srgbClr val="41BB98"/>
    </a:accent4>
    <a:accent5>
      <a:srgbClr val="5D64AE"/>
    </a:accent5>
    <a:accent6>
      <a:srgbClr val="FFC22C"/>
    </a:accent6>
    <a:hlink>
      <a:srgbClr val="58B947"/>
    </a:hlink>
    <a:folHlink>
      <a:srgbClr val="E5EBE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Newton 2.0">
    <a:dk1>
      <a:srgbClr val="000000"/>
    </a:dk1>
    <a:lt1>
      <a:srgbClr val="FFFFFF"/>
    </a:lt1>
    <a:dk2>
      <a:srgbClr val="5A6E7F"/>
    </a:dk2>
    <a:lt2>
      <a:srgbClr val="B1C0C3"/>
    </a:lt2>
    <a:accent1>
      <a:srgbClr val="003B79"/>
    </a:accent1>
    <a:accent2>
      <a:srgbClr val="227ABF"/>
    </a:accent2>
    <a:accent3>
      <a:srgbClr val="F47932"/>
    </a:accent3>
    <a:accent4>
      <a:srgbClr val="41BB98"/>
    </a:accent4>
    <a:accent5>
      <a:srgbClr val="5D64AE"/>
    </a:accent5>
    <a:accent6>
      <a:srgbClr val="FFC22C"/>
    </a:accent6>
    <a:hlink>
      <a:srgbClr val="58B947"/>
    </a:hlink>
    <a:folHlink>
      <a:srgbClr val="E5EBE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icture" ma:contentTypeID="0x010102005662A7901B2DDB4FA78DD189A8AD165B" ma:contentTypeVersion="18" ma:contentTypeDescription="Upload an image or a photograph." ma:contentTypeScope="" ma:versionID="f5dbeca1426ad864a9ff79c601f17606">
  <xsd:schema xmlns:xsd="http://www.w3.org/2001/XMLSchema" xmlns:xs="http://www.w3.org/2001/XMLSchema" xmlns:p="http://schemas.microsoft.com/office/2006/metadata/properties" xmlns:ns1="http://schemas.microsoft.com/sharepoint/v3" xmlns:ns2="68dec0d4-3937-4b63-8f0c-e5097912981b" xmlns:ns3="08490562-ac01-48ba-b3a5-cf09037e0a17" targetNamespace="http://schemas.microsoft.com/office/2006/metadata/properties" ma:root="true" ma:fieldsID="5bd8d795c0163962f1d88efe49d395d7" ns1:_="" ns2:_="" ns3:_="">
    <xsd:import namespace="http://schemas.microsoft.com/sharepoint/v3"/>
    <xsd:import namespace="68dec0d4-3937-4b63-8f0c-e5097912981b"/>
    <xsd:import namespace="08490562-ac01-48ba-b3a5-cf09037e0a17"/>
    <xsd:element name="properties">
      <xsd:complexType>
        <xsd:sequence>
          <xsd:element name="documentManagement">
            <xsd:complexType>
              <xsd:all>
                <xsd:element ref="ns1:ImageWidth" minOccurs="0"/>
                <xsd:element ref="ns1:ImageHeight" minOccurs="0"/>
                <xsd:element ref="ns1:ImageCreateDate" minOccurs="0"/>
                <xsd:element ref="ns1:Description" minOccurs="0"/>
                <xsd:element ref="ns1:ThumbnailExists" minOccurs="0"/>
                <xsd:element ref="ns1:PreviewExists" minOccurs="0"/>
                <xsd:element ref="ns1:AlternateThumbnailUrl"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mageWidth" ma:index="11" nillable="true" ma:displayName="Picture Width" ma:internalName="ImageWidth" ma:readOnly="true">
      <xsd:simpleType>
        <xsd:restriction base="dms:Unknown"/>
      </xsd:simpleType>
    </xsd:element>
    <xsd:element name="ImageHeight" ma:index="12" nillable="true" ma:displayName="Picture Height" ma:internalName="ImageHeight" ma:readOnly="true">
      <xsd:simpleType>
        <xsd:restriction base="dms:Unknown"/>
      </xsd:simpleType>
    </xsd:element>
    <xsd:element name="ImageCreateDate" ma:index="13" nillable="true" ma:displayName="Date Picture Taken" ma:format="DateTime" ma:hidden="true" ma:internalName="ImageCreateDate">
      <xsd:simpleType>
        <xsd:restriction base="dms:DateTime"/>
      </xsd:simpleType>
    </xsd:element>
    <xsd:element name="Description" ma:index="14" nillable="true" ma:displayName="Description" ma:description="Used as alternative text for the picture." ma:hidden="true" ma:internalName="Description">
      <xsd:simpleType>
        <xsd:restriction base="dms:Note">
          <xsd:maxLength value="255"/>
        </xsd:restriction>
      </xsd:simpleType>
    </xsd:element>
    <xsd:element name="ThumbnailExists" ma:index="23" nillable="true" ma:displayName="Thumbnail Exists" ma:default="FALSE" ma:hidden="true" ma:internalName="ThumbnailExists" ma:readOnly="true">
      <xsd:simpleType>
        <xsd:restriction base="dms:Boolean"/>
      </xsd:simpleType>
    </xsd:element>
    <xsd:element name="PreviewExists" ma:index="24" nillable="true" ma:displayName="Preview Exists" ma:default="FALSE" ma:hidden="true" ma:internalName="PreviewExists" ma:readOnly="true">
      <xsd:simpleType>
        <xsd:restriction base="dms:Boolean"/>
      </xsd:simpleType>
    </xsd:element>
    <xsd:element name="AlternateThumbnailUrl" ma:index="25" nillable="true" ma:displayName="Preview Image URL" ma:format="Image" ma:hidden="true" ma:internalName="AlternateThumbnail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8dec0d4-3937-4b63-8f0c-e5097912981b"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Tags" ma:index="28" nillable="true" ma:displayName="Tags" ma:internalName="MediaServiceAutoTags" ma:readOnly="true">
      <xsd:simpleType>
        <xsd:restriction base="dms:Text"/>
      </xsd:simpleType>
    </xsd:element>
    <xsd:element name="MediaServiceGenerationTime" ma:index="29" nillable="true" ma:displayName="MediaServiceGenerationTime" ma:hidden="true" ma:internalName="MediaServiceGenerationTime" ma:readOnly="true">
      <xsd:simpleType>
        <xsd:restriction base="dms:Text"/>
      </xsd:simpleType>
    </xsd:element>
    <xsd:element name="MediaServiceEventHashCode" ma:index="30" nillable="true" ma:displayName="MediaServiceEventHashCode" ma:hidden="true" ma:internalName="MediaServiceEventHashCode" ma:readOnly="true">
      <xsd:simpleType>
        <xsd:restriction base="dms:Text"/>
      </xsd:simpleType>
    </xsd:element>
    <xsd:element name="MediaServiceDateTaken" ma:index="31" nillable="true" ma:displayName="MediaServiceDateTaken" ma:hidden="true" ma:internalName="MediaServiceDateTaken" ma:readOnly="true">
      <xsd:simpleType>
        <xsd:restriction base="dms:Text"/>
      </xsd:simpleType>
    </xsd:element>
    <xsd:element name="MediaServiceOCR" ma:index="32" nillable="true" ma:displayName="Extracted Text" ma:internalName="MediaServiceOCR" ma:readOnly="true">
      <xsd:simpleType>
        <xsd:restriction base="dms:Note">
          <xsd:maxLength value="255"/>
        </xsd:restriction>
      </xsd:simpleType>
    </xsd:element>
    <xsd:element name="MediaServiceLocation" ma:index="33" nillable="true" ma:displayName="Location" ma:internalName="MediaServiceLocation" ma:readOnly="true">
      <xsd:simpleType>
        <xsd:restriction base="dms:Text"/>
      </xsd:simpleType>
    </xsd:element>
    <xsd:element name="MediaServiceAutoKeyPoints" ma:index="34" nillable="true" ma:displayName="MediaServiceAutoKeyPoints" ma:hidden="true" ma:internalName="MediaServiceAutoKeyPoints" ma:readOnly="true">
      <xsd:simpleType>
        <xsd:restriction base="dms:Note"/>
      </xsd:simpleType>
    </xsd:element>
    <xsd:element name="MediaServiceKeyPoints" ma:index="35" nillable="true" ma:displayName="KeyPoints" ma:internalName="MediaServiceKeyPoints" ma:readOnly="true">
      <xsd:simpleType>
        <xsd:restriction base="dms:Note">
          <xsd:maxLength value="255"/>
        </xsd:restriction>
      </xsd:simpleType>
    </xsd:element>
    <xsd:element name="MediaLengthInSeconds" ma:index="38" nillable="true" ma:displayName="Length (seconds)" ma:internalName="MediaLengthInSeconds" ma:readOnly="true">
      <xsd:simpleType>
        <xsd:restriction base="dms:Unknown"/>
      </xsd:simpleType>
    </xsd:element>
    <xsd:element name="lcf76f155ced4ddcb4097134ff3c332f" ma:index="40" nillable="true" ma:taxonomy="true" ma:internalName="lcf76f155ced4ddcb4097134ff3c332f" ma:taxonomyFieldName="MediaServiceImageTags" ma:displayName="Image Tags" ma:readOnly="false" ma:fieldId="{5cf76f15-5ced-4ddc-b409-7134ff3c332f}" ma:taxonomyMulti="true" ma:sspId="8ccf7222-c74e-4142-9b6e-2b927b1fc0f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4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8490562-ac01-48ba-b3a5-cf09037e0a17" elementFormDefault="qualified">
    <xsd:import namespace="http://schemas.microsoft.com/office/2006/documentManagement/types"/>
    <xsd:import namespace="http://schemas.microsoft.com/office/infopath/2007/PartnerControls"/>
    <xsd:element name="SharedWithUsers" ma:index="3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element name="TaxCatchAll" ma:index="41" nillable="true" ma:displayName="Taxonomy Catch All Column" ma:hidden="true" ma:list="{08b56f5b-59af-471b-a25e-982d4a55bd6b}" ma:internalName="TaxCatchAll" ma:showField="CatchAllData" ma:web="08490562-ac01-48ba-b3a5-cf09037e0a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8" ma:displayName="Title"/>
        <xsd:element ref="dc:subject" minOccurs="0" maxOccurs="1"/>
        <xsd:element ref="dc:description" minOccurs="0" maxOccurs="1"/>
        <xsd:element name="keywords" minOccurs="0" maxOccurs="1" type="xsd:string" ma:index="20"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lternateThumbnailUrl xmlns="http://schemas.microsoft.com/sharepoint/v3">
      <Url xsi:nil="true"/>
      <Description xsi:nil="true"/>
    </AlternateThumbnailUrl>
    <lcf76f155ced4ddcb4097134ff3c332f xmlns="68dec0d4-3937-4b63-8f0c-e5097912981b">
      <Terms xmlns="http://schemas.microsoft.com/office/infopath/2007/PartnerControls"/>
    </lcf76f155ced4ddcb4097134ff3c332f>
    <ImageCreateDate xmlns="http://schemas.microsoft.com/sharepoint/v3" xsi:nil="true"/>
    <TaxCatchAll xmlns="08490562-ac01-48ba-b3a5-cf09037e0a17" xsi:nil="true"/>
    <Description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CF6B71-A00A-459E-A086-46B7698F9491}"/>
</file>

<file path=customXml/itemProps2.xml><?xml version="1.0" encoding="utf-8"?>
<ds:datastoreItem xmlns:ds="http://schemas.openxmlformats.org/officeDocument/2006/customXml" ds:itemID="{8A95E849-E0C0-4443-A370-05F7DECC054F}">
  <ds:schemaRefs>
    <ds:schemaRef ds:uri="http://schemas.openxmlformats.org/package/2006/metadata/core-properties"/>
    <ds:schemaRef ds:uri="http://purl.org/dc/terms/"/>
    <ds:schemaRef ds:uri="5e5bbe36-e796-4eb5-8a5c-3c54e32aa9e7"/>
    <ds:schemaRef ds:uri="http://schemas.microsoft.com/office/2006/documentManagement/types"/>
    <ds:schemaRef ds:uri="http://schemas.microsoft.com/office/infopath/2007/PartnerControls"/>
    <ds:schemaRef ds:uri="http://schemas.microsoft.com/office/2006/metadata/properties"/>
    <ds:schemaRef ds:uri="http://purl.org/dc/dcmitype/"/>
    <ds:schemaRef ds:uri="http://purl.org/dc/elements/1.1/"/>
    <ds:schemaRef ds:uri="http://www.w3.org/XML/1998/namespace"/>
  </ds:schemaRefs>
</ds:datastoreItem>
</file>

<file path=customXml/itemProps3.xml><?xml version="1.0" encoding="utf-8"?>
<ds:datastoreItem xmlns:ds="http://schemas.openxmlformats.org/officeDocument/2006/customXml" ds:itemID="{81D23A8D-3E74-41A1-A83B-2AB54F018A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NYM_Template_v1</Template>
  <TotalTime>12688</TotalTime>
  <Words>7269</Words>
  <Application>Microsoft Office PowerPoint</Application>
  <PresentationFormat>Custom</PresentationFormat>
  <Paragraphs>642</Paragraphs>
  <Slides>32</Slides>
  <Notes>32</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0" baseType="lpstr">
      <vt:lpstr>Aptos</vt:lpstr>
      <vt:lpstr>Arial</vt:lpstr>
      <vt:lpstr>Avenir Next</vt:lpstr>
      <vt:lpstr>Avenir Next LT Pro</vt:lpstr>
      <vt:lpstr>Avenir Next LT Pro Demi</vt:lpstr>
      <vt:lpstr>AvenirNext LT Pro Bold</vt:lpstr>
      <vt:lpstr>Calibri</vt:lpstr>
      <vt:lpstr>Impact</vt:lpstr>
      <vt:lpstr>MS Shell Dlg 2</vt:lpstr>
      <vt:lpstr>ProximaNova-Regular</vt:lpstr>
      <vt:lpstr>Symbol</vt:lpstr>
      <vt:lpstr>Times New Roman</vt:lpstr>
      <vt:lpstr>Wingdings</vt:lpstr>
      <vt:lpstr>BNY Mellon 2023 Formal Covers and Dividers</vt:lpstr>
      <vt:lpstr>1_BNY Mellon 2023 Formal Covers and Dividers</vt:lpstr>
      <vt:lpstr>Interior Slides</vt:lpstr>
      <vt:lpstr>2_BNY Mellon 2023 Formal Covers and Dividers</vt:lpstr>
      <vt:lpstr>think-cell Slide</vt:lpstr>
      <vt:lpstr>Retirement income: How can advisers reduce &amp; prevent serious harm?</vt:lpstr>
      <vt:lpstr>Learning objectives</vt:lpstr>
      <vt:lpstr>The FCA review of retirement income advice</vt:lpstr>
      <vt:lpstr>What makes retirement income clients different?</vt:lpstr>
      <vt:lpstr>What’s important for retirement investment?</vt:lpstr>
      <vt:lpstr>Techniques for managing retirement income risks</vt:lpstr>
      <vt:lpstr>How we generate income is crucial</vt:lpstr>
      <vt:lpstr>A CLOSER LOOK  AT SEQUENCE OF RETURNS RISK</vt:lpstr>
      <vt:lpstr>How do we usually compare risk and return?</vt:lpstr>
      <vt:lpstr>Does reducing volatility and VaR improve outcomes?</vt:lpstr>
      <vt:lpstr>…but smoothing doesn’t actually improve the outcome</vt:lpstr>
      <vt:lpstr>Lower volatility can also mean upside isn’t captured</vt:lpstr>
      <vt:lpstr>Measuring the characteristics that matter</vt:lpstr>
      <vt:lpstr>INCOME: THE NATURAL CHOICE  FOR RETIREMENT?</vt:lpstr>
      <vt:lpstr>Can natural income deliver what clients need?</vt:lpstr>
      <vt:lpstr>The growing case for natural income</vt:lpstr>
      <vt:lpstr>How a multi-asset approach can help balance income and growth</vt:lpstr>
      <vt:lpstr>Stable and predictable income simplifies planning and admin</vt:lpstr>
      <vt:lpstr>Preserve capital with income from other sources</vt:lpstr>
      <vt:lpstr>Where next for retirement investment? Conclusion</vt:lpstr>
      <vt:lpstr>Learning outcomes</vt:lpstr>
      <vt:lpstr>BNY Mellon Multi-Asset Income Fund</vt:lpstr>
      <vt:lpstr>BNY Mellon Multi-Asset Income Fund</vt:lpstr>
      <vt:lpstr>BNY Mellon FutureLegacy Fund range: supporting retirement  withdrawals</vt:lpstr>
      <vt:lpstr>Objective, benchmark, annual performance and key risks</vt:lpstr>
      <vt:lpstr>Objective, benchmark, annual performance and key risks</vt:lpstr>
      <vt:lpstr>Objective, benchmark, annual performance and key risks</vt:lpstr>
      <vt:lpstr>Objective, benchmark, annual performance and key risks</vt:lpstr>
      <vt:lpstr>Objective, benchmark, annual performance and key risks</vt:lpstr>
      <vt:lpstr>Objective, benchmark, annual performance and key risks</vt:lpstr>
      <vt:lpstr>Important information</vt:lpstr>
      <vt:lpstr>PowerPoint Presentation</vt:lpstr>
    </vt:vector>
  </TitlesOfParts>
  <Company>Insight Invest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ren Howes</dc:creator>
  <cp:lastModifiedBy>Silva, Lucy Anika</cp:lastModifiedBy>
  <cp:revision>508</cp:revision>
  <cp:lastPrinted>2024-10-17T06:18:20Z</cp:lastPrinted>
  <dcterms:created xsi:type="dcterms:W3CDTF">2019-03-21T11:27:08Z</dcterms:created>
  <dcterms:modified xsi:type="dcterms:W3CDTF">2024-10-25T12:5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781dfe3-6600-4878-ab62-89c56005e52a_Enabled">
    <vt:lpwstr>true</vt:lpwstr>
  </property>
  <property fmtid="{D5CDD505-2E9C-101B-9397-08002B2CF9AE}" pid="3" name="MSIP_Label_5781dfe3-6600-4878-ab62-89c56005e52a_SetDate">
    <vt:lpwstr>2022-01-19T15:55:32Z</vt:lpwstr>
  </property>
  <property fmtid="{D5CDD505-2E9C-101B-9397-08002B2CF9AE}" pid="4" name="MSIP_Label_5781dfe3-6600-4878-ab62-89c56005e52a_Method">
    <vt:lpwstr>Privileged</vt:lpwstr>
  </property>
  <property fmtid="{D5CDD505-2E9C-101B-9397-08002B2CF9AE}" pid="5" name="MSIP_Label_5781dfe3-6600-4878-ab62-89c56005e52a_Name">
    <vt:lpwstr>Confidential</vt:lpwstr>
  </property>
  <property fmtid="{D5CDD505-2E9C-101B-9397-08002B2CF9AE}" pid="6" name="MSIP_Label_5781dfe3-6600-4878-ab62-89c56005e52a_SiteId">
    <vt:lpwstr>106bdeea-f616-4dfc-bc1d-6cbbf45e2011</vt:lpwstr>
  </property>
  <property fmtid="{D5CDD505-2E9C-101B-9397-08002B2CF9AE}" pid="7" name="MSIP_Label_5781dfe3-6600-4878-ab62-89c56005e52a_ActionId">
    <vt:lpwstr>509e20bc-87d5-4804-a0c8-07f3877a10be</vt:lpwstr>
  </property>
  <property fmtid="{D5CDD505-2E9C-101B-9397-08002B2CF9AE}" pid="8" name="MSIP_Label_5781dfe3-6600-4878-ab62-89c56005e52a_ContentBits">
    <vt:lpwstr>0</vt:lpwstr>
  </property>
  <property fmtid="{D5CDD505-2E9C-101B-9397-08002B2CF9AE}" pid="9" name="ContentTypeId">
    <vt:lpwstr>0x010102005662A7901B2DDB4FA78DD189A8AD165B</vt:lpwstr>
  </property>
</Properties>
</file>